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Override PartName="/ppt/charts/style3.xml" ContentType="application/vnd.ms-office.chartstyle+xml"/>
  <Override PartName="/ppt/charts/colors3.xml" ContentType="application/vnd.ms-office.chartcolorstyle+xml"/>
  <Override PartName="/ppt/charts/style4.xml" ContentType="application/vnd.ms-office.chartstyle+xml"/>
  <Override PartName="/ppt/charts/colors4.xml" ContentType="application/vnd.ms-office.chartcolorstyle+xml"/>
  <Override PartName="/ppt/charts/style5.xml" ContentType="application/vnd.ms-office.chartstyle+xml"/>
  <Override PartName="/ppt/charts/colors5.xml" ContentType="application/vnd.ms-office.chartcolorstyle+xml"/>
  <Override PartName="/ppt/charts/style6.xml" ContentType="application/vnd.ms-office.chartstyle+xml"/>
  <Override PartName="/ppt/charts/colors6.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702" r:id="rId4"/>
    <p:sldMasterId id="2147483717" r:id="rId5"/>
    <p:sldMasterId id="2147483732" r:id="rId6"/>
    <p:sldMasterId id="2147483747" r:id="rId7"/>
    <p:sldMasterId id="2147483762" r:id="rId8"/>
  </p:sldMasterIdLst>
  <p:notesMasterIdLst>
    <p:notesMasterId r:id="rId33"/>
  </p:notesMasterIdLst>
  <p:handoutMasterIdLst>
    <p:handoutMasterId r:id="rId34"/>
  </p:handoutMasterIdLst>
  <p:sldIdLst>
    <p:sldId id="422" r:id="rId9"/>
    <p:sldId id="423" r:id="rId10"/>
    <p:sldId id="391" r:id="rId11"/>
    <p:sldId id="424" r:id="rId12"/>
    <p:sldId id="397" r:id="rId13"/>
    <p:sldId id="425" r:id="rId14"/>
    <p:sldId id="427" r:id="rId15"/>
    <p:sldId id="428" r:id="rId16"/>
    <p:sldId id="445" r:id="rId17"/>
    <p:sldId id="447" r:id="rId18"/>
    <p:sldId id="469" r:id="rId19"/>
    <p:sldId id="446" r:id="rId20"/>
    <p:sldId id="470" r:id="rId21"/>
    <p:sldId id="448" r:id="rId22"/>
    <p:sldId id="449" r:id="rId23"/>
    <p:sldId id="450" r:id="rId24"/>
    <p:sldId id="451" r:id="rId25"/>
    <p:sldId id="452" r:id="rId26"/>
    <p:sldId id="453" r:id="rId27"/>
    <p:sldId id="454" r:id="rId28"/>
    <p:sldId id="455" r:id="rId29"/>
    <p:sldId id="456" r:id="rId30"/>
    <p:sldId id="457" r:id="rId31"/>
    <p:sldId id="468" r:id="rId32"/>
  </p:sldIdLst>
  <p:sldSz cx="12192000" cy="6858000"/>
  <p:notesSz cx="6735763" cy="9866313"/>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L" initials="LL" lastIdx="9" clrIdx="0">
    <p:extLst/>
  </p:cmAuthor>
  <p:cmAuthor id="2" name="CEPS_TB" initials="CEPS_TB" lastIdx="3"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A98B83"/>
    <a:srgbClr val="FFFFFF"/>
    <a:srgbClr val="666699"/>
    <a:srgbClr val="333300"/>
    <a:srgbClr val="669900"/>
    <a:srgbClr val="CC3399"/>
    <a:srgbClr val="800080"/>
    <a:srgbClr val="00990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p:scale>
          <a:sx n="80" d="100"/>
          <a:sy n="80" d="100"/>
        </p:scale>
        <p:origin x="-936" y="-34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Devidvapfl04.ey.net\04em1122\R\Client_Files_A_I\A%20Client\Austrian%20Power%20Grid\2017_PMO%20PICASSO\02_Project\02_First%20Consultation\History\Copy%20of%20MARI_Consultation.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Devidvapfl04.ey.net\04em1122\R\Client_Files_A_I\A%20Client\Austrian%20Power%20Grid\2017_PMO%20PICASSO\02_Project\02_First%20Consultation\History\Copy%20of%20MARI_Consultation.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Devidvapfl04.ey.net\04em1122\R\Client_Files_A_I\A%20Client\Austrian%20Power%20Grid\2017_PMO%20PICASSO\02_Project\02_First%20Consultation\History\Copy%20of%20MARI_Consultation.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Devidvapfl04.ey.net\04em1122\R\Client_Files_A_I\A%20Client\Austrian%20Power%20Grid\2017_PMO%20PICASSO\02_Project\02_First%20Consultation\History\Copy%20of%20MARI_Consultation.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file:///\\Devidvapfl04.ey.net\04em1122\R\Client_Files_A_I\A%20Client\Austrian%20Power%20Grid\2017_PMO%20PICASSO\02_Project\02_First%20Consultation\History\Copy%20of%20MARI_Consultation.xlsx" TargetMode="External"/></Relationships>
</file>

<file path=ppt/charts/_rels/chart6.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file:///\\Devidvapfl04.ey.net\04em1122\R\Client_Files_A_I\A%20Client\Austrian%20Power%20Grid\2017_PMO%20PICASSO\02_Project\02_First%20Consultation\History\Copy%20of%20MARI_Consulta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740517021916732E-2"/>
          <c:y val="6.7768339593695284E-2"/>
          <c:w val="0.90117176442941904"/>
          <c:h val="0.54076381441686283"/>
        </c:manualLayout>
      </c:layout>
      <c:barChart>
        <c:barDir val="col"/>
        <c:grouping val="clustered"/>
        <c:varyColors val="0"/>
        <c:ser>
          <c:idx val="0"/>
          <c:order val="0"/>
          <c:spPr>
            <a:solidFill>
              <a:schemeClr val="accent1"/>
            </a:solidFill>
            <a:ln w="19050">
              <a:solidFill>
                <a:schemeClr val="lt1"/>
              </a:solidFill>
            </a:ln>
            <a:effectLst>
              <a:glow rad="38100">
                <a:schemeClr val="accent1">
                  <a:satMod val="175000"/>
                  <a:alpha val="30000"/>
                </a:schemeClr>
              </a:glow>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dPt>
          <c:dPt>
            <c:idx val="10"/>
            <c:invertIfNegative val="0"/>
            <c:bubble3D val="0"/>
          </c:dPt>
          <c:dPt>
            <c:idx val="11"/>
            <c:invertIfNegative val="0"/>
            <c:bubble3D val="0"/>
          </c:dPt>
          <c:dPt>
            <c:idx val="12"/>
            <c:invertIfNegative val="0"/>
            <c:bubble3D val="0"/>
          </c:dPt>
          <c:dPt>
            <c:idx val="13"/>
            <c:invertIfNegative val="0"/>
            <c:bubble3D val="0"/>
          </c:dPt>
          <c:dPt>
            <c:idx val="14"/>
            <c:invertIfNegative val="0"/>
            <c:bubble3D val="0"/>
          </c:dPt>
          <c:dPt>
            <c:idx val="15"/>
            <c:invertIfNegative val="0"/>
            <c:bubble3D val="0"/>
          </c:dPt>
          <c:dPt>
            <c:idx val="16"/>
            <c:invertIfNegative val="0"/>
            <c:bubble3D val="0"/>
          </c:dPt>
          <c:dPt>
            <c:idx val="17"/>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spondents-Charts,Tables'!$H$77:$H$94</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I$77:$I$94</c:f>
              <c:numCache>
                <c:formatCode>General</c:formatCode>
                <c:ptCount val="18"/>
                <c:pt idx="0">
                  <c:v>12</c:v>
                </c:pt>
                <c:pt idx="1">
                  <c:v>3</c:v>
                </c:pt>
                <c:pt idx="2">
                  <c:v>2</c:v>
                </c:pt>
                <c:pt idx="3">
                  <c:v>4</c:v>
                </c:pt>
                <c:pt idx="4">
                  <c:v>4</c:v>
                </c:pt>
                <c:pt idx="5">
                  <c:v>2</c:v>
                </c:pt>
                <c:pt idx="6">
                  <c:v>5</c:v>
                </c:pt>
                <c:pt idx="7">
                  <c:v>12</c:v>
                </c:pt>
                <c:pt idx="8">
                  <c:v>1</c:v>
                </c:pt>
                <c:pt idx="9">
                  <c:v>2</c:v>
                </c:pt>
                <c:pt idx="10">
                  <c:v>1</c:v>
                </c:pt>
                <c:pt idx="11">
                  <c:v>1</c:v>
                </c:pt>
                <c:pt idx="12">
                  <c:v>6</c:v>
                </c:pt>
                <c:pt idx="13">
                  <c:v>1</c:v>
                </c:pt>
                <c:pt idx="14">
                  <c:v>1</c:v>
                </c:pt>
                <c:pt idx="15">
                  <c:v>3</c:v>
                </c:pt>
                <c:pt idx="16">
                  <c:v>3</c:v>
                </c:pt>
                <c:pt idx="17">
                  <c:v>2</c:v>
                </c:pt>
              </c:numCache>
            </c:numRef>
          </c:val>
        </c:ser>
        <c:dLbls>
          <c:showLegendKey val="0"/>
          <c:showVal val="0"/>
          <c:showCatName val="0"/>
          <c:showSerName val="0"/>
          <c:showPercent val="0"/>
          <c:showBubbleSize val="0"/>
        </c:dLbls>
        <c:gapWidth val="100"/>
        <c:axId val="190584704"/>
        <c:axId val="190583168"/>
      </c:barChart>
      <c:valAx>
        <c:axId val="190583168"/>
        <c:scaling>
          <c:orientation val="minMax"/>
          <c:max val="13"/>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crossAx val="190584704"/>
        <c:crosses val="autoZero"/>
        <c:crossBetween val="between"/>
      </c:valAx>
      <c:catAx>
        <c:axId val="1905847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a-DK"/>
          </a:p>
        </c:txPr>
        <c:crossAx val="190583168"/>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da-DK"/>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90227458389901"/>
          <c:y val="4.5642377920422292E-3"/>
          <c:w val="0.88789889062884131"/>
          <c:h val="0.92729562203476379"/>
        </c:manualLayout>
      </c:layout>
      <c:barChart>
        <c:barDir val="bar"/>
        <c:grouping val="stacked"/>
        <c:varyColors val="0"/>
        <c:ser>
          <c:idx val="0"/>
          <c:order val="0"/>
          <c:tx>
            <c:strRef>
              <c:f>'Respondents-Charts,Tables'!$B$1</c:f>
              <c:strCache>
                <c:ptCount val="1"/>
                <c:pt idx="0">
                  <c:v>Generation</c:v>
                </c:pt>
              </c:strCache>
            </c:strRef>
          </c:tx>
          <c:spPr>
            <a:solidFill>
              <a:schemeClr val="accent1"/>
            </a:solidFill>
            <a:ln>
              <a:noFill/>
            </a:ln>
            <a:effectLst/>
          </c:spPr>
          <c:invertIfNegative val="0"/>
          <c:cat>
            <c:strRef>
              <c:f>'Respondents-Charts,Tables'!$A$2:$A$19</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B$2:$B$19</c:f>
              <c:numCache>
                <c:formatCode>General</c:formatCode>
                <c:ptCount val="18"/>
                <c:pt idx="0">
                  <c:v>7</c:v>
                </c:pt>
                <c:pt idx="1">
                  <c:v>1</c:v>
                </c:pt>
                <c:pt idx="2">
                  <c:v>2</c:v>
                </c:pt>
                <c:pt idx="3">
                  <c:v>2</c:v>
                </c:pt>
                <c:pt idx="5">
                  <c:v>2</c:v>
                </c:pt>
                <c:pt idx="6">
                  <c:v>3</c:v>
                </c:pt>
                <c:pt idx="7">
                  <c:v>6</c:v>
                </c:pt>
                <c:pt idx="9">
                  <c:v>2</c:v>
                </c:pt>
                <c:pt idx="10">
                  <c:v>1</c:v>
                </c:pt>
                <c:pt idx="12">
                  <c:v>5</c:v>
                </c:pt>
                <c:pt idx="13">
                  <c:v>1</c:v>
                </c:pt>
                <c:pt idx="14">
                  <c:v>1</c:v>
                </c:pt>
                <c:pt idx="15">
                  <c:v>2.5</c:v>
                </c:pt>
                <c:pt idx="16">
                  <c:v>2</c:v>
                </c:pt>
                <c:pt idx="17">
                  <c:v>0.5</c:v>
                </c:pt>
              </c:numCache>
            </c:numRef>
          </c:val>
          <c:extLst xmlns:c16r2="http://schemas.microsoft.com/office/drawing/2015/06/chart">
            <c:ext xmlns:c16="http://schemas.microsoft.com/office/drawing/2014/chart" uri="{C3380CC4-5D6E-409C-BE32-E72D297353CC}">
              <c16:uniqueId val="{00000000-4962-4083-BCB8-F2F01C5C0BF5}"/>
            </c:ext>
          </c:extLst>
        </c:ser>
        <c:ser>
          <c:idx val="1"/>
          <c:order val="1"/>
          <c:tx>
            <c:strRef>
              <c:f>'Respondents-Charts,Tables'!$C$1</c:f>
              <c:strCache>
                <c:ptCount val="1"/>
                <c:pt idx="0">
                  <c:v>Portfolio Manager</c:v>
                </c:pt>
              </c:strCache>
            </c:strRef>
          </c:tx>
          <c:spPr>
            <a:solidFill>
              <a:schemeClr val="accent2"/>
            </a:solidFill>
            <a:ln>
              <a:noFill/>
            </a:ln>
            <a:effectLst/>
          </c:spPr>
          <c:invertIfNegative val="0"/>
          <c:cat>
            <c:strRef>
              <c:f>'Respondents-Charts,Tables'!$A$2:$A$19</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C$2:$C$19</c:f>
              <c:numCache>
                <c:formatCode>General</c:formatCode>
                <c:ptCount val="18"/>
                <c:pt idx="0">
                  <c:v>1</c:v>
                </c:pt>
                <c:pt idx="3">
                  <c:v>1</c:v>
                </c:pt>
                <c:pt idx="6">
                  <c:v>1</c:v>
                </c:pt>
                <c:pt idx="7">
                  <c:v>2</c:v>
                </c:pt>
                <c:pt idx="17">
                  <c:v>1</c:v>
                </c:pt>
              </c:numCache>
            </c:numRef>
          </c:val>
          <c:extLst xmlns:c16r2="http://schemas.microsoft.com/office/drawing/2015/06/chart">
            <c:ext xmlns:c16="http://schemas.microsoft.com/office/drawing/2014/chart" uri="{C3380CC4-5D6E-409C-BE32-E72D297353CC}">
              <c16:uniqueId val="{00000001-4962-4083-BCB8-F2F01C5C0BF5}"/>
            </c:ext>
          </c:extLst>
        </c:ser>
        <c:ser>
          <c:idx val="2"/>
          <c:order val="2"/>
          <c:tx>
            <c:strRef>
              <c:f>'Respondents-Charts,Tables'!$D$1</c:f>
              <c:strCache>
                <c:ptCount val="1"/>
                <c:pt idx="0">
                  <c:v>Supply</c:v>
                </c:pt>
              </c:strCache>
            </c:strRef>
          </c:tx>
          <c:spPr>
            <a:solidFill>
              <a:schemeClr val="accent3"/>
            </a:solidFill>
            <a:ln>
              <a:noFill/>
            </a:ln>
            <a:effectLst/>
          </c:spPr>
          <c:invertIfNegative val="0"/>
          <c:cat>
            <c:strRef>
              <c:f>'Respondents-Charts,Tables'!$A$2:$A$19</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D$2:$D$19</c:f>
              <c:numCache>
                <c:formatCode>General</c:formatCode>
                <c:ptCount val="18"/>
                <c:pt idx="0">
                  <c:v>2</c:v>
                </c:pt>
                <c:pt idx="7">
                  <c:v>2</c:v>
                </c:pt>
                <c:pt idx="15">
                  <c:v>0.5</c:v>
                </c:pt>
                <c:pt idx="17">
                  <c:v>0.5</c:v>
                </c:pt>
              </c:numCache>
            </c:numRef>
          </c:val>
          <c:extLst xmlns:c16r2="http://schemas.microsoft.com/office/drawing/2015/06/chart">
            <c:ext xmlns:c16="http://schemas.microsoft.com/office/drawing/2014/chart" uri="{C3380CC4-5D6E-409C-BE32-E72D297353CC}">
              <c16:uniqueId val="{00000002-4962-4083-BCB8-F2F01C5C0BF5}"/>
            </c:ext>
          </c:extLst>
        </c:ser>
        <c:ser>
          <c:idx val="3"/>
          <c:order val="3"/>
          <c:tx>
            <c:strRef>
              <c:f>'Respondents-Charts,Tables'!$E$1</c:f>
              <c:strCache>
                <c:ptCount val="1"/>
                <c:pt idx="0">
                  <c:v>Consultancy</c:v>
                </c:pt>
              </c:strCache>
            </c:strRef>
          </c:tx>
          <c:spPr>
            <a:solidFill>
              <a:schemeClr val="accent4"/>
            </a:solidFill>
            <a:ln>
              <a:noFill/>
            </a:ln>
            <a:effectLst/>
          </c:spPr>
          <c:invertIfNegative val="0"/>
          <c:cat>
            <c:strRef>
              <c:f>'Respondents-Charts,Tables'!$A$2:$A$19</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E$2:$E$19</c:f>
              <c:numCache>
                <c:formatCode>General</c:formatCode>
                <c:ptCount val="18"/>
                <c:pt idx="0">
                  <c:v>2</c:v>
                </c:pt>
              </c:numCache>
            </c:numRef>
          </c:val>
          <c:extLst xmlns:c16r2="http://schemas.microsoft.com/office/drawing/2015/06/chart">
            <c:ext xmlns:c16="http://schemas.microsoft.com/office/drawing/2014/chart" uri="{C3380CC4-5D6E-409C-BE32-E72D297353CC}">
              <c16:uniqueId val="{00000003-4962-4083-BCB8-F2F01C5C0BF5}"/>
            </c:ext>
          </c:extLst>
        </c:ser>
        <c:ser>
          <c:idx val="4"/>
          <c:order val="4"/>
          <c:tx>
            <c:strRef>
              <c:f>'Respondents-Charts,Tables'!$F$1</c:f>
              <c:strCache>
                <c:ptCount val="1"/>
                <c:pt idx="0">
                  <c:v>Aggregator</c:v>
                </c:pt>
              </c:strCache>
            </c:strRef>
          </c:tx>
          <c:spPr>
            <a:solidFill>
              <a:schemeClr val="accent5"/>
            </a:solidFill>
            <a:ln>
              <a:noFill/>
            </a:ln>
            <a:effectLst/>
          </c:spPr>
          <c:invertIfNegative val="0"/>
          <c:cat>
            <c:strRef>
              <c:f>'Respondents-Charts,Tables'!$A$2:$A$19</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F$2:$F$19</c:f>
              <c:numCache>
                <c:formatCode>General</c:formatCode>
                <c:ptCount val="18"/>
                <c:pt idx="1">
                  <c:v>2</c:v>
                </c:pt>
                <c:pt idx="6">
                  <c:v>1</c:v>
                </c:pt>
              </c:numCache>
            </c:numRef>
          </c:val>
          <c:extLst xmlns:c16r2="http://schemas.microsoft.com/office/drawing/2015/06/chart">
            <c:ext xmlns:c16="http://schemas.microsoft.com/office/drawing/2014/chart" uri="{C3380CC4-5D6E-409C-BE32-E72D297353CC}">
              <c16:uniqueId val="{00000004-4962-4083-BCB8-F2F01C5C0BF5}"/>
            </c:ext>
          </c:extLst>
        </c:ser>
        <c:ser>
          <c:idx val="5"/>
          <c:order val="5"/>
          <c:tx>
            <c:strRef>
              <c:f>'Respondents-Charts,Tables'!$G$1</c:f>
              <c:strCache>
                <c:ptCount val="1"/>
                <c:pt idx="0">
                  <c:v>Association</c:v>
                </c:pt>
              </c:strCache>
            </c:strRef>
          </c:tx>
          <c:spPr>
            <a:solidFill>
              <a:schemeClr val="accent6"/>
            </a:solidFill>
            <a:ln>
              <a:noFill/>
            </a:ln>
            <a:effectLst/>
          </c:spPr>
          <c:invertIfNegative val="0"/>
          <c:cat>
            <c:strRef>
              <c:f>'Respondents-Charts,Tables'!$A$2:$A$19</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G$2:$G$19</c:f>
              <c:numCache>
                <c:formatCode>General</c:formatCode>
                <c:ptCount val="18"/>
                <c:pt idx="3">
                  <c:v>1</c:v>
                </c:pt>
                <c:pt idx="4">
                  <c:v>4</c:v>
                </c:pt>
                <c:pt idx="7">
                  <c:v>2</c:v>
                </c:pt>
                <c:pt idx="11">
                  <c:v>1</c:v>
                </c:pt>
                <c:pt idx="12">
                  <c:v>1</c:v>
                </c:pt>
                <c:pt idx="16">
                  <c:v>1</c:v>
                </c:pt>
              </c:numCache>
            </c:numRef>
          </c:val>
          <c:extLst xmlns:c16r2="http://schemas.microsoft.com/office/drawing/2015/06/chart">
            <c:ext xmlns:c16="http://schemas.microsoft.com/office/drawing/2014/chart" uri="{C3380CC4-5D6E-409C-BE32-E72D297353CC}">
              <c16:uniqueId val="{00000005-4962-4083-BCB8-F2F01C5C0BF5}"/>
            </c:ext>
          </c:extLst>
        </c:ser>
        <c:ser>
          <c:idx val="6"/>
          <c:order val="6"/>
          <c:tx>
            <c:strRef>
              <c:f>'Respondents-Charts,Tables'!$H$1</c:f>
              <c:strCache>
                <c:ptCount val="1"/>
                <c:pt idx="0">
                  <c:v>Market Operator</c:v>
                </c:pt>
              </c:strCache>
            </c:strRef>
          </c:tx>
          <c:spPr>
            <a:solidFill>
              <a:schemeClr val="accent1">
                <a:lumMod val="60000"/>
              </a:schemeClr>
            </a:solidFill>
            <a:ln>
              <a:noFill/>
            </a:ln>
            <a:effectLst/>
          </c:spPr>
          <c:invertIfNegative val="0"/>
          <c:cat>
            <c:strRef>
              <c:f>'Respondents-Charts,Tables'!$A$2:$A$19</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c:v>
                </c:pt>
                <c:pt idx="12">
                  <c:v>Norway</c:v>
                </c:pt>
                <c:pt idx="13">
                  <c:v>Slovakia</c:v>
                </c:pt>
                <c:pt idx="14">
                  <c:v>Slovenia</c:v>
                </c:pt>
                <c:pt idx="15">
                  <c:v>Spain</c:v>
                </c:pt>
                <c:pt idx="16">
                  <c:v>Sweden</c:v>
                </c:pt>
                <c:pt idx="17">
                  <c:v>Switzerland</c:v>
                </c:pt>
              </c:strCache>
            </c:strRef>
          </c:cat>
          <c:val>
            <c:numRef>
              <c:f>'Respondents-Charts,Tables'!$H$2:$H$19</c:f>
              <c:numCache>
                <c:formatCode>General</c:formatCode>
                <c:ptCount val="18"/>
                <c:pt idx="8">
                  <c:v>1</c:v>
                </c:pt>
              </c:numCache>
            </c:numRef>
          </c:val>
          <c:extLst xmlns:c16r2="http://schemas.microsoft.com/office/drawing/2015/06/chart">
            <c:ext xmlns:c16="http://schemas.microsoft.com/office/drawing/2014/chart" uri="{C3380CC4-5D6E-409C-BE32-E72D297353CC}">
              <c16:uniqueId val="{00000006-4962-4083-BCB8-F2F01C5C0BF5}"/>
            </c:ext>
          </c:extLst>
        </c:ser>
        <c:dLbls>
          <c:showLegendKey val="0"/>
          <c:showVal val="0"/>
          <c:showCatName val="0"/>
          <c:showSerName val="0"/>
          <c:showPercent val="0"/>
          <c:showBubbleSize val="0"/>
        </c:dLbls>
        <c:gapWidth val="150"/>
        <c:overlap val="100"/>
        <c:axId val="207427840"/>
        <c:axId val="207433728"/>
      </c:barChart>
      <c:catAx>
        <c:axId val="2074278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a-DK"/>
          </a:p>
        </c:txPr>
        <c:crossAx val="207433728"/>
        <c:crosses val="autoZero"/>
        <c:auto val="1"/>
        <c:lblAlgn val="ctr"/>
        <c:lblOffset val="100"/>
        <c:noMultiLvlLbl val="0"/>
      </c:catAx>
      <c:valAx>
        <c:axId val="2074337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crossAx val="207427840"/>
        <c:crosses val="autoZero"/>
        <c:crossBetween val="between"/>
      </c:valAx>
      <c:spPr>
        <a:noFill/>
        <a:ln>
          <a:noFill/>
        </a:ln>
        <a:effectLst/>
      </c:spPr>
    </c:plotArea>
    <c:legend>
      <c:legendPos val="r"/>
      <c:layout>
        <c:manualLayout>
          <c:xMode val="edge"/>
          <c:yMode val="edge"/>
          <c:x val="0.73242789193302893"/>
          <c:y val="0"/>
          <c:w val="0.26176902587519024"/>
          <c:h val="0.521983104238258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277057672504881E-2"/>
          <c:y val="3.281653746770026E-2"/>
          <c:w val="0.88789889062884131"/>
          <c:h val="0.89342830427720288"/>
        </c:manualLayout>
      </c:layout>
      <c:barChart>
        <c:barDir val="bar"/>
        <c:grouping val="stacked"/>
        <c:varyColors val="0"/>
        <c:ser>
          <c:idx val="0"/>
          <c:order val="0"/>
          <c:tx>
            <c:strRef>
              <c:f>'Respondents-Charts,Tables'!$A$2</c:f>
              <c:strCache>
                <c:ptCount val="1"/>
                <c:pt idx="0">
                  <c:v>Austria</c:v>
                </c:pt>
              </c:strCache>
            </c:strRef>
          </c:tx>
          <c:spPr>
            <a:solidFill>
              <a:schemeClr val="accent1"/>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2:$H$2</c:f>
              <c:numCache>
                <c:formatCode>General</c:formatCode>
                <c:ptCount val="7"/>
                <c:pt idx="0">
                  <c:v>7</c:v>
                </c:pt>
                <c:pt idx="1">
                  <c:v>1</c:v>
                </c:pt>
                <c:pt idx="2">
                  <c:v>2</c:v>
                </c:pt>
                <c:pt idx="3">
                  <c:v>2</c:v>
                </c:pt>
              </c:numCache>
            </c:numRef>
          </c:val>
          <c:extLst xmlns:c16r2="http://schemas.microsoft.com/office/drawing/2015/06/chart">
            <c:ext xmlns:c16="http://schemas.microsoft.com/office/drawing/2014/chart" uri="{C3380CC4-5D6E-409C-BE32-E72D297353CC}">
              <c16:uniqueId val="{00000000-4962-4083-BCB8-F2F01C5C0BF5}"/>
            </c:ext>
          </c:extLst>
        </c:ser>
        <c:ser>
          <c:idx val="1"/>
          <c:order val="1"/>
          <c:tx>
            <c:strRef>
              <c:f>'Respondents-Charts,Tables'!$A$3</c:f>
              <c:strCache>
                <c:ptCount val="1"/>
                <c:pt idx="0">
                  <c:v>Belgium</c:v>
                </c:pt>
              </c:strCache>
            </c:strRef>
          </c:tx>
          <c:spPr>
            <a:solidFill>
              <a:schemeClr val="accent2"/>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3:$H$3</c:f>
              <c:numCache>
                <c:formatCode>General</c:formatCode>
                <c:ptCount val="7"/>
                <c:pt idx="0">
                  <c:v>1</c:v>
                </c:pt>
                <c:pt idx="4">
                  <c:v>2</c:v>
                </c:pt>
              </c:numCache>
            </c:numRef>
          </c:val>
          <c:extLst xmlns:c16r2="http://schemas.microsoft.com/office/drawing/2015/06/chart">
            <c:ext xmlns:c16="http://schemas.microsoft.com/office/drawing/2014/chart" uri="{C3380CC4-5D6E-409C-BE32-E72D297353CC}">
              <c16:uniqueId val="{00000001-4962-4083-BCB8-F2F01C5C0BF5}"/>
            </c:ext>
          </c:extLst>
        </c:ser>
        <c:ser>
          <c:idx val="2"/>
          <c:order val="2"/>
          <c:tx>
            <c:strRef>
              <c:f>'Respondents-Charts,Tables'!$A$4</c:f>
              <c:strCache>
                <c:ptCount val="1"/>
                <c:pt idx="0">
                  <c:v>Czech Republic</c:v>
                </c:pt>
              </c:strCache>
            </c:strRef>
          </c:tx>
          <c:spPr>
            <a:solidFill>
              <a:schemeClr val="accent3"/>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4:$H$4</c:f>
              <c:numCache>
                <c:formatCode>General</c:formatCode>
                <c:ptCount val="7"/>
                <c:pt idx="0">
                  <c:v>2</c:v>
                </c:pt>
              </c:numCache>
            </c:numRef>
          </c:val>
          <c:extLst xmlns:c16r2="http://schemas.microsoft.com/office/drawing/2015/06/chart">
            <c:ext xmlns:c16="http://schemas.microsoft.com/office/drawing/2014/chart" uri="{C3380CC4-5D6E-409C-BE32-E72D297353CC}">
              <c16:uniqueId val="{00000002-4962-4083-BCB8-F2F01C5C0BF5}"/>
            </c:ext>
          </c:extLst>
        </c:ser>
        <c:ser>
          <c:idx val="3"/>
          <c:order val="3"/>
          <c:tx>
            <c:strRef>
              <c:f>'Respondents-Charts,Tables'!$A$5</c:f>
              <c:strCache>
                <c:ptCount val="1"/>
                <c:pt idx="0">
                  <c:v>Denmark</c:v>
                </c:pt>
              </c:strCache>
            </c:strRef>
          </c:tx>
          <c:spPr>
            <a:solidFill>
              <a:schemeClr val="accent4"/>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5:$H$5</c:f>
              <c:numCache>
                <c:formatCode>General</c:formatCode>
                <c:ptCount val="7"/>
                <c:pt idx="0">
                  <c:v>2</c:v>
                </c:pt>
                <c:pt idx="1">
                  <c:v>1</c:v>
                </c:pt>
                <c:pt idx="5">
                  <c:v>1</c:v>
                </c:pt>
              </c:numCache>
            </c:numRef>
          </c:val>
          <c:extLst xmlns:c16r2="http://schemas.microsoft.com/office/drawing/2015/06/chart">
            <c:ext xmlns:c16="http://schemas.microsoft.com/office/drawing/2014/chart" uri="{C3380CC4-5D6E-409C-BE32-E72D297353CC}">
              <c16:uniqueId val="{00000003-4962-4083-BCB8-F2F01C5C0BF5}"/>
            </c:ext>
          </c:extLst>
        </c:ser>
        <c:ser>
          <c:idx val="4"/>
          <c:order val="4"/>
          <c:tx>
            <c:strRef>
              <c:f>'Respondents-Charts,Tables'!$A$6</c:f>
              <c:strCache>
                <c:ptCount val="1"/>
                <c:pt idx="0">
                  <c:v>EU</c:v>
                </c:pt>
              </c:strCache>
            </c:strRef>
          </c:tx>
          <c:spPr>
            <a:solidFill>
              <a:schemeClr val="accent5"/>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6:$H$6</c:f>
              <c:numCache>
                <c:formatCode>General</c:formatCode>
                <c:ptCount val="7"/>
                <c:pt idx="5">
                  <c:v>4</c:v>
                </c:pt>
              </c:numCache>
            </c:numRef>
          </c:val>
          <c:extLst xmlns:c16r2="http://schemas.microsoft.com/office/drawing/2015/06/chart">
            <c:ext xmlns:c16="http://schemas.microsoft.com/office/drawing/2014/chart" uri="{C3380CC4-5D6E-409C-BE32-E72D297353CC}">
              <c16:uniqueId val="{00000004-4962-4083-BCB8-F2F01C5C0BF5}"/>
            </c:ext>
          </c:extLst>
        </c:ser>
        <c:ser>
          <c:idx val="5"/>
          <c:order val="5"/>
          <c:tx>
            <c:strRef>
              <c:f>'Respondents-Charts,Tables'!$A$7</c:f>
              <c:strCache>
                <c:ptCount val="1"/>
                <c:pt idx="0">
                  <c:v>Finland</c:v>
                </c:pt>
              </c:strCache>
            </c:strRef>
          </c:tx>
          <c:spPr>
            <a:solidFill>
              <a:schemeClr val="accent6"/>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7:$H$7</c:f>
              <c:numCache>
                <c:formatCode>General</c:formatCode>
                <c:ptCount val="7"/>
                <c:pt idx="0">
                  <c:v>2</c:v>
                </c:pt>
              </c:numCache>
            </c:numRef>
          </c:val>
          <c:extLst xmlns:c16r2="http://schemas.microsoft.com/office/drawing/2015/06/chart">
            <c:ext xmlns:c16="http://schemas.microsoft.com/office/drawing/2014/chart" uri="{C3380CC4-5D6E-409C-BE32-E72D297353CC}">
              <c16:uniqueId val="{00000005-4962-4083-BCB8-F2F01C5C0BF5}"/>
            </c:ext>
          </c:extLst>
        </c:ser>
        <c:ser>
          <c:idx val="6"/>
          <c:order val="6"/>
          <c:tx>
            <c:strRef>
              <c:f>'Respondents-Charts,Tables'!$A$8</c:f>
              <c:strCache>
                <c:ptCount val="1"/>
                <c:pt idx="0">
                  <c:v>France</c:v>
                </c:pt>
              </c:strCache>
            </c:strRef>
          </c:tx>
          <c:spPr>
            <a:solidFill>
              <a:schemeClr val="accent1">
                <a:lumMod val="6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8:$H$8</c:f>
              <c:numCache>
                <c:formatCode>General</c:formatCode>
                <c:ptCount val="7"/>
                <c:pt idx="0">
                  <c:v>3</c:v>
                </c:pt>
                <c:pt idx="1">
                  <c:v>1</c:v>
                </c:pt>
                <c:pt idx="4">
                  <c:v>1</c:v>
                </c:pt>
              </c:numCache>
            </c:numRef>
          </c:val>
          <c:extLst xmlns:c16r2="http://schemas.microsoft.com/office/drawing/2015/06/chart">
            <c:ext xmlns:c16="http://schemas.microsoft.com/office/drawing/2014/chart" uri="{C3380CC4-5D6E-409C-BE32-E72D297353CC}">
              <c16:uniqueId val="{00000006-4962-4083-BCB8-F2F01C5C0BF5}"/>
            </c:ext>
          </c:extLst>
        </c:ser>
        <c:ser>
          <c:idx val="7"/>
          <c:order val="7"/>
          <c:tx>
            <c:strRef>
              <c:f>'Respondents-Charts,Tables'!$A$9</c:f>
              <c:strCache>
                <c:ptCount val="1"/>
                <c:pt idx="0">
                  <c:v>Germany</c:v>
                </c:pt>
              </c:strCache>
            </c:strRef>
          </c:tx>
          <c:spPr>
            <a:solidFill>
              <a:schemeClr val="accent2">
                <a:lumMod val="6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9:$H$9</c:f>
              <c:numCache>
                <c:formatCode>General</c:formatCode>
                <c:ptCount val="7"/>
                <c:pt idx="0">
                  <c:v>6</c:v>
                </c:pt>
                <c:pt idx="1">
                  <c:v>2</c:v>
                </c:pt>
                <c:pt idx="2">
                  <c:v>2</c:v>
                </c:pt>
                <c:pt idx="5">
                  <c:v>2</c:v>
                </c:pt>
              </c:numCache>
            </c:numRef>
          </c:val>
        </c:ser>
        <c:ser>
          <c:idx val="8"/>
          <c:order val="8"/>
          <c:tx>
            <c:strRef>
              <c:f>'Respondents-Charts,Tables'!$A$10</c:f>
              <c:strCache>
                <c:ptCount val="1"/>
                <c:pt idx="0">
                  <c:v>Great Britain</c:v>
                </c:pt>
              </c:strCache>
            </c:strRef>
          </c:tx>
          <c:spPr>
            <a:solidFill>
              <a:schemeClr val="accent3">
                <a:lumMod val="6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0:$H$10</c:f>
              <c:numCache>
                <c:formatCode>General</c:formatCode>
                <c:ptCount val="7"/>
                <c:pt idx="6">
                  <c:v>1</c:v>
                </c:pt>
              </c:numCache>
            </c:numRef>
          </c:val>
        </c:ser>
        <c:ser>
          <c:idx val="9"/>
          <c:order val="9"/>
          <c:tx>
            <c:strRef>
              <c:f>'Respondents-Charts,Tables'!$A$11</c:f>
              <c:strCache>
                <c:ptCount val="1"/>
                <c:pt idx="0">
                  <c:v>Italy</c:v>
                </c:pt>
              </c:strCache>
            </c:strRef>
          </c:tx>
          <c:spPr>
            <a:solidFill>
              <a:schemeClr val="accent4">
                <a:lumMod val="6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1:$H$11</c:f>
              <c:numCache>
                <c:formatCode>General</c:formatCode>
                <c:ptCount val="7"/>
                <c:pt idx="0">
                  <c:v>2</c:v>
                </c:pt>
              </c:numCache>
            </c:numRef>
          </c:val>
        </c:ser>
        <c:ser>
          <c:idx val="10"/>
          <c:order val="10"/>
          <c:tx>
            <c:strRef>
              <c:f>'Respondents-Charts,Tables'!$A$12</c:f>
              <c:strCache>
                <c:ptCount val="1"/>
                <c:pt idx="0">
                  <c:v>Lithuania</c:v>
                </c:pt>
              </c:strCache>
            </c:strRef>
          </c:tx>
          <c:spPr>
            <a:solidFill>
              <a:schemeClr val="accent5">
                <a:lumMod val="6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2:$H$12</c:f>
              <c:numCache>
                <c:formatCode>General</c:formatCode>
                <c:ptCount val="7"/>
                <c:pt idx="0">
                  <c:v>1</c:v>
                </c:pt>
              </c:numCache>
            </c:numRef>
          </c:val>
        </c:ser>
        <c:ser>
          <c:idx val="11"/>
          <c:order val="11"/>
          <c:tx>
            <c:strRef>
              <c:f>'Respondents-Charts,Tables'!$A$13</c:f>
              <c:strCache>
                <c:ptCount val="1"/>
                <c:pt idx="0">
                  <c:v>Netherland</c:v>
                </c:pt>
              </c:strCache>
            </c:strRef>
          </c:tx>
          <c:spPr>
            <a:solidFill>
              <a:schemeClr val="accent6">
                <a:lumMod val="6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3:$H$13</c:f>
              <c:numCache>
                <c:formatCode>General</c:formatCode>
                <c:ptCount val="7"/>
                <c:pt idx="5">
                  <c:v>1</c:v>
                </c:pt>
              </c:numCache>
            </c:numRef>
          </c:val>
        </c:ser>
        <c:ser>
          <c:idx val="12"/>
          <c:order val="12"/>
          <c:tx>
            <c:strRef>
              <c:f>'Respondents-Charts,Tables'!$A$14</c:f>
              <c:strCache>
                <c:ptCount val="1"/>
                <c:pt idx="0">
                  <c:v>Norway</c:v>
                </c:pt>
              </c:strCache>
            </c:strRef>
          </c:tx>
          <c:spPr>
            <a:solidFill>
              <a:schemeClr val="accent1">
                <a:lumMod val="80000"/>
                <a:lumOff val="2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4:$H$14</c:f>
              <c:numCache>
                <c:formatCode>General</c:formatCode>
                <c:ptCount val="7"/>
                <c:pt idx="0">
                  <c:v>5</c:v>
                </c:pt>
                <c:pt idx="5">
                  <c:v>1</c:v>
                </c:pt>
              </c:numCache>
            </c:numRef>
          </c:val>
        </c:ser>
        <c:ser>
          <c:idx val="13"/>
          <c:order val="13"/>
          <c:tx>
            <c:strRef>
              <c:f>'Respondents-Charts,Tables'!$A$15</c:f>
              <c:strCache>
                <c:ptCount val="1"/>
                <c:pt idx="0">
                  <c:v>Slovakia</c:v>
                </c:pt>
              </c:strCache>
            </c:strRef>
          </c:tx>
          <c:spPr>
            <a:solidFill>
              <a:schemeClr val="accent2">
                <a:lumMod val="80000"/>
                <a:lumOff val="2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5:$H$15</c:f>
              <c:numCache>
                <c:formatCode>General</c:formatCode>
                <c:ptCount val="7"/>
                <c:pt idx="0">
                  <c:v>1</c:v>
                </c:pt>
              </c:numCache>
            </c:numRef>
          </c:val>
        </c:ser>
        <c:ser>
          <c:idx val="14"/>
          <c:order val="14"/>
          <c:tx>
            <c:strRef>
              <c:f>'Respondents-Charts,Tables'!$A$16</c:f>
              <c:strCache>
                <c:ptCount val="1"/>
                <c:pt idx="0">
                  <c:v>Slovenia</c:v>
                </c:pt>
              </c:strCache>
            </c:strRef>
          </c:tx>
          <c:spPr>
            <a:solidFill>
              <a:schemeClr val="accent3">
                <a:lumMod val="80000"/>
                <a:lumOff val="2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6:$H$16</c:f>
              <c:numCache>
                <c:formatCode>General</c:formatCode>
                <c:ptCount val="7"/>
                <c:pt idx="0">
                  <c:v>1</c:v>
                </c:pt>
              </c:numCache>
            </c:numRef>
          </c:val>
        </c:ser>
        <c:ser>
          <c:idx val="15"/>
          <c:order val="15"/>
          <c:tx>
            <c:strRef>
              <c:f>'Respondents-Charts,Tables'!$A$17</c:f>
              <c:strCache>
                <c:ptCount val="1"/>
                <c:pt idx="0">
                  <c:v>Spain</c:v>
                </c:pt>
              </c:strCache>
            </c:strRef>
          </c:tx>
          <c:spPr>
            <a:solidFill>
              <a:schemeClr val="accent4">
                <a:lumMod val="80000"/>
                <a:lumOff val="2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7:$H$17</c:f>
              <c:numCache>
                <c:formatCode>General</c:formatCode>
                <c:ptCount val="7"/>
                <c:pt idx="0">
                  <c:v>2.5</c:v>
                </c:pt>
                <c:pt idx="2">
                  <c:v>0.5</c:v>
                </c:pt>
              </c:numCache>
            </c:numRef>
          </c:val>
        </c:ser>
        <c:ser>
          <c:idx val="16"/>
          <c:order val="16"/>
          <c:tx>
            <c:strRef>
              <c:f>'Respondents-Charts,Tables'!$A$18</c:f>
              <c:strCache>
                <c:ptCount val="1"/>
                <c:pt idx="0">
                  <c:v>Sweden</c:v>
                </c:pt>
              </c:strCache>
            </c:strRef>
          </c:tx>
          <c:spPr>
            <a:solidFill>
              <a:schemeClr val="accent5">
                <a:lumMod val="80000"/>
                <a:lumOff val="2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8:$H$18</c:f>
              <c:numCache>
                <c:formatCode>General</c:formatCode>
                <c:ptCount val="7"/>
                <c:pt idx="0">
                  <c:v>2</c:v>
                </c:pt>
                <c:pt idx="5">
                  <c:v>1</c:v>
                </c:pt>
              </c:numCache>
            </c:numRef>
          </c:val>
        </c:ser>
        <c:ser>
          <c:idx val="17"/>
          <c:order val="17"/>
          <c:tx>
            <c:strRef>
              <c:f>'Respondents-Charts,Tables'!$A$19</c:f>
              <c:strCache>
                <c:ptCount val="1"/>
                <c:pt idx="0">
                  <c:v>Switzerland</c:v>
                </c:pt>
              </c:strCache>
            </c:strRef>
          </c:tx>
          <c:spPr>
            <a:solidFill>
              <a:schemeClr val="accent6">
                <a:lumMod val="80000"/>
                <a:lumOff val="20000"/>
              </a:schemeClr>
            </a:solidFill>
            <a:ln>
              <a:noFill/>
            </a:ln>
            <a:effectLst/>
          </c:spPr>
          <c:invertIfNegative val="0"/>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19:$H$19</c:f>
              <c:numCache>
                <c:formatCode>General</c:formatCode>
                <c:ptCount val="7"/>
                <c:pt idx="0">
                  <c:v>0.5</c:v>
                </c:pt>
                <c:pt idx="1">
                  <c:v>1</c:v>
                </c:pt>
                <c:pt idx="2">
                  <c:v>0.5</c:v>
                </c:pt>
              </c:numCache>
            </c:numRef>
          </c:val>
        </c:ser>
        <c:dLbls>
          <c:showLegendKey val="0"/>
          <c:showVal val="0"/>
          <c:showCatName val="0"/>
          <c:showSerName val="0"/>
          <c:showPercent val="0"/>
          <c:showBubbleSize val="0"/>
        </c:dLbls>
        <c:gapWidth val="150"/>
        <c:overlap val="100"/>
        <c:axId val="207159680"/>
        <c:axId val="207161216"/>
      </c:barChart>
      <c:catAx>
        <c:axId val="2071596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a-DK"/>
          </a:p>
        </c:txPr>
        <c:crossAx val="207161216"/>
        <c:crosses val="autoZero"/>
        <c:auto val="1"/>
        <c:lblAlgn val="ctr"/>
        <c:lblOffset val="100"/>
        <c:noMultiLvlLbl val="0"/>
      </c:catAx>
      <c:valAx>
        <c:axId val="20716121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crossAx val="207159680"/>
        <c:crosses val="autoZero"/>
        <c:crossBetween val="between"/>
      </c:valAx>
      <c:spPr>
        <a:noFill/>
        <a:ln>
          <a:noFill/>
        </a:ln>
        <a:effectLst/>
      </c:spPr>
    </c:plotArea>
    <c:legend>
      <c:legendPos val="r"/>
      <c:layout>
        <c:manualLayout>
          <c:xMode val="edge"/>
          <c:yMode val="edge"/>
          <c:x val="0.49264117199391172"/>
          <c:y val="5.4153423772609822E-2"/>
          <c:w val="0.45852435312024364"/>
          <c:h val="0.5963443152454780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72987117552337"/>
          <c:y val="6.25E-2"/>
          <c:w val="0.38043478260869568"/>
          <c:h val="0.93750000000000011"/>
        </c:manualLayout>
      </c:layout>
      <c:pieChart>
        <c:varyColors val="1"/>
        <c:ser>
          <c:idx val="0"/>
          <c:order val="0"/>
          <c:spPr>
            <a:effectLst>
              <a:glow rad="38100">
                <a:schemeClr val="accent1">
                  <a:satMod val="175000"/>
                  <a:alpha val="30000"/>
                </a:schemeClr>
              </a:glow>
            </a:effectLst>
          </c:spPr>
          <c:dPt>
            <c:idx val="0"/>
            <c:bubble3D val="0"/>
            <c:spPr>
              <a:solidFill>
                <a:schemeClr val="accent1"/>
              </a:solidFill>
              <a:ln w="19050">
                <a:solidFill>
                  <a:schemeClr val="lt1"/>
                </a:solidFill>
              </a:ln>
              <a:effectLst>
                <a:glow rad="38100">
                  <a:schemeClr val="accent1">
                    <a:satMod val="175000"/>
                    <a:alpha val="30000"/>
                  </a:schemeClr>
                </a:glow>
              </a:effectLst>
            </c:spPr>
          </c:dPt>
          <c:dPt>
            <c:idx val="1"/>
            <c:bubble3D val="0"/>
            <c:spPr>
              <a:solidFill>
                <a:schemeClr val="accent2"/>
              </a:solidFill>
              <a:ln w="19050">
                <a:solidFill>
                  <a:schemeClr val="lt1"/>
                </a:solidFill>
              </a:ln>
              <a:effectLst>
                <a:glow rad="38100">
                  <a:schemeClr val="accent1">
                    <a:satMod val="175000"/>
                    <a:alpha val="30000"/>
                  </a:schemeClr>
                </a:glow>
              </a:effectLst>
            </c:spPr>
          </c:dPt>
          <c:dPt>
            <c:idx val="2"/>
            <c:bubble3D val="0"/>
            <c:spPr>
              <a:solidFill>
                <a:schemeClr val="accent3"/>
              </a:solidFill>
              <a:ln w="19050">
                <a:solidFill>
                  <a:schemeClr val="lt1"/>
                </a:solidFill>
              </a:ln>
              <a:effectLst>
                <a:glow rad="38100">
                  <a:schemeClr val="accent1">
                    <a:satMod val="175000"/>
                    <a:alpha val="30000"/>
                  </a:schemeClr>
                </a:glow>
              </a:effectLst>
            </c:spPr>
          </c:dPt>
          <c:dPt>
            <c:idx val="3"/>
            <c:bubble3D val="0"/>
            <c:spPr>
              <a:solidFill>
                <a:schemeClr val="accent4"/>
              </a:solidFill>
              <a:ln w="19050">
                <a:solidFill>
                  <a:schemeClr val="lt1"/>
                </a:solidFill>
              </a:ln>
              <a:effectLst>
                <a:glow rad="38100">
                  <a:schemeClr val="accent1">
                    <a:satMod val="175000"/>
                    <a:alpha val="30000"/>
                  </a:schemeClr>
                </a:glow>
              </a:effectLst>
            </c:spPr>
          </c:dPt>
          <c:dPt>
            <c:idx val="4"/>
            <c:bubble3D val="0"/>
            <c:spPr>
              <a:solidFill>
                <a:schemeClr val="accent5"/>
              </a:solidFill>
              <a:ln w="19050">
                <a:solidFill>
                  <a:schemeClr val="lt1"/>
                </a:solidFill>
              </a:ln>
              <a:effectLst>
                <a:glow rad="38100">
                  <a:schemeClr val="accent1">
                    <a:satMod val="175000"/>
                    <a:alpha val="30000"/>
                  </a:schemeClr>
                </a:glow>
              </a:effectLst>
            </c:spPr>
          </c:dPt>
          <c:dPt>
            <c:idx val="5"/>
            <c:bubble3D val="0"/>
            <c:spPr>
              <a:solidFill>
                <a:schemeClr val="accent6"/>
              </a:solidFill>
              <a:ln w="19050">
                <a:solidFill>
                  <a:schemeClr val="lt1"/>
                </a:solidFill>
              </a:ln>
              <a:effectLst>
                <a:glow rad="38100">
                  <a:schemeClr val="accent1">
                    <a:satMod val="175000"/>
                    <a:alpha val="30000"/>
                  </a:schemeClr>
                </a:glow>
              </a:effectLst>
            </c:spPr>
          </c:dPt>
          <c:dPt>
            <c:idx val="6"/>
            <c:bubble3D val="0"/>
            <c:spPr>
              <a:solidFill>
                <a:schemeClr val="accent1">
                  <a:lumMod val="60000"/>
                </a:schemeClr>
              </a:solidFill>
              <a:ln w="19050">
                <a:solidFill>
                  <a:schemeClr val="lt1"/>
                </a:solidFill>
              </a:ln>
              <a:effectLst>
                <a:glow rad="38100">
                  <a:schemeClr val="accent1">
                    <a:satMod val="175000"/>
                    <a:alpha val="30000"/>
                  </a:schemeClr>
                </a:glow>
              </a:effectLst>
            </c:spPr>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a-DK"/>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Respondents-Charts,Tables'!$B$1:$H$1</c:f>
              <c:strCache>
                <c:ptCount val="7"/>
                <c:pt idx="0">
                  <c:v>Generation</c:v>
                </c:pt>
                <c:pt idx="1">
                  <c:v>Portfolio Manager</c:v>
                </c:pt>
                <c:pt idx="2">
                  <c:v>Supply</c:v>
                </c:pt>
                <c:pt idx="3">
                  <c:v>Consultancy</c:v>
                </c:pt>
                <c:pt idx="4">
                  <c:v>Aggregator</c:v>
                </c:pt>
                <c:pt idx="5">
                  <c:v>Association</c:v>
                </c:pt>
                <c:pt idx="6">
                  <c:v>Market Operator</c:v>
                </c:pt>
              </c:strCache>
            </c:strRef>
          </c:cat>
          <c:val>
            <c:numRef>
              <c:f>'Respondents-Charts,Tables'!$B$20:$H$20</c:f>
              <c:numCache>
                <c:formatCode>General</c:formatCode>
                <c:ptCount val="7"/>
                <c:pt idx="0">
                  <c:v>38</c:v>
                </c:pt>
                <c:pt idx="1">
                  <c:v>6</c:v>
                </c:pt>
                <c:pt idx="2">
                  <c:v>5</c:v>
                </c:pt>
                <c:pt idx="3">
                  <c:v>2</c:v>
                </c:pt>
                <c:pt idx="4">
                  <c:v>3</c:v>
                </c:pt>
                <c:pt idx="5">
                  <c:v>10</c:v>
                </c:pt>
                <c:pt idx="6">
                  <c:v>1</c:v>
                </c:pt>
              </c:numCache>
            </c:numRef>
          </c:val>
        </c:ser>
        <c:dLbls>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73225462962962962"/>
          <c:y val="0.15015859705155465"/>
          <c:w val="0.25240720611916262"/>
          <c:h val="0.69968233950356162"/>
        </c:manualLayout>
      </c:layout>
      <c:overlay val="0"/>
      <c:spPr>
        <a:noFill/>
        <a:ln>
          <a:solidFill>
            <a:schemeClr val="accent1">
              <a:lumMod val="75000"/>
            </a:schemeClr>
          </a:solidFill>
        </a:ln>
        <a:effectLst>
          <a:glow rad="38100">
            <a:schemeClr val="accent1">
              <a:satMod val="175000"/>
              <a:alpha val="30000"/>
            </a:schemeClr>
          </a:glow>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130327245053269E-2"/>
          <c:y val="0.10953703703703704"/>
          <c:w val="0.88539155251141555"/>
          <c:h val="0.87282407407407403"/>
        </c:manualLayout>
      </c:layout>
      <c:barChart>
        <c:barDir val="col"/>
        <c:grouping val="clustered"/>
        <c:varyColors val="0"/>
        <c:ser>
          <c:idx val="0"/>
          <c:order val="0"/>
          <c:spPr>
            <a:solidFill>
              <a:schemeClr val="accent1"/>
            </a:solidFill>
            <a:ln w="19050">
              <a:solidFill>
                <a:schemeClr val="lt1"/>
              </a:solidFill>
            </a:ln>
            <a:effectLst>
              <a:glow rad="38100">
                <a:schemeClr val="accent1">
                  <a:satMod val="175000"/>
                  <a:alpha val="30000"/>
                </a:schemeClr>
              </a:glow>
            </a:effectLst>
          </c:spPr>
          <c:invertIfNegative val="0"/>
          <c:dPt>
            <c:idx val="0"/>
            <c:invertIfNegative val="0"/>
            <c:bubble3D val="0"/>
          </c:dPt>
          <c:dPt>
            <c:idx val="1"/>
            <c:invertIfNegative val="0"/>
            <c:bubble3D val="0"/>
          </c:dPt>
          <c:dPt>
            <c:idx val="2"/>
            <c:invertIfNegative val="0"/>
            <c:bubble3D val="0"/>
          </c:dPt>
          <c:dPt>
            <c:idx val="3"/>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a-DK"/>
              </a:p>
            </c:txPr>
            <c:dLblPos val="outEnd"/>
            <c:showLegendKey val="0"/>
            <c:showVal val="1"/>
            <c:showCatName val="0"/>
            <c:showSerName val="0"/>
            <c:showPercent val="0"/>
            <c:showBubbleSize val="0"/>
            <c:separator>- </c:separator>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untries!$D$37:$D$40</c:f>
              <c:strCache>
                <c:ptCount val="4"/>
                <c:pt idx="0">
                  <c:v>Small</c:v>
                </c:pt>
                <c:pt idx="1">
                  <c:v>Medium</c:v>
                </c:pt>
                <c:pt idx="2">
                  <c:v>Large</c:v>
                </c:pt>
                <c:pt idx="3">
                  <c:v>Not Answered </c:v>
                </c:pt>
              </c:strCache>
            </c:strRef>
          </c:cat>
          <c:val>
            <c:numRef>
              <c:f>Countries!$E$37:$E$40</c:f>
              <c:numCache>
                <c:formatCode>General</c:formatCode>
                <c:ptCount val="4"/>
                <c:pt idx="0">
                  <c:v>2</c:v>
                </c:pt>
                <c:pt idx="1">
                  <c:v>12</c:v>
                </c:pt>
                <c:pt idx="2">
                  <c:v>26</c:v>
                </c:pt>
                <c:pt idx="3">
                  <c:v>25</c:v>
                </c:pt>
              </c:numCache>
            </c:numRef>
          </c:val>
        </c:ser>
        <c:ser>
          <c:idx val="1"/>
          <c:order val="1"/>
          <c:spPr>
            <a:solidFill>
              <a:schemeClr val="accent2"/>
            </a:solidFill>
            <a:ln w="19050">
              <a:solidFill>
                <a:schemeClr val="lt1"/>
              </a:solid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ountries!$D$37:$D$40</c:f>
              <c:strCache>
                <c:ptCount val="4"/>
                <c:pt idx="0">
                  <c:v>Small</c:v>
                </c:pt>
                <c:pt idx="1">
                  <c:v>Medium</c:v>
                </c:pt>
                <c:pt idx="2">
                  <c:v>Large</c:v>
                </c:pt>
                <c:pt idx="3">
                  <c:v>Not Answered </c:v>
                </c:pt>
              </c:strCache>
            </c:strRef>
          </c:cat>
          <c:val>
            <c:numRef>
              <c:f>Countries!$F$37:$F$40</c:f>
              <c:numCache>
                <c:formatCode>0%</c:formatCode>
                <c:ptCount val="4"/>
                <c:pt idx="0">
                  <c:v>3.0769230769230771E-2</c:v>
                </c:pt>
                <c:pt idx="1">
                  <c:v>0.18461538461538463</c:v>
                </c:pt>
                <c:pt idx="2">
                  <c:v>0.4</c:v>
                </c:pt>
                <c:pt idx="3">
                  <c:v>0.38461538461538464</c:v>
                </c:pt>
              </c:numCache>
            </c:numRef>
          </c:val>
        </c:ser>
        <c:dLbls>
          <c:showLegendKey val="0"/>
          <c:showVal val="0"/>
          <c:showCatName val="0"/>
          <c:showSerName val="0"/>
          <c:showPercent val="0"/>
          <c:showBubbleSize val="0"/>
        </c:dLbls>
        <c:gapWidth val="100"/>
        <c:axId val="207232384"/>
        <c:axId val="207238272"/>
      </c:barChart>
      <c:catAx>
        <c:axId val="2072323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crossAx val="207238272"/>
        <c:crosses val="autoZero"/>
        <c:auto val="1"/>
        <c:lblAlgn val="ctr"/>
        <c:lblOffset val="100"/>
        <c:noMultiLvlLbl val="0"/>
      </c:catAx>
      <c:valAx>
        <c:axId val="207238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crossAx val="2072323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a-DK"/>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02492389649924"/>
          <c:y val="4.3928634767495481E-3"/>
          <c:w val="0.88789889062884131"/>
          <c:h val="0.91663717944170542"/>
        </c:manualLayout>
      </c:layout>
      <c:barChart>
        <c:barDir val="bar"/>
        <c:grouping val="stacked"/>
        <c:varyColors val="0"/>
        <c:ser>
          <c:idx val="0"/>
          <c:order val="0"/>
          <c:tx>
            <c:strRef>
              <c:f>'Respondents-Charts,Tables'!$I$96</c:f>
              <c:strCache>
                <c:ptCount val="1"/>
                <c:pt idx="0">
                  <c:v>Small</c:v>
                </c:pt>
              </c:strCache>
            </c:strRef>
          </c:tx>
          <c:spPr>
            <a:solidFill>
              <a:schemeClr val="accent1"/>
            </a:solidFill>
            <a:ln>
              <a:noFill/>
            </a:ln>
            <a:effectLst/>
          </c:spPr>
          <c:invertIfNegative val="0"/>
          <c:cat>
            <c:strRef>
              <c:f>'Respondents-Charts,Tables'!$H$97:$H$114</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s</c:v>
                </c:pt>
                <c:pt idx="12">
                  <c:v>Norway</c:v>
                </c:pt>
                <c:pt idx="13">
                  <c:v>Slovakia</c:v>
                </c:pt>
                <c:pt idx="14">
                  <c:v>Slovenia</c:v>
                </c:pt>
                <c:pt idx="15">
                  <c:v>Spain</c:v>
                </c:pt>
                <c:pt idx="16">
                  <c:v>Sweden</c:v>
                </c:pt>
                <c:pt idx="17">
                  <c:v>Switzerland</c:v>
                </c:pt>
              </c:strCache>
            </c:strRef>
          </c:cat>
          <c:val>
            <c:numRef>
              <c:f>'Respondents-Charts,Tables'!$I$97:$I$114</c:f>
              <c:numCache>
                <c:formatCode>General</c:formatCode>
                <c:ptCount val="18"/>
                <c:pt idx="0">
                  <c:v>0</c:v>
                </c:pt>
                <c:pt idx="1">
                  <c:v>0</c:v>
                </c:pt>
                <c:pt idx="2">
                  <c:v>0</c:v>
                </c:pt>
                <c:pt idx="3">
                  <c:v>0</c:v>
                </c:pt>
                <c:pt idx="4">
                  <c:v>0</c:v>
                </c:pt>
                <c:pt idx="5">
                  <c:v>0</c:v>
                </c:pt>
                <c:pt idx="6">
                  <c:v>0</c:v>
                </c:pt>
                <c:pt idx="7">
                  <c:v>0</c:v>
                </c:pt>
                <c:pt idx="8">
                  <c:v>1</c:v>
                </c:pt>
                <c:pt idx="9">
                  <c:v>0</c:v>
                </c:pt>
                <c:pt idx="10">
                  <c:v>0</c:v>
                </c:pt>
                <c:pt idx="11">
                  <c:v>0</c:v>
                </c:pt>
                <c:pt idx="12">
                  <c:v>0</c:v>
                </c:pt>
                <c:pt idx="13">
                  <c:v>0</c:v>
                </c:pt>
                <c:pt idx="14">
                  <c:v>0</c:v>
                </c:pt>
                <c:pt idx="15">
                  <c:v>1</c:v>
                </c:pt>
                <c:pt idx="16">
                  <c:v>0</c:v>
                </c:pt>
                <c:pt idx="17">
                  <c:v>0</c:v>
                </c:pt>
              </c:numCache>
            </c:numRef>
          </c:val>
          <c:extLst xmlns:c16r2="http://schemas.microsoft.com/office/drawing/2015/06/chart">
            <c:ext xmlns:c16="http://schemas.microsoft.com/office/drawing/2014/chart" uri="{C3380CC4-5D6E-409C-BE32-E72D297353CC}">
              <c16:uniqueId val="{00000000-4962-4083-BCB8-F2F01C5C0BF5}"/>
            </c:ext>
          </c:extLst>
        </c:ser>
        <c:ser>
          <c:idx val="1"/>
          <c:order val="1"/>
          <c:tx>
            <c:strRef>
              <c:f>'Respondents-Charts,Tables'!$J$96</c:f>
              <c:strCache>
                <c:ptCount val="1"/>
                <c:pt idx="0">
                  <c:v>Medium</c:v>
                </c:pt>
              </c:strCache>
            </c:strRef>
          </c:tx>
          <c:spPr>
            <a:solidFill>
              <a:schemeClr val="accent2"/>
            </a:solidFill>
            <a:ln>
              <a:noFill/>
            </a:ln>
            <a:effectLst/>
          </c:spPr>
          <c:invertIfNegative val="0"/>
          <c:cat>
            <c:strRef>
              <c:f>'Respondents-Charts,Tables'!$H$97:$H$114</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s</c:v>
                </c:pt>
                <c:pt idx="12">
                  <c:v>Norway</c:v>
                </c:pt>
                <c:pt idx="13">
                  <c:v>Slovakia</c:v>
                </c:pt>
                <c:pt idx="14">
                  <c:v>Slovenia</c:v>
                </c:pt>
                <c:pt idx="15">
                  <c:v>Spain</c:v>
                </c:pt>
                <c:pt idx="16">
                  <c:v>Sweden</c:v>
                </c:pt>
                <c:pt idx="17">
                  <c:v>Switzerland</c:v>
                </c:pt>
              </c:strCache>
            </c:strRef>
          </c:cat>
          <c:val>
            <c:numRef>
              <c:f>'Respondents-Charts,Tables'!$J$97:$J$114</c:f>
              <c:numCache>
                <c:formatCode>General</c:formatCode>
                <c:ptCount val="18"/>
                <c:pt idx="0">
                  <c:v>7</c:v>
                </c:pt>
                <c:pt idx="1">
                  <c:v>0</c:v>
                </c:pt>
                <c:pt idx="2">
                  <c:v>1</c:v>
                </c:pt>
                <c:pt idx="3">
                  <c:v>1</c:v>
                </c:pt>
                <c:pt idx="4">
                  <c:v>0</c:v>
                </c:pt>
                <c:pt idx="5">
                  <c:v>0</c:v>
                </c:pt>
                <c:pt idx="6">
                  <c:v>1</c:v>
                </c:pt>
                <c:pt idx="7">
                  <c:v>0</c:v>
                </c:pt>
                <c:pt idx="8">
                  <c:v>0</c:v>
                </c:pt>
                <c:pt idx="9">
                  <c:v>0</c:v>
                </c:pt>
                <c:pt idx="10">
                  <c:v>0</c:v>
                </c:pt>
                <c:pt idx="11">
                  <c:v>0</c:v>
                </c:pt>
                <c:pt idx="12">
                  <c:v>0</c:v>
                </c:pt>
                <c:pt idx="13">
                  <c:v>0</c:v>
                </c:pt>
                <c:pt idx="14">
                  <c:v>0</c:v>
                </c:pt>
                <c:pt idx="15">
                  <c:v>0</c:v>
                </c:pt>
                <c:pt idx="16">
                  <c:v>2</c:v>
                </c:pt>
                <c:pt idx="17">
                  <c:v>0</c:v>
                </c:pt>
              </c:numCache>
            </c:numRef>
          </c:val>
          <c:extLst xmlns:c16r2="http://schemas.microsoft.com/office/drawing/2015/06/chart">
            <c:ext xmlns:c16="http://schemas.microsoft.com/office/drawing/2014/chart" uri="{C3380CC4-5D6E-409C-BE32-E72D297353CC}">
              <c16:uniqueId val="{00000001-4962-4083-BCB8-F2F01C5C0BF5}"/>
            </c:ext>
          </c:extLst>
        </c:ser>
        <c:ser>
          <c:idx val="2"/>
          <c:order val="2"/>
          <c:tx>
            <c:strRef>
              <c:f>'Respondents-Charts,Tables'!$K$96</c:f>
              <c:strCache>
                <c:ptCount val="1"/>
                <c:pt idx="0">
                  <c:v>Large</c:v>
                </c:pt>
              </c:strCache>
            </c:strRef>
          </c:tx>
          <c:spPr>
            <a:solidFill>
              <a:schemeClr val="accent3"/>
            </a:solidFill>
            <a:ln>
              <a:noFill/>
            </a:ln>
            <a:effectLst/>
          </c:spPr>
          <c:invertIfNegative val="0"/>
          <c:cat>
            <c:strRef>
              <c:f>'Respondents-Charts,Tables'!$H$97:$H$114</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s</c:v>
                </c:pt>
                <c:pt idx="12">
                  <c:v>Norway</c:v>
                </c:pt>
                <c:pt idx="13">
                  <c:v>Slovakia</c:v>
                </c:pt>
                <c:pt idx="14">
                  <c:v>Slovenia</c:v>
                </c:pt>
                <c:pt idx="15">
                  <c:v>Spain</c:v>
                </c:pt>
                <c:pt idx="16">
                  <c:v>Sweden</c:v>
                </c:pt>
                <c:pt idx="17">
                  <c:v>Switzerland</c:v>
                </c:pt>
              </c:strCache>
            </c:strRef>
          </c:cat>
          <c:val>
            <c:numRef>
              <c:f>'Respondents-Charts,Tables'!$K$97:$K$114</c:f>
              <c:numCache>
                <c:formatCode>General</c:formatCode>
                <c:ptCount val="18"/>
                <c:pt idx="0">
                  <c:v>3</c:v>
                </c:pt>
                <c:pt idx="1">
                  <c:v>1</c:v>
                </c:pt>
                <c:pt idx="2">
                  <c:v>1</c:v>
                </c:pt>
                <c:pt idx="3">
                  <c:v>2</c:v>
                </c:pt>
                <c:pt idx="4">
                  <c:v>0</c:v>
                </c:pt>
                <c:pt idx="5">
                  <c:v>2</c:v>
                </c:pt>
                <c:pt idx="6">
                  <c:v>1</c:v>
                </c:pt>
                <c:pt idx="7">
                  <c:v>5</c:v>
                </c:pt>
                <c:pt idx="8">
                  <c:v>0</c:v>
                </c:pt>
                <c:pt idx="9">
                  <c:v>0</c:v>
                </c:pt>
                <c:pt idx="10">
                  <c:v>1</c:v>
                </c:pt>
                <c:pt idx="11">
                  <c:v>0</c:v>
                </c:pt>
                <c:pt idx="12">
                  <c:v>5</c:v>
                </c:pt>
                <c:pt idx="13">
                  <c:v>1</c:v>
                </c:pt>
                <c:pt idx="14">
                  <c:v>0</c:v>
                </c:pt>
                <c:pt idx="15">
                  <c:v>2</c:v>
                </c:pt>
                <c:pt idx="16">
                  <c:v>0</c:v>
                </c:pt>
                <c:pt idx="17">
                  <c:v>2</c:v>
                </c:pt>
              </c:numCache>
            </c:numRef>
          </c:val>
          <c:extLst xmlns:c16r2="http://schemas.microsoft.com/office/drawing/2015/06/chart">
            <c:ext xmlns:c16="http://schemas.microsoft.com/office/drawing/2014/chart" uri="{C3380CC4-5D6E-409C-BE32-E72D297353CC}">
              <c16:uniqueId val="{00000002-4962-4083-BCB8-F2F01C5C0BF5}"/>
            </c:ext>
          </c:extLst>
        </c:ser>
        <c:ser>
          <c:idx val="3"/>
          <c:order val="3"/>
          <c:tx>
            <c:strRef>
              <c:f>'Respondents-Charts,Tables'!$L$96</c:f>
              <c:strCache>
                <c:ptCount val="1"/>
                <c:pt idx="0">
                  <c:v>Not Answered</c:v>
                </c:pt>
              </c:strCache>
            </c:strRef>
          </c:tx>
          <c:spPr>
            <a:solidFill>
              <a:schemeClr val="accent4"/>
            </a:solidFill>
            <a:ln>
              <a:noFill/>
            </a:ln>
            <a:effectLst/>
          </c:spPr>
          <c:invertIfNegative val="0"/>
          <c:cat>
            <c:strRef>
              <c:f>'Respondents-Charts,Tables'!$H$97:$H$114</c:f>
              <c:strCache>
                <c:ptCount val="18"/>
                <c:pt idx="0">
                  <c:v>Austria</c:v>
                </c:pt>
                <c:pt idx="1">
                  <c:v>Belgium</c:v>
                </c:pt>
                <c:pt idx="2">
                  <c:v>Czech Republic</c:v>
                </c:pt>
                <c:pt idx="3">
                  <c:v>Denmark</c:v>
                </c:pt>
                <c:pt idx="4">
                  <c:v>EU</c:v>
                </c:pt>
                <c:pt idx="5">
                  <c:v>Finland</c:v>
                </c:pt>
                <c:pt idx="6">
                  <c:v>France</c:v>
                </c:pt>
                <c:pt idx="7">
                  <c:v>Germany</c:v>
                </c:pt>
                <c:pt idx="8">
                  <c:v>Great Britain</c:v>
                </c:pt>
                <c:pt idx="9">
                  <c:v>Italy</c:v>
                </c:pt>
                <c:pt idx="10">
                  <c:v>Lithuania</c:v>
                </c:pt>
                <c:pt idx="11">
                  <c:v>Netherlands</c:v>
                </c:pt>
                <c:pt idx="12">
                  <c:v>Norway</c:v>
                </c:pt>
                <c:pt idx="13">
                  <c:v>Slovakia</c:v>
                </c:pt>
                <c:pt idx="14">
                  <c:v>Slovenia</c:v>
                </c:pt>
                <c:pt idx="15">
                  <c:v>Spain</c:v>
                </c:pt>
                <c:pt idx="16">
                  <c:v>Sweden</c:v>
                </c:pt>
                <c:pt idx="17">
                  <c:v>Switzerland</c:v>
                </c:pt>
              </c:strCache>
            </c:strRef>
          </c:cat>
          <c:val>
            <c:numRef>
              <c:f>'Respondents-Charts,Tables'!$L$97:$L$114</c:f>
              <c:numCache>
                <c:formatCode>General</c:formatCode>
                <c:ptCount val="18"/>
                <c:pt idx="0">
                  <c:v>2</c:v>
                </c:pt>
                <c:pt idx="1">
                  <c:v>2</c:v>
                </c:pt>
                <c:pt idx="2">
                  <c:v>0</c:v>
                </c:pt>
                <c:pt idx="3">
                  <c:v>1</c:v>
                </c:pt>
                <c:pt idx="4">
                  <c:v>4</c:v>
                </c:pt>
                <c:pt idx="5">
                  <c:v>0</c:v>
                </c:pt>
                <c:pt idx="6">
                  <c:v>3</c:v>
                </c:pt>
                <c:pt idx="7">
                  <c:v>7</c:v>
                </c:pt>
                <c:pt idx="8">
                  <c:v>0</c:v>
                </c:pt>
                <c:pt idx="9">
                  <c:v>2</c:v>
                </c:pt>
                <c:pt idx="10">
                  <c:v>0</c:v>
                </c:pt>
                <c:pt idx="11">
                  <c:v>1</c:v>
                </c:pt>
                <c:pt idx="12">
                  <c:v>1</c:v>
                </c:pt>
                <c:pt idx="13">
                  <c:v>0</c:v>
                </c:pt>
                <c:pt idx="14">
                  <c:v>1</c:v>
                </c:pt>
                <c:pt idx="15">
                  <c:v>0</c:v>
                </c:pt>
                <c:pt idx="16">
                  <c:v>1</c:v>
                </c:pt>
                <c:pt idx="17">
                  <c:v>0</c:v>
                </c:pt>
              </c:numCache>
            </c:numRef>
          </c:val>
          <c:extLst xmlns:c16r2="http://schemas.microsoft.com/office/drawing/2015/06/chart">
            <c:ext xmlns:c16="http://schemas.microsoft.com/office/drawing/2014/chart" uri="{C3380CC4-5D6E-409C-BE32-E72D297353CC}">
              <c16:uniqueId val="{00000003-4962-4083-BCB8-F2F01C5C0BF5}"/>
            </c:ext>
          </c:extLst>
        </c:ser>
        <c:dLbls>
          <c:showLegendKey val="0"/>
          <c:showVal val="0"/>
          <c:showCatName val="0"/>
          <c:showSerName val="0"/>
          <c:showPercent val="0"/>
          <c:showBubbleSize val="0"/>
        </c:dLbls>
        <c:gapWidth val="150"/>
        <c:overlap val="100"/>
        <c:axId val="207266560"/>
        <c:axId val="207268096"/>
      </c:barChart>
      <c:catAx>
        <c:axId val="2072665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a-DK"/>
          </a:p>
        </c:txPr>
        <c:crossAx val="207268096"/>
        <c:crosses val="autoZero"/>
        <c:auto val="1"/>
        <c:lblAlgn val="ctr"/>
        <c:lblOffset val="100"/>
        <c:noMultiLvlLbl val="0"/>
      </c:catAx>
      <c:valAx>
        <c:axId val="2072680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crossAx val="207266560"/>
        <c:crosses val="autoZero"/>
        <c:crossBetween val="between"/>
      </c:valAx>
      <c:spPr>
        <a:noFill/>
        <a:ln>
          <a:noFill/>
        </a:ln>
        <a:effectLst/>
      </c:spPr>
    </c:plotArea>
    <c:legend>
      <c:legendPos val="b"/>
      <c:layout>
        <c:manualLayout>
          <c:xMode val="edge"/>
          <c:yMode val="edge"/>
          <c:x val="0.71386796042617962"/>
          <c:y val="2.7442439862542956E-2"/>
          <c:w val="0.1932494292237443"/>
          <c:h val="0.4283939985102684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233" cy="494311"/>
          </a:xfrm>
          <a:prstGeom prst="rect">
            <a:avLst/>
          </a:prstGeom>
        </p:spPr>
        <p:txBody>
          <a:bodyPr vert="horz" lIns="87563" tIns="43781" rIns="87563" bIns="43781" rtlCol="0"/>
          <a:lstStyle>
            <a:lvl1pPr algn="l">
              <a:defRPr sz="1100"/>
            </a:lvl1pPr>
          </a:lstStyle>
          <a:p>
            <a:endParaRPr lang="cs-CZ"/>
          </a:p>
        </p:txBody>
      </p:sp>
      <p:sp>
        <p:nvSpPr>
          <p:cNvPr id="3" name="Date Placeholder 2"/>
          <p:cNvSpPr>
            <a:spLocks noGrp="1"/>
          </p:cNvSpPr>
          <p:nvPr>
            <p:ph type="dt" sz="quarter" idx="1"/>
          </p:nvPr>
        </p:nvSpPr>
        <p:spPr>
          <a:xfrm>
            <a:off x="3815026" y="0"/>
            <a:ext cx="2919233" cy="494311"/>
          </a:xfrm>
          <a:prstGeom prst="rect">
            <a:avLst/>
          </a:prstGeom>
        </p:spPr>
        <p:txBody>
          <a:bodyPr vert="horz" lIns="87563" tIns="43781" rIns="87563" bIns="43781" rtlCol="0"/>
          <a:lstStyle>
            <a:lvl1pPr algn="r">
              <a:defRPr sz="1100"/>
            </a:lvl1pPr>
          </a:lstStyle>
          <a:p>
            <a:fld id="{79F4BC10-80C3-4922-93FB-252BD38CF963}" type="datetimeFigureOut">
              <a:rPr lang="cs-CZ" smtClean="0"/>
              <a:t>5.3.2018</a:t>
            </a:fld>
            <a:endParaRPr lang="cs-CZ"/>
          </a:p>
        </p:txBody>
      </p:sp>
      <p:sp>
        <p:nvSpPr>
          <p:cNvPr id="4" name="Footer Placeholder 3"/>
          <p:cNvSpPr>
            <a:spLocks noGrp="1"/>
          </p:cNvSpPr>
          <p:nvPr>
            <p:ph type="ftr" sz="quarter" idx="2"/>
          </p:nvPr>
        </p:nvSpPr>
        <p:spPr>
          <a:xfrm>
            <a:off x="0" y="9372003"/>
            <a:ext cx="2919233" cy="494311"/>
          </a:xfrm>
          <a:prstGeom prst="rect">
            <a:avLst/>
          </a:prstGeom>
        </p:spPr>
        <p:txBody>
          <a:bodyPr vert="horz" lIns="87563" tIns="43781" rIns="87563" bIns="43781" rtlCol="0" anchor="b"/>
          <a:lstStyle>
            <a:lvl1pPr algn="l">
              <a:defRPr sz="1100"/>
            </a:lvl1pPr>
          </a:lstStyle>
          <a:p>
            <a:endParaRPr lang="cs-CZ"/>
          </a:p>
        </p:txBody>
      </p:sp>
      <p:sp>
        <p:nvSpPr>
          <p:cNvPr id="5" name="Slide Number Placeholder 4"/>
          <p:cNvSpPr>
            <a:spLocks noGrp="1"/>
          </p:cNvSpPr>
          <p:nvPr>
            <p:ph type="sldNum" sz="quarter" idx="3"/>
          </p:nvPr>
        </p:nvSpPr>
        <p:spPr>
          <a:xfrm>
            <a:off x="3815026" y="9372003"/>
            <a:ext cx="2919233" cy="494311"/>
          </a:xfrm>
          <a:prstGeom prst="rect">
            <a:avLst/>
          </a:prstGeom>
        </p:spPr>
        <p:txBody>
          <a:bodyPr vert="horz" lIns="87563" tIns="43781" rIns="87563" bIns="43781" rtlCol="0" anchor="b"/>
          <a:lstStyle>
            <a:lvl1pPr algn="r">
              <a:defRPr sz="1100"/>
            </a:lvl1pPr>
          </a:lstStyle>
          <a:p>
            <a:fld id="{D2BA7BE6-5BFF-4D70-A2BC-8504AB23EF4F}" type="slidenum">
              <a:rPr lang="cs-CZ" smtClean="0"/>
              <a:t>‹nr.›</a:t>
            </a:fld>
            <a:endParaRPr lang="cs-CZ"/>
          </a:p>
        </p:txBody>
      </p:sp>
    </p:spTree>
    <p:extLst>
      <p:ext uri="{BB962C8B-B14F-4D97-AF65-F5344CB8AC3E}">
        <p14:creationId xmlns:p14="http://schemas.microsoft.com/office/powerpoint/2010/main" val="359665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5029"/>
          </a:xfrm>
          <a:prstGeom prst="rect">
            <a:avLst/>
          </a:prstGeom>
        </p:spPr>
        <p:txBody>
          <a:bodyPr vert="horz" lIns="94866" tIns="47433" rIns="94866" bIns="47433" rtlCol="0"/>
          <a:lstStyle>
            <a:lvl1pPr algn="l">
              <a:defRPr sz="1200"/>
            </a:lvl1pPr>
          </a:lstStyle>
          <a:p>
            <a:endParaRPr lang="cs-CZ"/>
          </a:p>
        </p:txBody>
      </p:sp>
      <p:sp>
        <p:nvSpPr>
          <p:cNvPr id="3" name="Date Placeholder 2"/>
          <p:cNvSpPr>
            <a:spLocks noGrp="1"/>
          </p:cNvSpPr>
          <p:nvPr>
            <p:ph type="dt" idx="1"/>
          </p:nvPr>
        </p:nvSpPr>
        <p:spPr>
          <a:xfrm>
            <a:off x="3815374" y="0"/>
            <a:ext cx="2918830" cy="495029"/>
          </a:xfrm>
          <a:prstGeom prst="rect">
            <a:avLst/>
          </a:prstGeom>
        </p:spPr>
        <p:txBody>
          <a:bodyPr vert="horz" lIns="94866" tIns="47433" rIns="94866" bIns="47433" rtlCol="0"/>
          <a:lstStyle>
            <a:lvl1pPr algn="r">
              <a:defRPr sz="1200"/>
            </a:lvl1pPr>
          </a:lstStyle>
          <a:p>
            <a:fld id="{9FFA5E60-D312-447E-88FF-79B7107C260F}" type="datetimeFigureOut">
              <a:rPr lang="cs-CZ" smtClean="0"/>
              <a:t>5.3.2018</a:t>
            </a:fld>
            <a:endParaRPr lang="cs-CZ"/>
          </a:p>
        </p:txBody>
      </p:sp>
      <p:sp>
        <p:nvSpPr>
          <p:cNvPr id="4" name="Slide Image Placeholder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4866" tIns="47433" rIns="94866" bIns="47433" rtlCol="0" anchor="ctr"/>
          <a:lstStyle/>
          <a:p>
            <a:endParaRPr lang="cs-CZ"/>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4866" tIns="47433" rIns="94866" bIns="4743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6" name="Footer Placeholder 5"/>
          <p:cNvSpPr>
            <a:spLocks noGrp="1"/>
          </p:cNvSpPr>
          <p:nvPr>
            <p:ph type="ftr" sz="quarter" idx="4"/>
          </p:nvPr>
        </p:nvSpPr>
        <p:spPr>
          <a:xfrm>
            <a:off x="1" y="9371286"/>
            <a:ext cx="2918830" cy="495028"/>
          </a:xfrm>
          <a:prstGeom prst="rect">
            <a:avLst/>
          </a:prstGeom>
        </p:spPr>
        <p:txBody>
          <a:bodyPr vert="horz" lIns="94866" tIns="47433" rIns="94866" bIns="47433" rtlCol="0" anchor="b"/>
          <a:lstStyle>
            <a:lvl1pPr algn="l">
              <a:defRPr sz="1200"/>
            </a:lvl1pPr>
          </a:lstStyle>
          <a:p>
            <a:endParaRPr lang="cs-CZ"/>
          </a:p>
        </p:txBody>
      </p:sp>
      <p:sp>
        <p:nvSpPr>
          <p:cNvPr id="7" name="Slide Number Placeholder 6"/>
          <p:cNvSpPr>
            <a:spLocks noGrp="1"/>
          </p:cNvSpPr>
          <p:nvPr>
            <p:ph type="sldNum" sz="quarter" idx="5"/>
          </p:nvPr>
        </p:nvSpPr>
        <p:spPr>
          <a:xfrm>
            <a:off x="3815374" y="9371286"/>
            <a:ext cx="2918830" cy="495028"/>
          </a:xfrm>
          <a:prstGeom prst="rect">
            <a:avLst/>
          </a:prstGeom>
        </p:spPr>
        <p:txBody>
          <a:bodyPr vert="horz" lIns="94866" tIns="47433" rIns="94866" bIns="47433" rtlCol="0" anchor="b"/>
          <a:lstStyle>
            <a:lvl1pPr algn="r">
              <a:defRPr sz="1200"/>
            </a:lvl1pPr>
          </a:lstStyle>
          <a:p>
            <a:fld id="{599B4651-1088-4E34-9912-248C12E354F8}" type="slidenum">
              <a:rPr lang="cs-CZ" smtClean="0"/>
              <a:t>‹nr.›</a:t>
            </a:fld>
            <a:endParaRPr lang="cs-CZ"/>
          </a:p>
        </p:txBody>
      </p:sp>
    </p:spTree>
    <p:extLst>
      <p:ext uri="{BB962C8B-B14F-4D97-AF65-F5344CB8AC3E}">
        <p14:creationId xmlns:p14="http://schemas.microsoft.com/office/powerpoint/2010/main" val="11818858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07" name="Image 106"/>
          <p:cNvPicPr>
            <a:picLocks noChangeAspect="1"/>
          </p:cNvPicPr>
          <p:nvPr userDrawn="1"/>
        </p:nvPicPr>
        <p:blipFill rotWithShape="1">
          <a:blip r:embed="rId2"/>
          <a:srcRect t="5382"/>
          <a:stretch/>
        </p:blipFill>
        <p:spPr>
          <a:xfrm>
            <a:off x="1" y="-27385"/>
            <a:ext cx="12191999" cy="1475785"/>
          </a:xfrm>
          <a:prstGeom prst="rect">
            <a:avLst/>
          </a:prstGeom>
        </p:spPr>
      </p:pic>
      <p:sp>
        <p:nvSpPr>
          <p:cNvPr id="2" name="Titre 1"/>
          <p:cNvSpPr>
            <a:spLocks noGrp="1"/>
          </p:cNvSpPr>
          <p:nvPr>
            <p:ph type="ctrTitle"/>
          </p:nvPr>
        </p:nvSpPr>
        <p:spPr>
          <a:xfrm>
            <a:off x="5489225" y="2066746"/>
            <a:ext cx="9144000" cy="23876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583A977F-2504-E741-85B4-8F01994E1F25}" type="datetimeFigureOut">
              <a:rPr lang="en-US" smtClean="0">
                <a:solidFill>
                  <a:srgbClr val="000000">
                    <a:tint val="75000"/>
                  </a:srgbClr>
                </a:solidFill>
              </a:rPr>
              <a:pPr/>
              <a:t>3/5/2018</a:t>
            </a:fld>
            <a:endParaRPr lang="en-US" dirty="0">
              <a:solidFill>
                <a:srgbClr val="000000">
                  <a:tint val="75000"/>
                </a:srgbClr>
              </a:solidFill>
            </a:endParaRPr>
          </a:p>
        </p:txBody>
      </p:sp>
      <p:sp>
        <p:nvSpPr>
          <p:cNvPr id="5" name="Espace réservé du pied de page 4"/>
          <p:cNvSpPr>
            <a:spLocks noGrp="1"/>
          </p:cNvSpPr>
          <p:nvPr>
            <p:ph type="ftr" sz="quarter" idx="11"/>
          </p:nvPr>
        </p:nvSpPr>
        <p:spPr/>
        <p:txBody>
          <a:bodyPr/>
          <a:lstStyle/>
          <a:p>
            <a:endParaRPr lang="en-US"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D57F1E4F-1CFF-5643-939E-217C01CDF565}" type="slidenum">
              <a:rPr lang="en-US" smtClean="0">
                <a:solidFill>
                  <a:srgbClr val="000000">
                    <a:tint val="75000"/>
                  </a:srgbClr>
                </a:solidFill>
              </a:rPr>
              <a:pPr/>
              <a:t>‹nr.›</a:t>
            </a:fld>
            <a:endParaRPr lang="en-US" dirty="0">
              <a:solidFill>
                <a:srgbClr val="000000">
                  <a:tint val="75000"/>
                </a:srgbClr>
              </a:solidFill>
            </a:endParaRPr>
          </a:p>
        </p:txBody>
      </p:sp>
      <p:sp>
        <p:nvSpPr>
          <p:cNvPr id="8" name="Rectangle 7"/>
          <p:cNvSpPr/>
          <p:nvPr userDrawn="1"/>
        </p:nvSpPr>
        <p:spPr>
          <a:xfrm>
            <a:off x="-23073" y="495639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7" name="Rectangle 14"/>
          <p:cNvSpPr>
            <a:spLocks noChangeArrowheads="1"/>
          </p:cNvSpPr>
          <p:nvPr userDrawn="1"/>
        </p:nvSpPr>
        <p:spPr bwMode="auto">
          <a:xfrm>
            <a:off x="20237847" y="111443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sz="1800">
              <a:solidFill>
                <a:srgbClr val="000000"/>
              </a:solidFill>
            </a:endParaRPr>
          </a:p>
        </p:txBody>
      </p:sp>
      <p:sp>
        <p:nvSpPr>
          <p:cNvPr id="9" name="Rectangle 15"/>
          <p:cNvSpPr>
            <a:spLocks noChangeArrowheads="1"/>
          </p:cNvSpPr>
          <p:nvPr userDrawn="1"/>
        </p:nvSpPr>
        <p:spPr bwMode="auto">
          <a:xfrm>
            <a:off x="20237847" y="3838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sz="1800">
              <a:solidFill>
                <a:srgbClr val="000000"/>
              </a:solidFill>
            </a:endParaRPr>
          </a:p>
        </p:txBody>
      </p:sp>
      <p:sp>
        <p:nvSpPr>
          <p:cNvPr id="13" name="Rectangle 16"/>
          <p:cNvSpPr>
            <a:spLocks noChangeArrowheads="1"/>
          </p:cNvSpPr>
          <p:nvPr userDrawn="1"/>
        </p:nvSpPr>
        <p:spPr bwMode="auto">
          <a:xfrm>
            <a:off x="20237847" y="5743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sz="1800">
              <a:solidFill>
                <a:srgbClr val="000000"/>
              </a:solidFill>
            </a:endParaRPr>
          </a:p>
        </p:txBody>
      </p:sp>
      <p:sp>
        <p:nvSpPr>
          <p:cNvPr id="17" name="Rectangle 38"/>
          <p:cNvSpPr>
            <a:spLocks noChangeArrowheads="1"/>
          </p:cNvSpPr>
          <p:nvPr userDrawn="1"/>
        </p:nvSpPr>
        <p:spPr bwMode="auto">
          <a:xfrm>
            <a:off x="3041650" y="26870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sz="1800">
              <a:solidFill>
                <a:srgbClr val="000000"/>
              </a:solidFill>
            </a:endParaRPr>
          </a:p>
        </p:txBody>
      </p:sp>
      <p:sp>
        <p:nvSpPr>
          <p:cNvPr id="18" name="Rectangle 39"/>
          <p:cNvSpPr>
            <a:spLocks noChangeArrowheads="1"/>
          </p:cNvSpPr>
          <p:nvPr userDrawn="1"/>
        </p:nvSpPr>
        <p:spPr bwMode="auto">
          <a:xfrm>
            <a:off x="3041650" y="342049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sz="1800">
              <a:solidFill>
                <a:srgbClr val="000000"/>
              </a:solidFill>
            </a:endParaRPr>
          </a:p>
        </p:txBody>
      </p:sp>
      <p:sp>
        <p:nvSpPr>
          <p:cNvPr id="19" name="Rectangle 40"/>
          <p:cNvSpPr>
            <a:spLocks noChangeArrowheads="1"/>
          </p:cNvSpPr>
          <p:nvPr userDrawn="1"/>
        </p:nvSpPr>
        <p:spPr bwMode="auto">
          <a:xfrm>
            <a:off x="3041650" y="41253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sz="1800">
              <a:solidFill>
                <a:srgbClr val="000000"/>
              </a:solidFill>
            </a:endParaRPr>
          </a:p>
        </p:txBody>
      </p:sp>
      <p:sp>
        <p:nvSpPr>
          <p:cNvPr id="20" name="Rectangle 41"/>
          <p:cNvSpPr>
            <a:spLocks noChangeArrowheads="1"/>
          </p:cNvSpPr>
          <p:nvPr userDrawn="1"/>
        </p:nvSpPr>
        <p:spPr bwMode="auto">
          <a:xfrm>
            <a:off x="3041650" y="48587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sz="1800">
              <a:solidFill>
                <a:srgbClr val="000000"/>
              </a:solidFill>
            </a:endParaRPr>
          </a:p>
        </p:txBody>
      </p:sp>
      <p:sp>
        <p:nvSpPr>
          <p:cNvPr id="21" name="Rectangle 42"/>
          <p:cNvSpPr>
            <a:spLocks noChangeArrowheads="1"/>
          </p:cNvSpPr>
          <p:nvPr userDrawn="1"/>
        </p:nvSpPr>
        <p:spPr bwMode="auto">
          <a:xfrm>
            <a:off x="3041650" y="53445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sz="1800">
              <a:solidFill>
                <a:srgbClr val="000000"/>
              </a:solidFill>
            </a:endParaRPr>
          </a:p>
        </p:txBody>
      </p:sp>
    </p:spTree>
    <p:extLst>
      <p:ext uri="{BB962C8B-B14F-4D97-AF65-F5344CB8AC3E}">
        <p14:creationId xmlns:p14="http://schemas.microsoft.com/office/powerpoint/2010/main" val="258255450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624759301"/>
      </p:ext>
    </p:extLst>
  </p:cSld>
  <p:clrMapOvr>
    <a:masterClrMapping/>
  </p:clrMapOvr>
  <p:timing>
    <p:tnLst>
      <p:par>
        <p:cTn id="1" dur="indefinite" restart="never" nodeType="tmRoot"/>
      </p:par>
    </p:tnLst>
  </p:timing>
  <p:hf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1"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1"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4006737382"/>
      </p:ext>
    </p:extLst>
  </p:cSld>
  <p:clrMapOvr>
    <a:masterClrMapping/>
  </p:clrMapOvr>
  <p:timing>
    <p:tnLst>
      <p:par>
        <p:cTn id="1" dur="indefinite" restart="never" nodeType="tmRoot"/>
      </p:par>
    </p:tnLst>
  </p:timing>
  <p:hf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2A562F49-E78B-476D-9D47-AD3EE31BF0ED}"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8" name="Espace réservé du texte 7"/>
          <p:cNvSpPr>
            <a:spLocks noGrp="1"/>
          </p:cNvSpPr>
          <p:nvPr>
            <p:ph type="body" sz="quarter" idx="13"/>
          </p:nvPr>
        </p:nvSpPr>
        <p:spPr>
          <a:xfrm>
            <a:off x="609600" y="1014413"/>
            <a:ext cx="10972800" cy="360362"/>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15497031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2860857-0346-439B-9662-BC295E379CB9}"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6" name="Titre 1"/>
          <p:cNvSpPr>
            <a:spLocks noGrp="1"/>
          </p:cNvSpPr>
          <p:nvPr>
            <p:ph type="ctrTitle"/>
          </p:nvPr>
        </p:nvSpPr>
        <p:spPr>
          <a:xfrm>
            <a:off x="1487488" y="2693989"/>
            <a:ext cx="9217024" cy="1470025"/>
          </a:xfrm>
        </p:spPr>
        <p:txBody>
          <a:bodyPr>
            <a:noAutofit/>
          </a:bodyPr>
          <a:lstStyle>
            <a:lvl1pPr>
              <a:defRPr sz="3200"/>
            </a:lvl1pPr>
          </a:lstStyle>
          <a:p>
            <a:r>
              <a:rPr lang="fr-FR" dirty="0" smtClean="0"/>
              <a:t>Cliquez pour modifier le style du titre</a:t>
            </a:r>
            <a:endParaRPr lang="fr-FR" dirty="0"/>
          </a:p>
        </p:txBody>
      </p:sp>
    </p:spTree>
    <p:extLst>
      <p:ext uri="{BB962C8B-B14F-4D97-AF65-F5344CB8AC3E}">
        <p14:creationId xmlns:p14="http://schemas.microsoft.com/office/powerpoint/2010/main" val="310526081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1457" y="1061182"/>
            <a:ext cx="7433572" cy="334981"/>
          </a:xfrm>
        </p:spPr>
        <p:txBody>
          <a:bodyPr/>
          <a:lstStyle/>
          <a:p>
            <a:r>
              <a:rPr lang="en-US" dirty="0" smtClean="0"/>
              <a:t>Click to edit Master title style</a:t>
            </a:r>
            <a:endParaRPr lang="cs-CZ" dirty="0"/>
          </a:p>
        </p:txBody>
      </p:sp>
      <p:sp>
        <p:nvSpPr>
          <p:cNvPr id="4" name="Footer Placeholder 3"/>
          <p:cNvSpPr>
            <a:spLocks noGrp="1"/>
          </p:cNvSpPr>
          <p:nvPr>
            <p:ph type="ftr" sz="quarter" idx="11"/>
          </p:nvPr>
        </p:nvSpPr>
        <p:spPr/>
        <p:txBody>
          <a:bodyPr/>
          <a:lstStyle/>
          <a:p>
            <a:r>
              <a:rPr lang="de-DE" smtClean="0">
                <a:solidFill>
                  <a:srgbClr val="000000">
                    <a:tint val="75000"/>
                  </a:srgbClr>
                </a:solidFill>
              </a:rPr>
              <a:t>Zdanění CNG v dopravě pro ČPS |</a:t>
            </a:r>
            <a:endParaRPr lang="cs-CZ"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FDED2080-A6AC-4D27-ABC0-DC394804A868}" type="slidenum">
              <a:rPr lang="cs-CZ" smtClean="0">
                <a:solidFill>
                  <a:srgbClr val="7F7E82">
                    <a:tint val="75000"/>
                  </a:srgbClr>
                </a:solidFill>
              </a:rPr>
              <a:pPr/>
              <a:t>‹nr.›</a:t>
            </a:fld>
            <a:endParaRPr lang="cs-CZ">
              <a:solidFill>
                <a:srgbClr val="7F7E82">
                  <a:tint val="75000"/>
                </a:srgbClr>
              </a:solidFill>
            </a:endParaRPr>
          </a:p>
        </p:txBody>
      </p:sp>
    </p:spTree>
    <p:extLst>
      <p:ext uri="{BB962C8B-B14F-4D97-AF65-F5344CB8AC3E}">
        <p14:creationId xmlns:p14="http://schemas.microsoft.com/office/powerpoint/2010/main" val="78524307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07" name="Image 10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27385"/>
            <a:ext cx="12191999" cy="1758613"/>
          </a:xfrm>
          <a:prstGeom prst="rect">
            <a:avLst/>
          </a:prstGeom>
        </p:spPr>
      </p:pic>
      <p:sp>
        <p:nvSpPr>
          <p:cNvPr id="2" name="Titre 1"/>
          <p:cNvSpPr>
            <a:spLocks noGrp="1"/>
          </p:cNvSpPr>
          <p:nvPr>
            <p:ph type="ctrTitle"/>
          </p:nvPr>
        </p:nvSpPr>
        <p:spPr>
          <a:xfrm>
            <a:off x="5489225" y="2066746"/>
            <a:ext cx="9144000" cy="23876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583A977F-2504-E741-85B4-8F01994E1F25}" type="datetimeFigureOut">
              <a:rPr lang="en-US" smtClean="0">
                <a:solidFill>
                  <a:srgbClr val="000000">
                    <a:tint val="75000"/>
                  </a:srgbClr>
                </a:solidFill>
              </a:rPr>
              <a:pPr/>
              <a:t>3/5/2018</a:t>
            </a:fld>
            <a:endParaRPr lang="en-US" dirty="0">
              <a:solidFill>
                <a:srgbClr val="000000">
                  <a:tint val="75000"/>
                </a:srgbClr>
              </a:solidFill>
            </a:endParaRPr>
          </a:p>
        </p:txBody>
      </p:sp>
      <p:sp>
        <p:nvSpPr>
          <p:cNvPr id="5" name="Espace réservé du pied de page 4"/>
          <p:cNvSpPr>
            <a:spLocks noGrp="1"/>
          </p:cNvSpPr>
          <p:nvPr>
            <p:ph type="ftr" sz="quarter" idx="11"/>
          </p:nvPr>
        </p:nvSpPr>
        <p:spPr/>
        <p:txBody>
          <a:bodyPr/>
          <a:lstStyle/>
          <a:p>
            <a:endParaRPr lang="en-US"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D57F1E4F-1CFF-5643-939E-217C01CDF565}" type="slidenum">
              <a:rPr lang="en-US" smtClean="0">
                <a:solidFill>
                  <a:srgbClr val="000000">
                    <a:tint val="75000"/>
                  </a:srgbClr>
                </a:solidFill>
              </a:rPr>
              <a:pPr/>
              <a:t>‹nr.›</a:t>
            </a:fld>
            <a:endParaRPr lang="en-US" dirty="0">
              <a:solidFill>
                <a:srgbClr val="000000">
                  <a:tint val="75000"/>
                </a:srgbClr>
              </a:solidFill>
            </a:endParaRPr>
          </a:p>
        </p:txBody>
      </p:sp>
      <p:sp>
        <p:nvSpPr>
          <p:cNvPr id="8" name="Rectangle 7"/>
          <p:cNvSpPr/>
          <p:nvPr/>
        </p:nvSpPr>
        <p:spPr>
          <a:xfrm>
            <a:off x="-23073" y="495639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Rectangle 14"/>
          <p:cNvSpPr>
            <a:spLocks noChangeArrowheads="1"/>
          </p:cNvSpPr>
          <p:nvPr/>
        </p:nvSpPr>
        <p:spPr bwMode="auto">
          <a:xfrm>
            <a:off x="20237847" y="111443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9" name="Rectangle 15"/>
          <p:cNvSpPr>
            <a:spLocks noChangeArrowheads="1"/>
          </p:cNvSpPr>
          <p:nvPr/>
        </p:nvSpPr>
        <p:spPr bwMode="auto">
          <a:xfrm>
            <a:off x="20237847" y="3838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3" name="Rectangle 16"/>
          <p:cNvSpPr>
            <a:spLocks noChangeArrowheads="1"/>
          </p:cNvSpPr>
          <p:nvPr/>
        </p:nvSpPr>
        <p:spPr bwMode="auto">
          <a:xfrm>
            <a:off x="20237847" y="5743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7" name="Rectangle 38"/>
          <p:cNvSpPr>
            <a:spLocks noChangeArrowheads="1"/>
          </p:cNvSpPr>
          <p:nvPr/>
        </p:nvSpPr>
        <p:spPr bwMode="auto">
          <a:xfrm>
            <a:off x="3041650" y="26870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8" name="Rectangle 39"/>
          <p:cNvSpPr>
            <a:spLocks noChangeArrowheads="1"/>
          </p:cNvSpPr>
          <p:nvPr/>
        </p:nvSpPr>
        <p:spPr bwMode="auto">
          <a:xfrm>
            <a:off x="3041650" y="342049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9" name="Rectangle 40"/>
          <p:cNvSpPr>
            <a:spLocks noChangeArrowheads="1"/>
          </p:cNvSpPr>
          <p:nvPr/>
        </p:nvSpPr>
        <p:spPr bwMode="auto">
          <a:xfrm>
            <a:off x="3041650" y="41253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0" name="Rectangle 41"/>
          <p:cNvSpPr>
            <a:spLocks noChangeArrowheads="1"/>
          </p:cNvSpPr>
          <p:nvPr/>
        </p:nvSpPr>
        <p:spPr bwMode="auto">
          <a:xfrm>
            <a:off x="3041650" y="48587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1" name="Rectangle 42"/>
          <p:cNvSpPr>
            <a:spLocks noChangeArrowheads="1"/>
          </p:cNvSpPr>
          <p:nvPr/>
        </p:nvSpPr>
        <p:spPr bwMode="auto">
          <a:xfrm>
            <a:off x="3041650" y="53445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Tree>
    <p:extLst>
      <p:ext uri="{BB962C8B-B14F-4D97-AF65-F5344CB8AC3E}">
        <p14:creationId xmlns:p14="http://schemas.microsoft.com/office/powerpoint/2010/main" val="236448774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9046C587-C17E-4AFA-8383-6F53DB47E903}"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7" name="TextBox 6"/>
          <p:cNvSpPr txBox="1"/>
          <p:nvPr/>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16023895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0"/>
            <a:ext cx="10515600" cy="2852737"/>
          </a:xfrm>
        </p:spPr>
        <p:txBody>
          <a:bodyPr anchor="b"/>
          <a:lstStyle>
            <a:lvl1pPr>
              <a:defRPr sz="4500"/>
            </a:lvl1pPr>
          </a:lstStyle>
          <a:p>
            <a:r>
              <a:rPr lang="fr-FR" smtClean="0"/>
              <a:t>Modifiez le style du titre</a:t>
            </a:r>
            <a:endParaRPr lang="fr-FR"/>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73792088"/>
      </p:ext>
    </p:extLst>
  </p:cSld>
  <p:clrMapOvr>
    <a:masterClrMapping/>
  </p:clrMapOvr>
  <p:hf hdr="0" ftr="0"/>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890753553"/>
      </p:ext>
    </p:extLst>
  </p:cSld>
  <p:clrMapOvr>
    <a:masterClrMapping/>
  </p:clrMapOvr>
  <p:hf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7"/>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1"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8" name="Espace réservé du pied de page 7"/>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9" name="Espace réservé du numéro de diapositive 8"/>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67460625"/>
      </p:ext>
    </p:extLst>
  </p:cSld>
  <p:clrMapOvr>
    <a:masterClrMapping/>
  </p:clrMapOvr>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9046C587-C17E-4AFA-8383-6F53DB47E903}"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53864617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0523E3D4-E033-45F0-AF5C-F0FD82459E23}" type="datetime1">
              <a:rPr lang="fr-FR" smtClean="0">
                <a:solidFill>
                  <a:srgbClr val="000000">
                    <a:tint val="75000"/>
                  </a:srgbClr>
                </a:solidFill>
              </a:rPr>
              <a:pPr/>
              <a:t>05/03/2018</a:t>
            </a:fld>
            <a:endParaRPr lang="fr-FR">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8711160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250646C-87A9-4FD4-BF9D-99C1B7155185}"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4329150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du contenu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994299362"/>
      </p:ext>
    </p:extLst>
  </p:cSld>
  <p:clrMapOvr>
    <a:masterClrMapping/>
  </p:clrMapOvr>
  <p:hf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4123758489"/>
      </p:ext>
    </p:extLst>
  </p:cSld>
  <p:clrMapOvr>
    <a:masterClrMapping/>
  </p:clrMapOvr>
  <p:hf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334641125"/>
      </p:ext>
    </p:extLst>
  </p:cSld>
  <p:clrMapOvr>
    <a:masterClrMapping/>
  </p:clrMapOvr>
  <p:hf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1"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1"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199077486"/>
      </p:ext>
    </p:extLst>
  </p:cSld>
  <p:clrMapOvr>
    <a:masterClrMapping/>
  </p:clrMapOvr>
  <p:hf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2A562F49-E78B-476D-9D47-AD3EE31BF0ED}"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8" name="Espace réservé du texte 7"/>
          <p:cNvSpPr>
            <a:spLocks noGrp="1"/>
          </p:cNvSpPr>
          <p:nvPr>
            <p:ph type="body" sz="quarter" idx="13"/>
          </p:nvPr>
        </p:nvSpPr>
        <p:spPr>
          <a:xfrm>
            <a:off x="609600" y="1014413"/>
            <a:ext cx="10972800" cy="360362"/>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42891540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2860857-0346-439B-9662-BC295E379CB9}"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Titre 1"/>
          <p:cNvSpPr>
            <a:spLocks noGrp="1"/>
          </p:cNvSpPr>
          <p:nvPr>
            <p:ph type="ctrTitle"/>
          </p:nvPr>
        </p:nvSpPr>
        <p:spPr>
          <a:xfrm>
            <a:off x="1487488" y="2693989"/>
            <a:ext cx="9217024" cy="1470025"/>
          </a:xfrm>
        </p:spPr>
        <p:txBody>
          <a:bodyPr>
            <a:noAutofit/>
          </a:bodyPr>
          <a:lstStyle>
            <a:lvl1pPr>
              <a:defRPr sz="3200"/>
            </a:lvl1pPr>
          </a:lstStyle>
          <a:p>
            <a:r>
              <a:rPr lang="fr-FR" dirty="0" smtClean="0"/>
              <a:t>Cliquez pour modifier le style du titre</a:t>
            </a:r>
            <a:endParaRPr lang="fr-FR" dirty="0"/>
          </a:p>
        </p:txBody>
      </p:sp>
    </p:spTree>
    <p:extLst>
      <p:ext uri="{BB962C8B-B14F-4D97-AF65-F5344CB8AC3E}">
        <p14:creationId xmlns:p14="http://schemas.microsoft.com/office/powerpoint/2010/main" val="34560927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291457" y="1061182"/>
            <a:ext cx="7433572" cy="334981"/>
          </a:xfrm>
        </p:spPr>
        <p:txBody>
          <a:bodyPr/>
          <a:lstStyle/>
          <a:p>
            <a:r>
              <a:rPr lang="en-US" dirty="0" smtClean="0"/>
              <a:t>Click to edit Master title style</a:t>
            </a:r>
            <a:endParaRPr lang="cs-CZ" dirty="0"/>
          </a:p>
        </p:txBody>
      </p:sp>
      <p:sp>
        <p:nvSpPr>
          <p:cNvPr id="4" name="Footer Placeholder 3"/>
          <p:cNvSpPr>
            <a:spLocks noGrp="1"/>
          </p:cNvSpPr>
          <p:nvPr>
            <p:ph type="ftr" sz="quarter" idx="11"/>
          </p:nvPr>
        </p:nvSpPr>
        <p:spPr/>
        <p:txBody>
          <a:bodyPr/>
          <a:lstStyle/>
          <a:p>
            <a:r>
              <a:rPr lang="de-DE" smtClean="0">
                <a:solidFill>
                  <a:srgbClr val="000000">
                    <a:tint val="75000"/>
                  </a:srgbClr>
                </a:solidFill>
              </a:rPr>
              <a:t>Zdanění CNG v dopravě pro ČPS |</a:t>
            </a:r>
            <a:endParaRPr lang="cs-CZ"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FDED2080-A6AC-4D27-ABC0-DC394804A868}" type="slidenum">
              <a:rPr lang="cs-CZ" smtClean="0">
                <a:solidFill>
                  <a:srgbClr val="7F7E82">
                    <a:tint val="75000"/>
                  </a:srgbClr>
                </a:solidFill>
              </a:rPr>
              <a:pPr/>
              <a:t>‹nr.›</a:t>
            </a:fld>
            <a:endParaRPr lang="cs-CZ">
              <a:solidFill>
                <a:srgbClr val="7F7E82">
                  <a:tint val="75000"/>
                </a:srgbClr>
              </a:solidFill>
            </a:endParaRPr>
          </a:p>
        </p:txBody>
      </p:sp>
      <p:sp>
        <p:nvSpPr>
          <p:cNvPr id="6" name="TextBox 5"/>
          <p:cNvSpPr txBox="1"/>
          <p:nvPr/>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404194335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07" name="Image 106"/>
          <p:cNvPicPr>
            <a:picLocks noChangeAspect="1"/>
          </p:cNvPicPr>
          <p:nvPr userDrawn="1"/>
        </p:nvPicPr>
        <p:blipFill rotWithShape="1">
          <a:blip r:embed="rId2"/>
          <a:srcRect t="5382"/>
          <a:stretch/>
        </p:blipFill>
        <p:spPr>
          <a:xfrm>
            <a:off x="2" y="-27385"/>
            <a:ext cx="12191999" cy="1758613"/>
          </a:xfrm>
          <a:prstGeom prst="rect">
            <a:avLst/>
          </a:prstGeom>
        </p:spPr>
      </p:pic>
      <p:sp>
        <p:nvSpPr>
          <p:cNvPr id="2" name="Titre 1"/>
          <p:cNvSpPr>
            <a:spLocks noGrp="1"/>
          </p:cNvSpPr>
          <p:nvPr>
            <p:ph type="ctrTitle"/>
          </p:nvPr>
        </p:nvSpPr>
        <p:spPr>
          <a:xfrm>
            <a:off x="5489225" y="2066747"/>
            <a:ext cx="9144000" cy="23876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583A977F-2504-E741-85B4-8F01994E1F25}" type="datetimeFigureOut">
              <a:rPr lang="en-US" smtClean="0">
                <a:solidFill>
                  <a:srgbClr val="000000">
                    <a:tint val="75000"/>
                  </a:srgbClr>
                </a:solidFill>
              </a:rPr>
              <a:pPr/>
              <a:t>3/5/2018</a:t>
            </a:fld>
            <a:endParaRPr lang="en-US" dirty="0">
              <a:solidFill>
                <a:srgbClr val="000000">
                  <a:tint val="75000"/>
                </a:srgbClr>
              </a:solidFill>
            </a:endParaRPr>
          </a:p>
        </p:txBody>
      </p:sp>
      <p:sp>
        <p:nvSpPr>
          <p:cNvPr id="5" name="Espace réservé du pied de page 4"/>
          <p:cNvSpPr>
            <a:spLocks noGrp="1"/>
          </p:cNvSpPr>
          <p:nvPr>
            <p:ph type="ftr" sz="quarter" idx="11"/>
          </p:nvPr>
        </p:nvSpPr>
        <p:spPr/>
        <p:txBody>
          <a:bodyPr/>
          <a:lstStyle/>
          <a:p>
            <a:endParaRPr lang="en-US"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D57F1E4F-1CFF-5643-939E-217C01CDF565}" type="slidenum">
              <a:rPr lang="en-US" smtClean="0">
                <a:solidFill>
                  <a:srgbClr val="000000">
                    <a:tint val="75000"/>
                  </a:srgbClr>
                </a:solidFill>
              </a:rPr>
              <a:pPr/>
              <a:t>‹nr.›</a:t>
            </a:fld>
            <a:endParaRPr lang="en-US" dirty="0">
              <a:solidFill>
                <a:srgbClr val="000000">
                  <a:tint val="75000"/>
                </a:srgbClr>
              </a:solidFill>
            </a:endParaRPr>
          </a:p>
        </p:txBody>
      </p:sp>
      <p:sp>
        <p:nvSpPr>
          <p:cNvPr id="8" name="Rectangle 7"/>
          <p:cNvSpPr/>
          <p:nvPr userDrawn="1"/>
        </p:nvSpPr>
        <p:spPr>
          <a:xfrm>
            <a:off x="-23073" y="4956391"/>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Rectangle 14"/>
          <p:cNvSpPr>
            <a:spLocks noChangeArrowheads="1"/>
          </p:cNvSpPr>
          <p:nvPr userDrawn="1"/>
        </p:nvSpPr>
        <p:spPr bwMode="auto">
          <a:xfrm>
            <a:off x="20237847" y="1114432"/>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9" name="Rectangle 15"/>
          <p:cNvSpPr>
            <a:spLocks noChangeArrowheads="1"/>
          </p:cNvSpPr>
          <p:nvPr userDrawn="1"/>
        </p:nvSpPr>
        <p:spPr bwMode="auto">
          <a:xfrm>
            <a:off x="20237847" y="3838582"/>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3" name="Rectangle 16"/>
          <p:cNvSpPr>
            <a:spLocks noChangeArrowheads="1"/>
          </p:cNvSpPr>
          <p:nvPr userDrawn="1"/>
        </p:nvSpPr>
        <p:spPr bwMode="auto">
          <a:xfrm>
            <a:off x="20237847" y="5743582"/>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7" name="Rectangle 38"/>
          <p:cNvSpPr>
            <a:spLocks noChangeArrowheads="1"/>
          </p:cNvSpPr>
          <p:nvPr userDrawn="1"/>
        </p:nvSpPr>
        <p:spPr bwMode="auto">
          <a:xfrm>
            <a:off x="3041651" y="268707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8" name="Rectangle 39"/>
          <p:cNvSpPr>
            <a:spLocks noChangeArrowheads="1"/>
          </p:cNvSpPr>
          <p:nvPr userDrawn="1"/>
        </p:nvSpPr>
        <p:spPr bwMode="auto">
          <a:xfrm>
            <a:off x="3041651" y="342049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9" name="Rectangle 40"/>
          <p:cNvSpPr>
            <a:spLocks noChangeArrowheads="1"/>
          </p:cNvSpPr>
          <p:nvPr userDrawn="1"/>
        </p:nvSpPr>
        <p:spPr bwMode="auto">
          <a:xfrm>
            <a:off x="3041651" y="412534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0" name="Rectangle 41"/>
          <p:cNvSpPr>
            <a:spLocks noChangeArrowheads="1"/>
          </p:cNvSpPr>
          <p:nvPr userDrawn="1"/>
        </p:nvSpPr>
        <p:spPr bwMode="auto">
          <a:xfrm>
            <a:off x="3041651" y="485877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1" name="Rectangle 42"/>
          <p:cNvSpPr>
            <a:spLocks noChangeArrowheads="1"/>
          </p:cNvSpPr>
          <p:nvPr userDrawn="1"/>
        </p:nvSpPr>
        <p:spPr bwMode="auto">
          <a:xfrm>
            <a:off x="3041651" y="5344548"/>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Tree>
    <p:extLst>
      <p:ext uri="{BB962C8B-B14F-4D97-AF65-F5344CB8AC3E}">
        <p14:creationId xmlns:p14="http://schemas.microsoft.com/office/powerpoint/2010/main" val="38821089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0"/>
            <a:ext cx="10515600" cy="2852737"/>
          </a:xfrm>
        </p:spPr>
        <p:txBody>
          <a:bodyPr anchor="b"/>
          <a:lstStyle>
            <a:lvl1pPr>
              <a:defRPr sz="4500"/>
            </a:lvl1pPr>
          </a:lstStyle>
          <a:p>
            <a:r>
              <a:rPr lang="fr-FR" smtClean="0"/>
              <a:t>Modifiez le style du titre</a:t>
            </a:r>
            <a:endParaRPr lang="fr-FR"/>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917933883"/>
      </p:ext>
    </p:extLst>
  </p:cSld>
  <p:clrMapOvr>
    <a:masterClrMapping/>
  </p:clrMapOvr>
  <p:timing>
    <p:tnLst>
      <p:par>
        <p:cTn id="1" dur="indefinite" restart="never" nodeType="tmRoot"/>
      </p:par>
    </p:tnLst>
  </p:timing>
  <p:hf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9046C587-C17E-4AFA-8383-6F53DB47E903}"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0462144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1"/>
            <a:ext cx="10515600" cy="2852737"/>
          </a:xfrm>
        </p:spPr>
        <p:txBody>
          <a:bodyPr anchor="b"/>
          <a:lstStyle>
            <a:lvl1pPr>
              <a:defRPr sz="4500"/>
            </a:lvl1pPr>
          </a:lstStyle>
          <a:p>
            <a:r>
              <a:rPr lang="fr-FR" smtClean="0"/>
              <a:t>Modifiez le style du titre</a:t>
            </a:r>
            <a:endParaRPr lang="fr-FR"/>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905234787"/>
      </p:ext>
    </p:extLst>
  </p:cSld>
  <p:clrMapOvr>
    <a:masterClrMapping/>
  </p:clrMapOvr>
  <p:timing>
    <p:tnLst>
      <p:par>
        <p:cTn id="1" dur="indefinite" restart="never" nodeType="tmRoot"/>
      </p:par>
    </p:tnLst>
  </p:timing>
  <p:hf hdr="0" ftr="0"/>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9"/>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9"/>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674238247"/>
      </p:ext>
    </p:extLst>
  </p:cSld>
  <p:clrMapOvr>
    <a:masterClrMapping/>
  </p:clrMapOvr>
  <p:timing>
    <p:tnLst>
      <p:par>
        <p:cTn id="1" dur="indefinite" restart="never" nodeType="tmRoot"/>
      </p:par>
    </p:tnLst>
  </p:timing>
  <p:hf hdr="0" ftr="0"/>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8"/>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2" y="1681163"/>
            <a:ext cx="5183188"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2"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8" name="Espace réservé du pied de page 7"/>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9" name="Espace réservé du numéro de diapositive 8"/>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633671953"/>
      </p:ext>
    </p:extLst>
  </p:cSld>
  <p:clrMapOvr>
    <a:masterClrMapping/>
  </p:clrMapOvr>
  <p:timing>
    <p:tnLst>
      <p:par>
        <p:cTn id="1" dur="indefinite" restart="never" nodeType="tmRoot"/>
      </p:par>
    </p:tnLst>
  </p:timing>
  <p:hf hdr="0" ftr="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0523E3D4-E033-45F0-AF5C-F0FD82459E23}" type="datetime1">
              <a:rPr lang="fr-FR" smtClean="0">
                <a:solidFill>
                  <a:srgbClr val="000000">
                    <a:tint val="75000"/>
                  </a:srgbClr>
                </a:solidFill>
              </a:rPr>
              <a:pPr/>
              <a:t>05/03/2018</a:t>
            </a:fld>
            <a:endParaRPr lang="fr-FR">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97224586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250646C-87A9-4FD4-BF9D-99C1B7155185}"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13372214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du contenu 2"/>
          <p:cNvSpPr>
            <a:spLocks noGrp="1"/>
          </p:cNvSpPr>
          <p:nvPr>
            <p:ph idx="1"/>
          </p:nvPr>
        </p:nvSpPr>
        <p:spPr>
          <a:xfrm>
            <a:off x="5183188" y="987429"/>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2796290188"/>
      </p:ext>
    </p:extLst>
  </p:cSld>
  <p:clrMapOvr>
    <a:masterClrMapping/>
  </p:clrMapOvr>
  <p:timing>
    <p:tnLst>
      <p:par>
        <p:cTn id="1" dur="indefinite" restart="never" nodeType="tmRoot"/>
      </p:par>
    </p:tnLst>
  </p:timing>
  <p:hf hdr="0" ftr="0"/>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9"/>
            <a:ext cx="6172200" cy="4873625"/>
          </a:xfrm>
        </p:spPr>
        <p:txBody>
          <a:bodyPr/>
          <a:lstStyle>
            <a:lvl1pPr marL="0" indent="0">
              <a:buNone/>
              <a:defRPr sz="2400"/>
            </a:lvl1pPr>
            <a:lvl2pPr marL="342891" indent="0">
              <a:buNone/>
              <a:defRPr sz="2100"/>
            </a:lvl2pPr>
            <a:lvl3pPr marL="685783" indent="0">
              <a:buNone/>
              <a:defRPr sz="1800"/>
            </a:lvl3pPr>
            <a:lvl4pPr marL="1028674"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1" indent="0">
              <a:buNone/>
              <a:defRPr sz="1500"/>
            </a:lvl9pPr>
          </a:lstStyle>
          <a:p>
            <a:endParaRPr lang="fr-FR"/>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67971806"/>
      </p:ext>
    </p:extLst>
  </p:cSld>
  <p:clrMapOvr>
    <a:masterClrMapping/>
  </p:clrMapOvr>
  <p:timing>
    <p:tnLst>
      <p:par>
        <p:cTn id="1" dur="indefinite" restart="never" nodeType="tmRoot"/>
      </p:par>
    </p:tnLst>
  </p:timing>
  <p:hf hdr="0" ftr="0"/>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4149253472"/>
      </p:ext>
    </p:extLst>
  </p:cSld>
  <p:clrMapOvr>
    <a:masterClrMapping/>
  </p:clrMapOvr>
  <p:timing>
    <p:tnLst>
      <p:par>
        <p:cTn id="1" dur="indefinite" restart="never" nodeType="tmRoot"/>
      </p:par>
    </p:tnLst>
  </p:timing>
  <p:hf hdr="0" ftr="0"/>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2" y="365126"/>
            <a:ext cx="2628900" cy="5811839"/>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2" y="365126"/>
            <a:ext cx="7734300" cy="5811839"/>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2488318983"/>
      </p:ext>
    </p:extLst>
  </p:cSld>
  <p:clrMapOvr>
    <a:masterClrMapping/>
  </p:clrMapOvr>
  <p:timing>
    <p:tnLst>
      <p:par>
        <p:cTn id="1" dur="indefinite" restart="never" nodeType="tmRoot"/>
      </p:par>
    </p:tnLst>
  </p:timing>
  <p:hf hdr="0" ft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848139319"/>
      </p:ext>
    </p:extLst>
  </p:cSld>
  <p:clrMapOvr>
    <a:masterClrMapping/>
  </p:clrMapOvr>
  <p:timing>
    <p:tnLst>
      <p:par>
        <p:cTn id="1" dur="indefinite" restart="never" nodeType="tmRoot"/>
      </p:par>
    </p:tnLst>
  </p:timing>
  <p:hf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normAutofit/>
          </a:bodyPr>
          <a:lstStyle>
            <a:lvl1pPr marL="342891" indent="-342891">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2A562F49-E78B-476D-9D47-AD3EE31BF0ED}"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8" name="Espace réservé du texte 7"/>
          <p:cNvSpPr>
            <a:spLocks noGrp="1"/>
          </p:cNvSpPr>
          <p:nvPr>
            <p:ph type="body" sz="quarter" idx="13"/>
          </p:nvPr>
        </p:nvSpPr>
        <p:spPr>
          <a:xfrm>
            <a:off x="609600" y="1014413"/>
            <a:ext cx="10972800" cy="360363"/>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103887882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2860857-0346-439B-9662-BC295E379CB9}"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Titre 1"/>
          <p:cNvSpPr>
            <a:spLocks noGrp="1"/>
          </p:cNvSpPr>
          <p:nvPr>
            <p:ph type="ctrTitle"/>
          </p:nvPr>
        </p:nvSpPr>
        <p:spPr>
          <a:xfrm>
            <a:off x="1487488" y="2693990"/>
            <a:ext cx="9217024" cy="1470025"/>
          </a:xfrm>
        </p:spPr>
        <p:txBody>
          <a:bodyPr>
            <a:noAutofit/>
          </a:bodyPr>
          <a:lstStyle>
            <a:lvl1pPr>
              <a:defRPr sz="3200"/>
            </a:lvl1pPr>
          </a:lstStyle>
          <a:p>
            <a:r>
              <a:rPr lang="fr-FR" dirty="0" smtClean="0"/>
              <a:t>Cliquez pour modifier le style du titre</a:t>
            </a:r>
            <a:endParaRPr lang="fr-FR" dirty="0"/>
          </a:p>
        </p:txBody>
      </p:sp>
    </p:spTree>
    <p:extLst>
      <p:ext uri="{BB962C8B-B14F-4D97-AF65-F5344CB8AC3E}">
        <p14:creationId xmlns:p14="http://schemas.microsoft.com/office/powerpoint/2010/main" val="149218391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1458" y="1061183"/>
            <a:ext cx="7433572" cy="334981"/>
          </a:xfrm>
        </p:spPr>
        <p:txBody>
          <a:bodyPr/>
          <a:lstStyle/>
          <a:p>
            <a:r>
              <a:rPr lang="en-US" dirty="0" smtClean="0"/>
              <a:t>Click to edit Master title style</a:t>
            </a:r>
            <a:endParaRPr lang="cs-CZ" dirty="0"/>
          </a:p>
        </p:txBody>
      </p:sp>
      <p:sp>
        <p:nvSpPr>
          <p:cNvPr id="4" name="Footer Placeholder 3"/>
          <p:cNvSpPr>
            <a:spLocks noGrp="1"/>
          </p:cNvSpPr>
          <p:nvPr>
            <p:ph type="ftr" sz="quarter" idx="11"/>
          </p:nvPr>
        </p:nvSpPr>
        <p:spPr/>
        <p:txBody>
          <a:bodyPr/>
          <a:lstStyle/>
          <a:p>
            <a:r>
              <a:rPr lang="de-DE" smtClean="0">
                <a:solidFill>
                  <a:srgbClr val="000000">
                    <a:tint val="75000"/>
                  </a:srgbClr>
                </a:solidFill>
              </a:rPr>
              <a:t>Zdanění CNG v dopravě pro ČPS |</a:t>
            </a:r>
            <a:endParaRPr lang="cs-CZ"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FDED2080-A6AC-4D27-ABC0-DC394804A868}" type="slidenum">
              <a:rPr lang="cs-CZ" smtClean="0">
                <a:solidFill>
                  <a:srgbClr val="7F7E82">
                    <a:tint val="75000"/>
                  </a:srgbClr>
                </a:solidFill>
              </a:rPr>
              <a:pPr/>
              <a:t>‹nr.›</a:t>
            </a:fld>
            <a:endParaRPr lang="cs-CZ">
              <a:solidFill>
                <a:srgbClr val="7F7E82">
                  <a:tint val="75000"/>
                </a:srgbClr>
              </a:solidFill>
            </a:endParaRPr>
          </a:p>
        </p:txBody>
      </p:sp>
    </p:spTree>
    <p:extLst>
      <p:ext uri="{BB962C8B-B14F-4D97-AF65-F5344CB8AC3E}">
        <p14:creationId xmlns:p14="http://schemas.microsoft.com/office/powerpoint/2010/main" val="212500282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07" name="Image 106"/>
          <p:cNvPicPr>
            <a:picLocks noChangeAspect="1"/>
          </p:cNvPicPr>
          <p:nvPr userDrawn="1"/>
        </p:nvPicPr>
        <p:blipFill rotWithShape="1">
          <a:blip r:embed="rId2"/>
          <a:srcRect t="5382"/>
          <a:stretch/>
        </p:blipFill>
        <p:spPr>
          <a:xfrm>
            <a:off x="1" y="-27385"/>
            <a:ext cx="12191999" cy="1758613"/>
          </a:xfrm>
          <a:prstGeom prst="rect">
            <a:avLst/>
          </a:prstGeom>
        </p:spPr>
      </p:pic>
      <p:sp>
        <p:nvSpPr>
          <p:cNvPr id="2" name="Titre 1"/>
          <p:cNvSpPr>
            <a:spLocks noGrp="1"/>
          </p:cNvSpPr>
          <p:nvPr>
            <p:ph type="ctrTitle"/>
          </p:nvPr>
        </p:nvSpPr>
        <p:spPr>
          <a:xfrm>
            <a:off x="5489225" y="2066746"/>
            <a:ext cx="9144000" cy="23876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583A977F-2504-E741-85B4-8F01994E1F25}" type="datetimeFigureOut">
              <a:rPr lang="en-US" smtClean="0">
                <a:solidFill>
                  <a:srgbClr val="000000">
                    <a:tint val="75000"/>
                  </a:srgbClr>
                </a:solidFill>
              </a:rPr>
              <a:pPr/>
              <a:t>3/5/2018</a:t>
            </a:fld>
            <a:endParaRPr lang="en-US" dirty="0">
              <a:solidFill>
                <a:srgbClr val="000000">
                  <a:tint val="75000"/>
                </a:srgbClr>
              </a:solidFill>
            </a:endParaRPr>
          </a:p>
        </p:txBody>
      </p:sp>
      <p:sp>
        <p:nvSpPr>
          <p:cNvPr id="5" name="Espace réservé du pied de page 4"/>
          <p:cNvSpPr>
            <a:spLocks noGrp="1"/>
          </p:cNvSpPr>
          <p:nvPr>
            <p:ph type="ftr" sz="quarter" idx="11"/>
          </p:nvPr>
        </p:nvSpPr>
        <p:spPr/>
        <p:txBody>
          <a:bodyPr/>
          <a:lstStyle/>
          <a:p>
            <a:endParaRPr lang="en-US"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D57F1E4F-1CFF-5643-939E-217C01CDF565}" type="slidenum">
              <a:rPr lang="en-US" smtClean="0">
                <a:solidFill>
                  <a:srgbClr val="000000">
                    <a:tint val="75000"/>
                  </a:srgbClr>
                </a:solidFill>
              </a:rPr>
              <a:pPr/>
              <a:t>‹nr.›</a:t>
            </a:fld>
            <a:endParaRPr lang="en-US" dirty="0">
              <a:solidFill>
                <a:srgbClr val="000000">
                  <a:tint val="75000"/>
                </a:srgbClr>
              </a:solidFill>
            </a:endParaRPr>
          </a:p>
        </p:txBody>
      </p:sp>
      <p:sp>
        <p:nvSpPr>
          <p:cNvPr id="8" name="Rectangle 7"/>
          <p:cNvSpPr/>
          <p:nvPr userDrawn="1"/>
        </p:nvSpPr>
        <p:spPr>
          <a:xfrm>
            <a:off x="-23073" y="495639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Rectangle 14"/>
          <p:cNvSpPr>
            <a:spLocks noChangeArrowheads="1"/>
          </p:cNvSpPr>
          <p:nvPr userDrawn="1"/>
        </p:nvSpPr>
        <p:spPr bwMode="auto">
          <a:xfrm>
            <a:off x="20237847" y="111443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9" name="Rectangle 15"/>
          <p:cNvSpPr>
            <a:spLocks noChangeArrowheads="1"/>
          </p:cNvSpPr>
          <p:nvPr userDrawn="1"/>
        </p:nvSpPr>
        <p:spPr bwMode="auto">
          <a:xfrm>
            <a:off x="20237847" y="3838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3" name="Rectangle 16"/>
          <p:cNvSpPr>
            <a:spLocks noChangeArrowheads="1"/>
          </p:cNvSpPr>
          <p:nvPr userDrawn="1"/>
        </p:nvSpPr>
        <p:spPr bwMode="auto">
          <a:xfrm>
            <a:off x="20237847" y="5743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7" name="Rectangle 38"/>
          <p:cNvSpPr>
            <a:spLocks noChangeArrowheads="1"/>
          </p:cNvSpPr>
          <p:nvPr userDrawn="1"/>
        </p:nvSpPr>
        <p:spPr bwMode="auto">
          <a:xfrm>
            <a:off x="3041650" y="26870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8" name="Rectangle 39"/>
          <p:cNvSpPr>
            <a:spLocks noChangeArrowheads="1"/>
          </p:cNvSpPr>
          <p:nvPr userDrawn="1"/>
        </p:nvSpPr>
        <p:spPr bwMode="auto">
          <a:xfrm>
            <a:off x="3041650" y="342049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9" name="Rectangle 40"/>
          <p:cNvSpPr>
            <a:spLocks noChangeArrowheads="1"/>
          </p:cNvSpPr>
          <p:nvPr userDrawn="1"/>
        </p:nvSpPr>
        <p:spPr bwMode="auto">
          <a:xfrm>
            <a:off x="3041650" y="41253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0" name="Rectangle 41"/>
          <p:cNvSpPr>
            <a:spLocks noChangeArrowheads="1"/>
          </p:cNvSpPr>
          <p:nvPr userDrawn="1"/>
        </p:nvSpPr>
        <p:spPr bwMode="auto">
          <a:xfrm>
            <a:off x="3041650" y="48587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1" name="Rectangle 42"/>
          <p:cNvSpPr>
            <a:spLocks noChangeArrowheads="1"/>
          </p:cNvSpPr>
          <p:nvPr userDrawn="1"/>
        </p:nvSpPr>
        <p:spPr bwMode="auto">
          <a:xfrm>
            <a:off x="3041650" y="53445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Tree>
    <p:extLst>
      <p:ext uri="{BB962C8B-B14F-4D97-AF65-F5344CB8AC3E}">
        <p14:creationId xmlns:p14="http://schemas.microsoft.com/office/powerpoint/2010/main" val="305760359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9046C587-C17E-4AFA-8383-6F53DB47E903}"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7" name="TextBox 6"/>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34981791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0"/>
            <a:ext cx="10515600" cy="2852737"/>
          </a:xfrm>
        </p:spPr>
        <p:txBody>
          <a:bodyPr anchor="b"/>
          <a:lstStyle>
            <a:lvl1pPr>
              <a:defRPr sz="4500"/>
            </a:lvl1pPr>
          </a:lstStyle>
          <a:p>
            <a:r>
              <a:rPr lang="fr-FR" smtClean="0"/>
              <a:t>Modifiez le style du titre</a:t>
            </a:r>
            <a:endParaRPr lang="fr-FR"/>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398404206"/>
      </p:ext>
    </p:extLst>
  </p:cSld>
  <p:clrMapOvr>
    <a:masterClrMapping/>
  </p:clrMapOvr>
  <p:hf hdr="0" ftr="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453567432"/>
      </p:ext>
    </p:extLst>
  </p:cSld>
  <p:clrMapOvr>
    <a:masterClrMapping/>
  </p:clrMapOvr>
  <p:hf hdr="0" ftr="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7"/>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1"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8" name="Espace réservé du pied de page 7"/>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9" name="Espace réservé du numéro de diapositive 8"/>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2852904641"/>
      </p:ext>
    </p:extLst>
  </p:cSld>
  <p:clrMapOvr>
    <a:masterClrMapping/>
  </p:clrMapOvr>
  <p:hf hdr="0" ftr="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0523E3D4-E033-45F0-AF5C-F0FD82459E23}" type="datetime1">
              <a:rPr lang="fr-FR" smtClean="0">
                <a:solidFill>
                  <a:srgbClr val="000000">
                    <a:tint val="75000"/>
                  </a:srgbClr>
                </a:solidFill>
              </a:rPr>
              <a:pPr/>
              <a:t>05/03/2018</a:t>
            </a:fld>
            <a:endParaRPr lang="fr-FR">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6184196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250646C-87A9-4FD4-BF9D-99C1B7155185}"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744408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7"/>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1"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8" name="Espace réservé du pied de page 7"/>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9" name="Espace réservé du numéro de diapositive 8"/>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441182778"/>
      </p:ext>
    </p:extLst>
  </p:cSld>
  <p:clrMapOvr>
    <a:masterClrMapping/>
  </p:clrMapOvr>
  <p:timing>
    <p:tnLst>
      <p:par>
        <p:cTn id="1" dur="indefinite" restart="never" nodeType="tmRoot"/>
      </p:par>
    </p:tnLst>
  </p:timing>
  <p:hf hdr="0" ftr="0"/>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du contenu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4203364911"/>
      </p:ext>
    </p:extLst>
  </p:cSld>
  <p:clrMapOvr>
    <a:masterClrMapping/>
  </p:clrMapOvr>
  <p:hf hdr="0" ftr="0"/>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569076469"/>
      </p:ext>
    </p:extLst>
  </p:cSld>
  <p:clrMapOvr>
    <a:masterClrMapping/>
  </p:clrMapOvr>
  <p:hf hdr="0" ftr="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499751579"/>
      </p:ext>
    </p:extLst>
  </p:cSld>
  <p:clrMapOvr>
    <a:masterClrMapping/>
  </p:clrMapOvr>
  <p:hf hdr="0" ftr="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1"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1"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202355187"/>
      </p:ext>
    </p:extLst>
  </p:cSld>
  <p:clrMapOvr>
    <a:masterClrMapping/>
  </p:clrMapOvr>
  <p:hf hdr="0" ftr="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2A562F49-E78B-476D-9D47-AD3EE31BF0ED}"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8" name="Espace réservé du texte 7"/>
          <p:cNvSpPr>
            <a:spLocks noGrp="1"/>
          </p:cNvSpPr>
          <p:nvPr>
            <p:ph type="body" sz="quarter" idx="13"/>
          </p:nvPr>
        </p:nvSpPr>
        <p:spPr>
          <a:xfrm>
            <a:off x="609600" y="1014413"/>
            <a:ext cx="10972800" cy="360362"/>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11966597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2860857-0346-439B-9662-BC295E379CB9}"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Titre 1"/>
          <p:cNvSpPr>
            <a:spLocks noGrp="1"/>
          </p:cNvSpPr>
          <p:nvPr>
            <p:ph type="ctrTitle"/>
          </p:nvPr>
        </p:nvSpPr>
        <p:spPr>
          <a:xfrm>
            <a:off x="1487488" y="2693989"/>
            <a:ext cx="9217024" cy="1470025"/>
          </a:xfrm>
        </p:spPr>
        <p:txBody>
          <a:bodyPr>
            <a:noAutofit/>
          </a:bodyPr>
          <a:lstStyle>
            <a:lvl1pPr>
              <a:defRPr sz="3200"/>
            </a:lvl1pPr>
          </a:lstStyle>
          <a:p>
            <a:r>
              <a:rPr lang="fr-FR" dirty="0" smtClean="0"/>
              <a:t>Cliquez pour modifier le style du titre</a:t>
            </a:r>
            <a:endParaRPr lang="fr-FR" dirty="0"/>
          </a:p>
        </p:txBody>
      </p:sp>
    </p:spTree>
    <p:extLst>
      <p:ext uri="{BB962C8B-B14F-4D97-AF65-F5344CB8AC3E}">
        <p14:creationId xmlns:p14="http://schemas.microsoft.com/office/powerpoint/2010/main" val="2164848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1457" y="1061182"/>
            <a:ext cx="7433572" cy="334981"/>
          </a:xfrm>
        </p:spPr>
        <p:txBody>
          <a:bodyPr/>
          <a:lstStyle/>
          <a:p>
            <a:r>
              <a:rPr lang="en-US" dirty="0" smtClean="0"/>
              <a:t>Click to edit Master title style</a:t>
            </a:r>
            <a:endParaRPr lang="cs-CZ" dirty="0"/>
          </a:p>
        </p:txBody>
      </p:sp>
      <p:sp>
        <p:nvSpPr>
          <p:cNvPr id="4" name="Footer Placeholder 3"/>
          <p:cNvSpPr>
            <a:spLocks noGrp="1"/>
          </p:cNvSpPr>
          <p:nvPr>
            <p:ph type="ftr" sz="quarter" idx="11"/>
          </p:nvPr>
        </p:nvSpPr>
        <p:spPr/>
        <p:txBody>
          <a:bodyPr/>
          <a:lstStyle/>
          <a:p>
            <a:r>
              <a:rPr lang="de-DE" smtClean="0">
                <a:solidFill>
                  <a:srgbClr val="000000">
                    <a:tint val="75000"/>
                  </a:srgbClr>
                </a:solidFill>
              </a:rPr>
              <a:t>Zdanění CNG v dopravě pro ČPS |</a:t>
            </a:r>
            <a:endParaRPr lang="cs-CZ"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FDED2080-A6AC-4D27-ABC0-DC394804A868}" type="slidenum">
              <a:rPr lang="cs-CZ" smtClean="0">
                <a:solidFill>
                  <a:srgbClr val="7F7E82">
                    <a:tint val="75000"/>
                  </a:srgbClr>
                </a:solidFill>
              </a:rPr>
              <a:pPr/>
              <a:t>‹nr.›</a:t>
            </a:fld>
            <a:endParaRPr lang="cs-CZ">
              <a:solidFill>
                <a:srgbClr val="7F7E82">
                  <a:tint val="75000"/>
                </a:srgbClr>
              </a:solidFill>
            </a:endParaRPr>
          </a:p>
        </p:txBody>
      </p:sp>
      <p:sp>
        <p:nvSpPr>
          <p:cNvPr id="6" name="TextBox 5"/>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52075361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107" name="Image 106"/>
          <p:cNvPicPr>
            <a:picLocks noChangeAspect="1"/>
          </p:cNvPicPr>
          <p:nvPr userDrawn="1"/>
        </p:nvPicPr>
        <p:blipFill rotWithShape="1">
          <a:blip r:embed="rId2"/>
          <a:srcRect t="5382"/>
          <a:stretch/>
        </p:blipFill>
        <p:spPr>
          <a:xfrm>
            <a:off x="1" y="-27385"/>
            <a:ext cx="12191999" cy="1758613"/>
          </a:xfrm>
          <a:prstGeom prst="rect">
            <a:avLst/>
          </a:prstGeom>
        </p:spPr>
      </p:pic>
      <p:sp>
        <p:nvSpPr>
          <p:cNvPr id="2" name="Titre 1"/>
          <p:cNvSpPr>
            <a:spLocks noGrp="1"/>
          </p:cNvSpPr>
          <p:nvPr>
            <p:ph type="ctrTitle"/>
          </p:nvPr>
        </p:nvSpPr>
        <p:spPr>
          <a:xfrm>
            <a:off x="5489225" y="2066746"/>
            <a:ext cx="9144000" cy="23876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583A977F-2504-E741-85B4-8F01994E1F25}" type="datetimeFigureOut">
              <a:rPr lang="en-US" smtClean="0">
                <a:solidFill>
                  <a:srgbClr val="000000">
                    <a:tint val="75000"/>
                  </a:srgbClr>
                </a:solidFill>
              </a:rPr>
              <a:pPr/>
              <a:t>3/5/2018</a:t>
            </a:fld>
            <a:endParaRPr lang="en-US" dirty="0">
              <a:solidFill>
                <a:srgbClr val="000000">
                  <a:tint val="75000"/>
                </a:srgbClr>
              </a:solidFill>
            </a:endParaRPr>
          </a:p>
        </p:txBody>
      </p:sp>
      <p:sp>
        <p:nvSpPr>
          <p:cNvPr id="5" name="Espace réservé du pied de page 4"/>
          <p:cNvSpPr>
            <a:spLocks noGrp="1"/>
          </p:cNvSpPr>
          <p:nvPr>
            <p:ph type="ftr" sz="quarter" idx="11"/>
          </p:nvPr>
        </p:nvSpPr>
        <p:spPr/>
        <p:txBody>
          <a:bodyPr/>
          <a:lstStyle/>
          <a:p>
            <a:endParaRPr lang="en-US"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D57F1E4F-1CFF-5643-939E-217C01CDF565}" type="slidenum">
              <a:rPr lang="en-US" smtClean="0">
                <a:solidFill>
                  <a:srgbClr val="000000">
                    <a:tint val="75000"/>
                  </a:srgbClr>
                </a:solidFill>
              </a:rPr>
              <a:pPr/>
              <a:t>‹nr.›</a:t>
            </a:fld>
            <a:endParaRPr lang="en-US" dirty="0">
              <a:solidFill>
                <a:srgbClr val="000000">
                  <a:tint val="75000"/>
                </a:srgbClr>
              </a:solidFill>
            </a:endParaRPr>
          </a:p>
        </p:txBody>
      </p:sp>
      <p:sp>
        <p:nvSpPr>
          <p:cNvPr id="8" name="Rectangle 7"/>
          <p:cNvSpPr/>
          <p:nvPr userDrawn="1"/>
        </p:nvSpPr>
        <p:spPr>
          <a:xfrm>
            <a:off x="-23073" y="495639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Rectangle 14"/>
          <p:cNvSpPr>
            <a:spLocks noChangeArrowheads="1"/>
          </p:cNvSpPr>
          <p:nvPr userDrawn="1"/>
        </p:nvSpPr>
        <p:spPr bwMode="auto">
          <a:xfrm>
            <a:off x="20237847" y="111443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9" name="Rectangle 15"/>
          <p:cNvSpPr>
            <a:spLocks noChangeArrowheads="1"/>
          </p:cNvSpPr>
          <p:nvPr userDrawn="1"/>
        </p:nvSpPr>
        <p:spPr bwMode="auto">
          <a:xfrm>
            <a:off x="20237847" y="3838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3" name="Rectangle 16"/>
          <p:cNvSpPr>
            <a:spLocks noChangeArrowheads="1"/>
          </p:cNvSpPr>
          <p:nvPr userDrawn="1"/>
        </p:nvSpPr>
        <p:spPr bwMode="auto">
          <a:xfrm>
            <a:off x="20237847" y="5743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7" name="Rectangle 38"/>
          <p:cNvSpPr>
            <a:spLocks noChangeArrowheads="1"/>
          </p:cNvSpPr>
          <p:nvPr userDrawn="1"/>
        </p:nvSpPr>
        <p:spPr bwMode="auto">
          <a:xfrm>
            <a:off x="3041650" y="26870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8" name="Rectangle 39"/>
          <p:cNvSpPr>
            <a:spLocks noChangeArrowheads="1"/>
          </p:cNvSpPr>
          <p:nvPr userDrawn="1"/>
        </p:nvSpPr>
        <p:spPr bwMode="auto">
          <a:xfrm>
            <a:off x="3041650" y="342049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9" name="Rectangle 40"/>
          <p:cNvSpPr>
            <a:spLocks noChangeArrowheads="1"/>
          </p:cNvSpPr>
          <p:nvPr userDrawn="1"/>
        </p:nvSpPr>
        <p:spPr bwMode="auto">
          <a:xfrm>
            <a:off x="3041650" y="41253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0" name="Rectangle 41"/>
          <p:cNvSpPr>
            <a:spLocks noChangeArrowheads="1"/>
          </p:cNvSpPr>
          <p:nvPr userDrawn="1"/>
        </p:nvSpPr>
        <p:spPr bwMode="auto">
          <a:xfrm>
            <a:off x="3041650" y="48587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1" name="Rectangle 42"/>
          <p:cNvSpPr>
            <a:spLocks noChangeArrowheads="1"/>
          </p:cNvSpPr>
          <p:nvPr userDrawn="1"/>
        </p:nvSpPr>
        <p:spPr bwMode="auto">
          <a:xfrm>
            <a:off x="3041650" y="53445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Tree>
    <p:extLst>
      <p:ext uri="{BB962C8B-B14F-4D97-AF65-F5344CB8AC3E}">
        <p14:creationId xmlns:p14="http://schemas.microsoft.com/office/powerpoint/2010/main" val="74093460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9046C587-C17E-4AFA-8383-6F53DB47E903}"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dirty="0">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279848682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0"/>
            <a:ext cx="10515600" cy="2852737"/>
          </a:xfrm>
        </p:spPr>
        <p:txBody>
          <a:bodyPr anchor="b"/>
          <a:lstStyle>
            <a:lvl1pPr>
              <a:defRPr sz="4500"/>
            </a:lvl1pPr>
          </a:lstStyle>
          <a:p>
            <a:r>
              <a:rPr lang="fr-FR" smtClean="0"/>
              <a:t>Modifiez le style du titre</a:t>
            </a:r>
            <a:endParaRPr lang="fr-FR"/>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241469012"/>
      </p:ext>
    </p:extLst>
  </p:cSld>
  <p:clrMapOvr>
    <a:masterClrMapping/>
  </p:clrMapOvr>
  <p:timing>
    <p:tnLst>
      <p:par>
        <p:cTn id="1" dur="indefinite" restart="never" nodeType="tmRoot"/>
      </p:par>
    </p:tnLst>
  </p:timing>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0523E3D4-E033-45F0-AF5C-F0FD82459E23}" type="datetime1">
              <a:rPr lang="fr-FR" smtClean="0">
                <a:solidFill>
                  <a:srgbClr val="000000">
                    <a:tint val="75000"/>
                  </a:srgbClr>
                </a:solidFill>
              </a:rPr>
              <a:pPr/>
              <a:t>05/03/2018</a:t>
            </a:fld>
            <a:endParaRPr lang="fr-FR">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88990166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26807280"/>
      </p:ext>
    </p:extLst>
  </p:cSld>
  <p:clrMapOvr>
    <a:masterClrMapping/>
  </p:clrMapOvr>
  <p:timing>
    <p:tnLst>
      <p:par>
        <p:cTn id="1" dur="indefinite" restart="never" nodeType="tmRoot"/>
      </p:par>
    </p:tnLst>
  </p:timing>
  <p:hf hdr="0" ftr="0"/>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7"/>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6172201" y="2505075"/>
            <a:ext cx="5183188" cy="3684588"/>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8" name="Espace réservé du pied de page 7"/>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9" name="Espace réservé du numéro de diapositive 8"/>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732539381"/>
      </p:ext>
    </p:extLst>
  </p:cSld>
  <p:clrMapOvr>
    <a:masterClrMapping/>
  </p:clrMapOvr>
  <p:timing>
    <p:tnLst>
      <p:par>
        <p:cTn id="1" dur="indefinite" restart="never" nodeType="tmRoot"/>
      </p:par>
    </p:tnLst>
  </p:timing>
  <p:hf hdr="0" ftr="0"/>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0523E3D4-E033-45F0-AF5C-F0FD82459E23}" type="datetime1">
              <a:rPr lang="fr-FR" smtClean="0">
                <a:solidFill>
                  <a:srgbClr val="000000">
                    <a:tint val="75000"/>
                  </a:srgbClr>
                </a:solidFill>
              </a:rPr>
              <a:pPr/>
              <a:t>05/03/2018</a:t>
            </a:fld>
            <a:endParaRPr lang="fr-FR">
              <a:solidFill>
                <a:srgbClr val="000000">
                  <a:tint val="75000"/>
                </a:srgbClr>
              </a:solidFill>
            </a:endParaRPr>
          </a:p>
        </p:txBody>
      </p:sp>
      <p:sp>
        <p:nvSpPr>
          <p:cNvPr id="4" name="Espace réservé du pied de page 3"/>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5" name="Espace réservé du numéro de diapositive 4"/>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293873088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250646C-87A9-4FD4-BF9D-99C1B7155185}"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92032218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du contenu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538771789"/>
      </p:ext>
    </p:extLst>
  </p:cSld>
  <p:clrMapOvr>
    <a:masterClrMapping/>
  </p:clrMapOvr>
  <p:timing>
    <p:tnLst>
      <p:par>
        <p:cTn id="1" dur="indefinite" restart="never" nodeType="tmRoot"/>
      </p:par>
    </p:tnLst>
  </p:timing>
  <p:hf hdr="0" ftr="0"/>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2562545077"/>
      </p:ext>
    </p:extLst>
  </p:cSld>
  <p:clrMapOvr>
    <a:masterClrMapping/>
  </p:clrMapOvr>
  <p:timing>
    <p:tnLst>
      <p:par>
        <p:cTn id="1" dur="indefinite" restart="never" nodeType="tmRoot"/>
      </p:par>
    </p:tnLst>
  </p:timing>
  <p:hf hdr="0" ftr="0"/>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1642898173"/>
      </p:ext>
    </p:extLst>
  </p:cSld>
  <p:clrMapOvr>
    <a:masterClrMapping/>
  </p:clrMapOvr>
  <p:timing>
    <p:tnLst>
      <p:par>
        <p:cTn id="1" dur="indefinite" restart="never" nodeType="tmRoot"/>
      </p:par>
    </p:tnLst>
  </p:timing>
  <p:hf hdr="0" ftr="0"/>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1"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1" y="365125"/>
            <a:ext cx="7734300" cy="5811838"/>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930627599"/>
      </p:ext>
    </p:extLst>
  </p:cSld>
  <p:clrMapOvr>
    <a:masterClrMapping/>
  </p:clrMapOvr>
  <p:timing>
    <p:tnLst>
      <p:par>
        <p:cTn id="1" dur="indefinite" restart="never" nodeType="tmRoot"/>
      </p:par>
    </p:tnLst>
  </p:timing>
  <p:hf hdr="0" ftr="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normAutofit/>
          </a:bodyPr>
          <a:lstStyle>
            <a:lvl1pPr marL="342900" indent="-342900">
              <a:buClr>
                <a:schemeClr val="tx2"/>
              </a:buClr>
              <a:buFont typeface="Wingdings" panose="05000000000000000000" pitchFamily="2" charset="2"/>
              <a:buChar cha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10"/>
          </p:nvPr>
        </p:nvSpPr>
        <p:spPr/>
        <p:txBody>
          <a:bodyPr/>
          <a:lstStyle/>
          <a:p>
            <a:fld id="{2A562F49-E78B-476D-9D47-AD3EE31BF0ED}"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8" name="Espace réservé du texte 7"/>
          <p:cNvSpPr>
            <a:spLocks noGrp="1"/>
          </p:cNvSpPr>
          <p:nvPr>
            <p:ph type="body" sz="quarter" idx="13"/>
          </p:nvPr>
        </p:nvSpPr>
        <p:spPr>
          <a:xfrm>
            <a:off x="609600" y="1014413"/>
            <a:ext cx="10972800" cy="360362"/>
          </a:xfrm>
        </p:spPr>
        <p:txBody>
          <a:bodyPr>
            <a:noAutofit/>
          </a:bodyPr>
          <a:lstStyle>
            <a:lvl1pPr marL="0" indent="0">
              <a:buNone/>
              <a:defRPr sz="1800" b="1">
                <a:solidFill>
                  <a:schemeClr val="accent6"/>
                </a:solidFill>
              </a:defRPr>
            </a:lvl1pPr>
          </a:lstStyle>
          <a:p>
            <a:pPr lvl="0"/>
            <a:endParaRPr lang="en-GB" dirty="0"/>
          </a:p>
        </p:txBody>
      </p:sp>
    </p:spTree>
    <p:extLst>
      <p:ext uri="{BB962C8B-B14F-4D97-AF65-F5344CB8AC3E}">
        <p14:creationId xmlns:p14="http://schemas.microsoft.com/office/powerpoint/2010/main" val="370417082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2860857-0346-439B-9662-BC295E379CB9}"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 name="Titre 1"/>
          <p:cNvSpPr>
            <a:spLocks noGrp="1"/>
          </p:cNvSpPr>
          <p:nvPr>
            <p:ph type="ctrTitle"/>
          </p:nvPr>
        </p:nvSpPr>
        <p:spPr>
          <a:xfrm>
            <a:off x="1487488" y="2693989"/>
            <a:ext cx="9217024" cy="1470025"/>
          </a:xfrm>
        </p:spPr>
        <p:txBody>
          <a:bodyPr>
            <a:noAutofit/>
          </a:bodyPr>
          <a:lstStyle>
            <a:lvl1pPr>
              <a:defRPr sz="3200"/>
            </a:lvl1pPr>
          </a:lstStyle>
          <a:p>
            <a:r>
              <a:rPr lang="fr-FR" dirty="0" smtClean="0"/>
              <a:t>Cliquez pour modifier le style du titre</a:t>
            </a:r>
            <a:endParaRPr lang="fr-FR" dirty="0"/>
          </a:p>
        </p:txBody>
      </p:sp>
    </p:spTree>
    <p:extLst>
      <p:ext uri="{BB962C8B-B14F-4D97-AF65-F5344CB8AC3E}">
        <p14:creationId xmlns:p14="http://schemas.microsoft.com/office/powerpoint/2010/main" val="32512745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F250646C-87A9-4FD4-BF9D-99C1B7155185}" type="datetime1">
              <a:rPr lang="fr-FR" smtClean="0">
                <a:solidFill>
                  <a:srgbClr val="000000">
                    <a:tint val="75000"/>
                  </a:srgbClr>
                </a:solidFill>
              </a:rPr>
              <a:pPr/>
              <a:t>05/03/2018</a:t>
            </a:fld>
            <a:endParaRPr lang="fr-FR">
              <a:solidFill>
                <a:srgbClr val="000000">
                  <a:tint val="75000"/>
                </a:srgbClr>
              </a:solidFill>
            </a:endParaRPr>
          </a:p>
        </p:txBody>
      </p:sp>
      <p:sp>
        <p:nvSpPr>
          <p:cNvPr id="3" name="Espace réservé du pied de page 2"/>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4" name="Espace réservé du numéro de diapositive 3"/>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
        <p:nvSpPr>
          <p:cNvPr id="5" name="Rectangle 4"/>
          <p:cNvSpPr/>
          <p:nvPr userDrawn="1"/>
        </p:nvSpPr>
        <p:spPr>
          <a:xfrm>
            <a:off x="335360" y="90872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Tree>
    <p:extLst>
      <p:ext uri="{BB962C8B-B14F-4D97-AF65-F5344CB8AC3E}">
        <p14:creationId xmlns:p14="http://schemas.microsoft.com/office/powerpoint/2010/main" val="251259779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1457" y="1061182"/>
            <a:ext cx="7433572" cy="334981"/>
          </a:xfrm>
        </p:spPr>
        <p:txBody>
          <a:bodyPr/>
          <a:lstStyle/>
          <a:p>
            <a:r>
              <a:rPr lang="en-US" dirty="0" smtClean="0"/>
              <a:t>Click to edit Master title style</a:t>
            </a:r>
            <a:endParaRPr lang="cs-CZ" dirty="0"/>
          </a:p>
        </p:txBody>
      </p:sp>
      <p:sp>
        <p:nvSpPr>
          <p:cNvPr id="4" name="Footer Placeholder 3"/>
          <p:cNvSpPr>
            <a:spLocks noGrp="1"/>
          </p:cNvSpPr>
          <p:nvPr>
            <p:ph type="ftr" sz="quarter" idx="11"/>
          </p:nvPr>
        </p:nvSpPr>
        <p:spPr/>
        <p:txBody>
          <a:bodyPr/>
          <a:lstStyle/>
          <a:p>
            <a:r>
              <a:rPr lang="de-DE" smtClean="0">
                <a:solidFill>
                  <a:srgbClr val="000000">
                    <a:tint val="75000"/>
                  </a:srgbClr>
                </a:solidFill>
              </a:rPr>
              <a:t>Zdanění CNG v dopravě pro ČPS |</a:t>
            </a:r>
            <a:endParaRPr lang="cs-CZ"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FDED2080-A6AC-4D27-ABC0-DC394804A868}" type="slidenum">
              <a:rPr lang="cs-CZ" smtClean="0">
                <a:solidFill>
                  <a:srgbClr val="7F7E82">
                    <a:tint val="75000"/>
                  </a:srgbClr>
                </a:solidFill>
              </a:rPr>
              <a:pPr/>
              <a:t>‹nr.›</a:t>
            </a:fld>
            <a:endParaRPr lang="cs-CZ">
              <a:solidFill>
                <a:srgbClr val="7F7E82">
                  <a:tint val="75000"/>
                </a:srgbClr>
              </a:solidFill>
            </a:endParaRPr>
          </a:p>
        </p:txBody>
      </p:sp>
    </p:spTree>
    <p:extLst>
      <p:ext uri="{BB962C8B-B14F-4D97-AF65-F5344CB8AC3E}">
        <p14:creationId xmlns:p14="http://schemas.microsoft.com/office/powerpoint/2010/main" val="221814000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du contenu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3922229119"/>
      </p:ext>
    </p:extLst>
  </p:cSld>
  <p:clrMapOvr>
    <a:masterClrMapping/>
  </p:clrMapOvr>
  <p:timing>
    <p:tnLst>
      <p:par>
        <p:cTn id="1" dur="indefinite" restart="never" nodeType="tmRoot"/>
      </p:par>
    </p:tnLst>
  </p:timing>
  <p:hf hdr="0" ft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24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6" name="Espace réservé du pied de page 5"/>
          <p:cNvSpPr>
            <a:spLocks noGrp="1"/>
          </p:cNvSpPr>
          <p:nvPr>
            <p:ph type="ftr" sz="quarter" idx="11"/>
          </p:nvPr>
        </p:nvSpPr>
        <p:spPr/>
        <p:txBody>
          <a:body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7" name="Espace réservé du numéro de diapositive 6"/>
          <p:cNvSpPr>
            <a:spLocks noGrp="1"/>
          </p:cNvSpPr>
          <p:nvPr>
            <p:ph type="sldNum" sz="quarter" idx="12"/>
          </p:nvPr>
        </p:nvSpPr>
        <p:spPr/>
        <p:txBody>
          <a:body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spTree>
    <p:extLst>
      <p:ext uri="{BB962C8B-B14F-4D97-AF65-F5344CB8AC3E}">
        <p14:creationId xmlns:p14="http://schemas.microsoft.com/office/powerpoint/2010/main" val="2857321675"/>
      </p:ext>
    </p:extLst>
  </p:cSld>
  <p:clrMapOvr>
    <a:masterClrMapping/>
  </p:clrMapOvr>
  <p:timing>
    <p:tnLst>
      <p:par>
        <p:cTn id="1" dur="indefinite" restart="never" nodeType="tmRoot"/>
      </p:par>
    </p:tnLst>
  </p:timing>
  <p:hf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2.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2.xml"/><Relationship Id="rId2" Type="http://schemas.openxmlformats.org/officeDocument/2006/relationships/slideLayout" Target="../slideLayouts/slideLayout16.xml"/><Relationship Id="rId16" Type="http://schemas.openxmlformats.org/officeDocument/2006/relationships/vmlDrawing" Target="../drawings/vmlDrawing2.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oleObject" Target="../embeddings/oleObject4.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4.xml"/><Relationship Id="rId2" Type="http://schemas.openxmlformats.org/officeDocument/2006/relationships/slideLayout" Target="../slideLayouts/slideLayout30.xml"/><Relationship Id="rId16" Type="http://schemas.openxmlformats.org/officeDocument/2006/relationships/vmlDrawing" Target="../drawings/vmlDrawing4.v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oleObject" Target="../embeddings/oleObject5.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5.xml"/><Relationship Id="rId2" Type="http://schemas.openxmlformats.org/officeDocument/2006/relationships/slideLayout" Target="../slideLayouts/slideLayout44.xml"/><Relationship Id="rId16" Type="http://schemas.openxmlformats.org/officeDocument/2006/relationships/vmlDrawing" Target="../drawings/vmlDrawing5.v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4.xml"/><Relationship Id="rId10" Type="http://schemas.openxmlformats.org/officeDocument/2006/relationships/slideLayout" Target="../slideLayouts/slideLayout52.xml"/><Relationship Id="rId19" Type="http://schemas.openxmlformats.org/officeDocument/2006/relationships/image" Target="../media/image1.emf"/><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oleObject" Target="../embeddings/oleObject6.bin"/><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ags" Target="../tags/tag6.xml"/><Relationship Id="rId2" Type="http://schemas.openxmlformats.org/officeDocument/2006/relationships/slideLayout" Target="../slideLayouts/slideLayout58.xml"/><Relationship Id="rId16" Type="http://schemas.openxmlformats.org/officeDocument/2006/relationships/vmlDrawing" Target="../drawings/vmlDrawing6.v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5.xml"/><Relationship Id="rId10" Type="http://schemas.openxmlformats.org/officeDocument/2006/relationships/slideLayout" Target="../slideLayouts/slideLayout66.xml"/><Relationship Id="rId19" Type="http://schemas.openxmlformats.org/officeDocument/2006/relationships/image" Target="../media/image1.emf"/><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graphicFrame>
        <p:nvGraphicFramePr>
          <p:cNvPr id="7" name="Object 6" hidden="1"/>
          <p:cNvGraphicFramePr>
            <a:graphicFrameLocks noChangeAspect="1"/>
          </p:cNvGraphicFramePr>
          <p:nvPr userDrawn="1">
            <p:custDataLst>
              <p:tags r:id="rId1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83"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9" name="TextBox 8"/>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332665097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Lst>
  <p:timing>
    <p:tnLst>
      <p:par>
        <p:cTn id="1" dur="indefinite" restart="never" nodeType="tmRoot"/>
      </p:par>
    </p:tnLst>
  </p:timing>
  <p:hf hdr="0" ft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graphicFrame>
        <p:nvGraphicFramePr>
          <p:cNvPr id="7" name="Object 6" hidden="1"/>
          <p:cNvGraphicFramePr>
            <a:graphicFrameLocks noChangeAspect="1"/>
          </p:cNvGraphicFramePr>
          <p:nvPr>
            <p:custDataLst>
              <p:tags r:id="rId1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16"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39815078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Lst>
  <p:hf hdr="0" ft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8"/>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graphicFrame>
        <p:nvGraphicFramePr>
          <p:cNvPr id="7" name="Object 6" hidden="1"/>
          <p:cNvGraphicFramePr>
            <a:graphicFrameLocks noChangeAspect="1"/>
          </p:cNvGraphicFramePr>
          <p:nvPr userDrawn="1">
            <p:custDataLst>
              <p:tags r:id="rId1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6164"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2119" y="1589"/>
                        <a:ext cx="2116" cy="1587"/>
                      </a:xfrm>
                      <a:prstGeom prst="rect">
                        <a:avLst/>
                      </a:prstGeom>
                    </p:spPr>
                  </p:pic>
                </p:oleObj>
              </mc:Fallback>
            </mc:AlternateContent>
          </a:graphicData>
        </a:graphic>
      </p:graphicFrame>
      <p:sp>
        <p:nvSpPr>
          <p:cNvPr id="8" name="TextBox 7"/>
          <p:cNvSpPr txBox="1"/>
          <p:nvPr userDrawn="1"/>
        </p:nvSpPr>
        <p:spPr>
          <a:xfrm>
            <a:off x="8200464" y="223153"/>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411555981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Lst>
  <p:timing>
    <p:tnLst>
      <p:par>
        <p:cTn id="1" dur="indefinite" restart="never" nodeType="tmRoot"/>
      </p:par>
    </p:tnLst>
  </p:timing>
  <p:hf hdr="0" ftr="0"/>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fr-FR"/>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graphicFrame>
        <p:nvGraphicFramePr>
          <p:cNvPr id="7" name="Object 6" hidden="1"/>
          <p:cNvGraphicFramePr>
            <a:graphicFrameLocks noChangeAspect="1"/>
          </p:cNvGraphicFramePr>
          <p:nvPr userDrawn="1">
            <p:custDataLst>
              <p:tags r:id="rId1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88"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26663630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Lst>
  <p:hf hdr="0" ft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53ADC97-476D-4EDC-9725-106FF1E39C9E}" type="datetime1">
              <a:rPr lang="fr-FR" smtClean="0">
                <a:solidFill>
                  <a:srgbClr val="000000">
                    <a:tint val="75000"/>
                  </a:srgbClr>
                </a:solidFill>
              </a:rPr>
              <a:pPr/>
              <a:t>05/03/2018</a:t>
            </a:fld>
            <a:endParaRPr lang="fr-FR">
              <a:solidFill>
                <a:srgbClr val="000000">
                  <a:tint val="75000"/>
                </a:srgbClr>
              </a:solidFill>
            </a:endParaRPr>
          </a:p>
        </p:txBody>
      </p:sp>
      <p:sp>
        <p:nvSpPr>
          <p:cNvPr id="5" name="Espace réservé du pied de page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solidFill>
                  <a:srgbClr val="000000">
                    <a:tint val="75000"/>
                  </a:srgbClr>
                </a:solidFill>
              </a:rPr>
              <a:t>TERRE Project - Stakeholder Forum - 4th July - London - Elexon's </a:t>
            </a:r>
            <a:endParaRPr lang="fr-FR">
              <a:solidFill>
                <a:srgbClr val="000000">
                  <a:tint val="75000"/>
                </a:srgbClr>
              </a:solidFill>
            </a:endParaRPr>
          </a:p>
        </p:txBody>
      </p:sp>
      <p:sp>
        <p:nvSpPr>
          <p:cNvPr id="6" name="Espace réservé du numéro de diapositive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CA6A39B-2923-4814-8F57-BD84643AD2B4}" type="slidenum">
              <a:rPr lang="fr-FR" smtClean="0">
                <a:solidFill>
                  <a:srgbClr val="000000">
                    <a:tint val="75000"/>
                  </a:srgbClr>
                </a:solidFill>
              </a:rPr>
              <a:pPr/>
              <a:t>‹nr.›</a:t>
            </a:fld>
            <a:endParaRPr lang="fr-FR">
              <a:solidFill>
                <a:srgbClr val="000000">
                  <a:tint val="75000"/>
                </a:srgbClr>
              </a:solidFill>
            </a:endParaRPr>
          </a:p>
        </p:txBody>
      </p:sp>
      <p:graphicFrame>
        <p:nvGraphicFramePr>
          <p:cNvPr id="7" name="Object 6" hidden="1"/>
          <p:cNvGraphicFramePr>
            <a:graphicFrameLocks noChangeAspect="1"/>
          </p:cNvGraphicFramePr>
          <p:nvPr userDrawn="1">
            <p:custDataLst>
              <p:tags r:id="rId1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096" name="think-cell Slide" r:id="rId18" imgW="216" imgH="216" progId="TCLayout.ActiveDocument.1">
                  <p:embed/>
                </p:oleObj>
              </mc:Choice>
              <mc:Fallback>
                <p:oleObj name="think-cell Slide" r:id="rId18" imgW="216" imgH="216" progId="TCLayout.ActiveDocument.1">
                  <p:embed/>
                  <p:pic>
                    <p:nvPicPr>
                      <p:cNvPr id="0" name=""/>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8" name="TextBox 7"/>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144784492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Lst>
  <p:timing>
    <p:tnLst>
      <p:par>
        <p:cTn id="1" dur="indefinite" restart="never" nodeType="tmRoot"/>
      </p:par>
    </p:tnLst>
  </p:timing>
  <p:hf hdr="0" ft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image" Target="../media/image6.jpeg"/><Relationship Id="rId21" Type="http://schemas.openxmlformats.org/officeDocument/2006/relationships/image" Target="../media/image24.png"/><Relationship Id="rId7" Type="http://schemas.openxmlformats.org/officeDocument/2006/relationships/image" Target="../media/image10.jpeg"/><Relationship Id="rId12" Type="http://schemas.openxmlformats.org/officeDocument/2006/relationships/image" Target="../media/image15.png"/><Relationship Id="rId17" Type="http://schemas.openxmlformats.org/officeDocument/2006/relationships/image" Target="../media/image20.png"/><Relationship Id="rId25" Type="http://schemas.openxmlformats.org/officeDocument/2006/relationships/image" Target="../media/image28.png"/><Relationship Id="rId2" Type="http://schemas.openxmlformats.org/officeDocument/2006/relationships/image" Target="../media/image5.jpeg"/><Relationship Id="rId16" Type="http://schemas.openxmlformats.org/officeDocument/2006/relationships/image" Target="../media/image19.png"/><Relationship Id="rId20" Type="http://schemas.openxmlformats.org/officeDocument/2006/relationships/image" Target="../media/image23.jpeg"/><Relationship Id="rId1" Type="http://schemas.openxmlformats.org/officeDocument/2006/relationships/slideLayout" Target="../slideLayouts/slideLayout29.xml"/><Relationship Id="rId6" Type="http://schemas.openxmlformats.org/officeDocument/2006/relationships/image" Target="../media/image9.png"/><Relationship Id="rId11" Type="http://schemas.openxmlformats.org/officeDocument/2006/relationships/image" Target="../media/image14.jpeg"/><Relationship Id="rId24" Type="http://schemas.openxmlformats.org/officeDocument/2006/relationships/image" Target="../media/image27.jpeg"/><Relationship Id="rId5" Type="http://schemas.openxmlformats.org/officeDocument/2006/relationships/image" Target="../media/image8.jpeg"/><Relationship Id="rId15" Type="http://schemas.openxmlformats.org/officeDocument/2006/relationships/image" Target="../media/image18.wmf"/><Relationship Id="rId23" Type="http://schemas.openxmlformats.org/officeDocument/2006/relationships/image" Target="../media/image26.jpeg"/><Relationship Id="rId10" Type="http://schemas.openxmlformats.org/officeDocument/2006/relationships/image" Target="../media/image13.png"/><Relationship Id="rId19" Type="http://schemas.openxmlformats.org/officeDocument/2006/relationships/image" Target="../media/image22.jpe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38.png"/><Relationship Id="rId18" Type="http://schemas.openxmlformats.org/officeDocument/2006/relationships/image" Target="../media/image13.png"/><Relationship Id="rId26" Type="http://schemas.openxmlformats.org/officeDocument/2006/relationships/image" Target="../media/image46.png"/><Relationship Id="rId3" Type="http://schemas.openxmlformats.org/officeDocument/2006/relationships/image" Target="../media/image30.png"/><Relationship Id="rId21" Type="http://schemas.openxmlformats.org/officeDocument/2006/relationships/image" Target="../media/image43.jpeg"/><Relationship Id="rId7" Type="http://schemas.openxmlformats.org/officeDocument/2006/relationships/image" Target="../media/image34.jpeg"/><Relationship Id="rId12" Type="http://schemas.openxmlformats.org/officeDocument/2006/relationships/image" Target="../media/image37.jpeg"/><Relationship Id="rId17" Type="http://schemas.openxmlformats.org/officeDocument/2006/relationships/image" Target="../media/image41.png"/><Relationship Id="rId25" Type="http://schemas.openxmlformats.org/officeDocument/2006/relationships/image" Target="../media/image45.png"/><Relationship Id="rId2" Type="http://schemas.openxmlformats.org/officeDocument/2006/relationships/image" Target="../media/image29.png"/><Relationship Id="rId16" Type="http://schemas.openxmlformats.org/officeDocument/2006/relationships/image" Target="../media/image18.wmf"/><Relationship Id="rId20" Type="http://schemas.openxmlformats.org/officeDocument/2006/relationships/image" Target="../media/image26.jpeg"/><Relationship Id="rId29" Type="http://schemas.openxmlformats.org/officeDocument/2006/relationships/image" Target="../media/image49.png"/><Relationship Id="rId1" Type="http://schemas.openxmlformats.org/officeDocument/2006/relationships/slideLayout" Target="../slideLayouts/slideLayout14.xml"/><Relationship Id="rId6" Type="http://schemas.openxmlformats.org/officeDocument/2006/relationships/image" Target="../media/image33.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cid:image004.jpg@01D2D870.6B062FB0" TargetMode="External"/><Relationship Id="rId5" Type="http://schemas.openxmlformats.org/officeDocument/2006/relationships/image" Target="../media/image32.png"/><Relationship Id="rId15" Type="http://schemas.openxmlformats.org/officeDocument/2006/relationships/image" Target="../media/image40.png"/><Relationship Id="rId23" Type="http://schemas.openxmlformats.org/officeDocument/2006/relationships/image" Target="../media/image27.jpeg"/><Relationship Id="rId28" Type="http://schemas.openxmlformats.org/officeDocument/2006/relationships/image" Target="../media/image48.png"/><Relationship Id="rId10" Type="http://schemas.openxmlformats.org/officeDocument/2006/relationships/image" Target="../media/image36.jpeg"/><Relationship Id="rId19" Type="http://schemas.openxmlformats.org/officeDocument/2006/relationships/image" Target="../media/image42.jpeg"/><Relationship Id="rId31" Type="http://schemas.openxmlformats.org/officeDocument/2006/relationships/image" Target="../media/image51.jpeg"/><Relationship Id="rId4" Type="http://schemas.openxmlformats.org/officeDocument/2006/relationships/image" Target="../media/image31.jpeg"/><Relationship Id="rId9" Type="http://schemas.openxmlformats.org/officeDocument/2006/relationships/image" Target="../media/image35.jpeg"/><Relationship Id="rId14" Type="http://schemas.openxmlformats.org/officeDocument/2006/relationships/image" Target="../media/image39.png"/><Relationship Id="rId22" Type="http://schemas.openxmlformats.org/officeDocument/2006/relationships/image" Target="../media/image44.png"/><Relationship Id="rId27" Type="http://schemas.openxmlformats.org/officeDocument/2006/relationships/image" Target="../media/image47.jpeg"/><Relationship Id="rId30" Type="http://schemas.openxmlformats.org/officeDocument/2006/relationships/image" Target="../media/image5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4.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84" descr="50hertzlogo_RGB"/>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60235" y="1819581"/>
            <a:ext cx="863856" cy="342360"/>
          </a:xfrm>
          <a:prstGeom prst="rect">
            <a:avLst/>
          </a:prstGeom>
          <a:noFill/>
          <a:ln>
            <a:noFill/>
          </a:ln>
          <a:extLst/>
        </p:spPr>
      </p:pic>
      <p:sp>
        <p:nvSpPr>
          <p:cNvPr id="25" name="Titre 1"/>
          <p:cNvSpPr txBox="1">
            <a:spLocks/>
          </p:cNvSpPr>
          <p:nvPr/>
        </p:nvSpPr>
        <p:spPr>
          <a:xfrm>
            <a:off x="721983" y="3073845"/>
            <a:ext cx="4752528" cy="1470025"/>
          </a:xfrm>
          <a:prstGeom prst="rect">
            <a:avLst/>
          </a:prstGeom>
        </p:spPr>
        <p:txBody>
          <a:bodyPr vert="horz" lIns="91440" tIns="45720" rIns="91440" bIns="45720" rtlCol="0" anchor="b">
            <a:no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lgn="l">
              <a:spcBef>
                <a:spcPts val="0"/>
              </a:spcBef>
            </a:pPr>
            <a:r>
              <a:rPr lang="en-US" sz="4400" b="1" dirty="0">
                <a:solidFill>
                  <a:srgbClr val="1F497D"/>
                </a:solidFill>
                <a:latin typeface="Tw Cen MT Condensed" panose="020B0606020104020203" pitchFamily="34" charset="-18"/>
                <a:cs typeface="Arial" pitchFamily="34" charset="0"/>
              </a:rPr>
              <a:t>MARI </a:t>
            </a:r>
          </a:p>
          <a:p>
            <a:pPr algn="l">
              <a:spcBef>
                <a:spcPts val="0"/>
              </a:spcBef>
            </a:pPr>
            <a:r>
              <a:rPr lang="en-US" sz="1600" dirty="0">
                <a:solidFill>
                  <a:srgbClr val="1F497D"/>
                </a:solidFill>
                <a:latin typeface="Tw Cen MT Condensed" panose="020B0606020104020203" pitchFamily="34" charset="-18"/>
                <a:cs typeface="Arial" pitchFamily="34" charset="0"/>
              </a:rPr>
              <a:t>Manually Activated Reserves Initiative </a:t>
            </a:r>
          </a:p>
          <a:p>
            <a:pPr algn="l">
              <a:spcBef>
                <a:spcPts val="0"/>
              </a:spcBef>
            </a:pPr>
            <a:r>
              <a:rPr lang="en-US" sz="4400" b="1" dirty="0">
                <a:solidFill>
                  <a:srgbClr val="1F497D"/>
                </a:solidFill>
                <a:latin typeface="Tw Cen MT Condensed" panose="020B0606020104020203" pitchFamily="34" charset="-18"/>
                <a:cs typeface="Arial" pitchFamily="34" charset="0"/>
              </a:rPr>
              <a:t/>
            </a:r>
            <a:br>
              <a:rPr lang="en-US" sz="4400" b="1" dirty="0">
                <a:solidFill>
                  <a:srgbClr val="1F497D"/>
                </a:solidFill>
                <a:latin typeface="Tw Cen MT Condensed" panose="020B0606020104020203" pitchFamily="34" charset="-18"/>
                <a:cs typeface="Arial" pitchFamily="34" charset="0"/>
              </a:rPr>
            </a:br>
            <a:endParaRPr lang="en-US" b="1" i="1" dirty="0">
              <a:solidFill>
                <a:srgbClr val="F79646"/>
              </a:solidFill>
              <a:latin typeface="Tw Cen MT Condensed" panose="020B0606020104020203" pitchFamily="34" charset="-18"/>
              <a:cs typeface="Arial" pitchFamily="34" charset="0"/>
            </a:endParaRPr>
          </a:p>
        </p:txBody>
      </p:sp>
      <p:sp>
        <p:nvSpPr>
          <p:cNvPr id="26" name="Titre 1"/>
          <p:cNvSpPr txBox="1">
            <a:spLocks/>
          </p:cNvSpPr>
          <p:nvPr/>
        </p:nvSpPr>
        <p:spPr bwMode="auto">
          <a:xfrm>
            <a:off x="721984" y="3289622"/>
            <a:ext cx="5162739" cy="2812431"/>
          </a:xfrm>
          <a:prstGeom prst="rect">
            <a:avLst/>
          </a:prstGeom>
          <a:noFill/>
          <a:ln w="9525">
            <a:noFill/>
            <a:miter lim="800000"/>
            <a:headEnd/>
            <a:tailEnd/>
          </a:ln>
        </p:spPr>
        <p:txBody>
          <a:bodyPr/>
          <a:lstStyle/>
          <a:p>
            <a:endParaRPr lang="en-US" sz="2000" b="1" i="1" dirty="0">
              <a:solidFill>
                <a:srgbClr val="DF5327"/>
              </a:solidFill>
              <a:latin typeface="Calibri Light" panose="020F0302020204030204"/>
              <a:cs typeface="Arial" pitchFamily="34" charset="0"/>
            </a:endParaRPr>
          </a:p>
          <a:p>
            <a:endParaRPr lang="en-US" sz="2000" b="1" i="1" dirty="0">
              <a:solidFill>
                <a:srgbClr val="DF5327"/>
              </a:solidFill>
              <a:latin typeface="Calibri Light" panose="020F0302020204030204"/>
              <a:cs typeface="Arial" pitchFamily="34" charset="0"/>
            </a:endParaRPr>
          </a:p>
          <a:p>
            <a:endParaRPr lang="en-US" sz="2400" b="1" dirty="0">
              <a:solidFill>
                <a:srgbClr val="000000"/>
              </a:solidFill>
              <a:latin typeface="Calibri Light" panose="020F0302020204030204"/>
              <a:cs typeface="Arial" pitchFamily="34" charset="0"/>
            </a:endParaRPr>
          </a:p>
          <a:p>
            <a:r>
              <a:rPr lang="en-US" sz="2400" b="1" dirty="0" smtClean="0">
                <a:solidFill>
                  <a:srgbClr val="000000"/>
                </a:solidFill>
                <a:latin typeface="Calibri Light" panose="020F0302020204030204"/>
                <a:cs typeface="Arial" pitchFamily="34" charset="0"/>
              </a:rPr>
              <a:t>BSG Meeting</a:t>
            </a:r>
            <a:endParaRPr lang="en-US" sz="2400" b="1" dirty="0">
              <a:solidFill>
                <a:srgbClr val="000000"/>
              </a:solidFill>
              <a:latin typeface="Calibri Light" panose="020F0302020204030204"/>
              <a:cs typeface="Arial" pitchFamily="34" charset="0"/>
            </a:endParaRPr>
          </a:p>
          <a:p>
            <a:endParaRPr lang="en-US" sz="1600" i="1" dirty="0">
              <a:solidFill>
                <a:srgbClr val="000000"/>
              </a:solidFill>
              <a:latin typeface="Calibri Light" panose="020F0302020204030204"/>
              <a:cs typeface="Arial" pitchFamily="34" charset="0"/>
            </a:endParaRPr>
          </a:p>
          <a:p>
            <a:r>
              <a:rPr lang="en-US" sz="1600" i="1" dirty="0" smtClean="0">
                <a:solidFill>
                  <a:srgbClr val="000000"/>
                </a:solidFill>
                <a:latin typeface="Calibri Light" panose="020F0302020204030204"/>
                <a:cs typeface="Arial" pitchFamily="34" charset="0"/>
              </a:rPr>
              <a:t>5 March 2018</a:t>
            </a:r>
          </a:p>
          <a:p>
            <a:r>
              <a:rPr lang="en-US" sz="1600" i="1" dirty="0" smtClean="0">
                <a:solidFill>
                  <a:srgbClr val="000000"/>
                </a:solidFill>
                <a:latin typeface="Calibri Light" panose="020F0302020204030204"/>
                <a:cs typeface="Arial" pitchFamily="34" charset="0"/>
              </a:rPr>
              <a:t>Brussels, Belgium</a:t>
            </a:r>
            <a:endParaRPr lang="en-US" sz="1600" i="1" dirty="0">
              <a:solidFill>
                <a:srgbClr val="000000"/>
              </a:solidFill>
              <a:latin typeface="Calibri Light" panose="020F0302020204030204"/>
              <a:cs typeface="Arial" pitchFamily="34" charset="0"/>
            </a:endParaRPr>
          </a:p>
        </p:txBody>
      </p:sp>
      <p:cxnSp>
        <p:nvCxnSpPr>
          <p:cNvPr id="27" name="Straight Connector 26"/>
          <p:cNvCxnSpPr/>
          <p:nvPr/>
        </p:nvCxnSpPr>
        <p:spPr>
          <a:xfrm>
            <a:off x="434898" y="6322743"/>
            <a:ext cx="11287831" cy="25293"/>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pic>
        <p:nvPicPr>
          <p:cNvPr id="33" name="Obrázek 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32441" y="2635175"/>
            <a:ext cx="588075" cy="324512"/>
          </a:xfrm>
          <a:prstGeom prst="rect">
            <a:avLst/>
          </a:prstGeom>
          <a:noFill/>
          <a:ln>
            <a:noFill/>
          </a:ln>
        </p:spPr>
      </p:pic>
      <p:pic>
        <p:nvPicPr>
          <p:cNvPr id="28" name="Grafik 23"/>
          <p:cNvPicPr/>
          <p:nvPr/>
        </p:nvPicPr>
        <p:blipFill>
          <a:blip r:embed="rId4" cstate="print">
            <a:extLst>
              <a:ext uri="{28A0092B-C50C-407E-A947-70E740481C1C}">
                <a14:useLocalDpi xmlns:a14="http://schemas.microsoft.com/office/drawing/2010/main" val="0"/>
              </a:ext>
            </a:extLst>
          </a:blip>
          <a:stretch>
            <a:fillRect/>
          </a:stretch>
        </p:blipFill>
        <p:spPr>
          <a:xfrm>
            <a:off x="9487341" y="5251760"/>
            <a:ext cx="811620" cy="156307"/>
          </a:xfrm>
          <a:prstGeom prst="rect">
            <a:avLst/>
          </a:prstGeom>
        </p:spPr>
      </p:pic>
      <p:pic>
        <p:nvPicPr>
          <p:cNvPr id="30" name="Picture 88" descr="TransnetBW_Logo_Pantone"/>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90537" y="5694130"/>
            <a:ext cx="1373857" cy="155767"/>
          </a:xfrm>
          <a:prstGeom prst="rect">
            <a:avLst/>
          </a:prstGeom>
          <a:noFill/>
          <a:ln>
            <a:noFill/>
          </a:ln>
          <a:extLst/>
        </p:spPr>
      </p:pic>
      <p:pic>
        <p:nvPicPr>
          <p:cNvPr id="32" name="Picture 82" descr="Amprion_RGB_CO_50mm"/>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40565" y="3407319"/>
            <a:ext cx="585265" cy="261232"/>
          </a:xfrm>
          <a:prstGeom prst="rect">
            <a:avLst/>
          </a:prstGeom>
          <a:noFill/>
          <a:ln>
            <a:noFill/>
          </a:ln>
          <a:extLst/>
        </p:spPr>
      </p:pic>
      <p:pic>
        <p:nvPicPr>
          <p:cNvPr id="34" name="Picture 89" descr="logo_cep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444466" y="3762682"/>
            <a:ext cx="676257" cy="253119"/>
          </a:xfrm>
          <a:prstGeom prst="rect">
            <a:avLst/>
          </a:prstGeom>
          <a:noFill/>
          <a:extLst/>
        </p:spPr>
      </p:pic>
      <p:pic>
        <p:nvPicPr>
          <p:cNvPr id="35" name="Picture 90" descr="elia_logo"/>
          <p:cNvPicPr/>
          <p:nvPr/>
        </p:nvPicPr>
        <p:blipFill>
          <a:blip r:embed="rId8">
            <a:extLst>
              <a:ext uri="{28A0092B-C50C-407E-A947-70E740481C1C}">
                <a14:useLocalDpi xmlns:a14="http://schemas.microsoft.com/office/drawing/2010/main" val="0"/>
              </a:ext>
            </a:extLst>
          </a:blip>
          <a:srcRect/>
          <a:stretch>
            <a:fillRect/>
          </a:stretch>
        </p:blipFill>
        <p:spPr bwMode="auto">
          <a:xfrm>
            <a:off x="9350476" y="4669826"/>
            <a:ext cx="794771" cy="269345"/>
          </a:xfrm>
          <a:prstGeom prst="rect">
            <a:avLst/>
          </a:prstGeom>
          <a:noFill/>
          <a:extLst/>
        </p:spPr>
      </p:pic>
      <p:pic>
        <p:nvPicPr>
          <p:cNvPr id="36" name="Obrázek 17"/>
          <p:cNvPicPr/>
          <p:nvPr/>
        </p:nvPicPr>
        <p:blipFill>
          <a:blip r:embed="rId9" cstate="print">
            <a:extLst>
              <a:ext uri="{28A0092B-C50C-407E-A947-70E740481C1C}">
                <a14:useLocalDpi xmlns:a14="http://schemas.microsoft.com/office/drawing/2010/main" val="0"/>
              </a:ext>
            </a:extLst>
          </a:blip>
          <a:stretch>
            <a:fillRect/>
          </a:stretch>
        </p:blipFill>
        <p:spPr>
          <a:xfrm>
            <a:off x="10697542" y="3163502"/>
            <a:ext cx="388679" cy="374271"/>
          </a:xfrm>
          <a:prstGeom prst="rect">
            <a:avLst/>
          </a:prstGeom>
        </p:spPr>
      </p:pic>
      <p:pic>
        <p:nvPicPr>
          <p:cNvPr id="37" name="Picture 87" descr="gfx_swissgrid_logo"/>
          <p:cNvPicPr/>
          <p:nvPr/>
        </p:nvPicPr>
        <p:blipFill>
          <a:blip r:embed="rId10">
            <a:extLst>
              <a:ext uri="{28A0092B-C50C-407E-A947-70E740481C1C}">
                <a14:useLocalDpi xmlns:a14="http://schemas.microsoft.com/office/drawing/2010/main" val="0"/>
              </a:ext>
            </a:extLst>
          </a:blip>
          <a:srcRect/>
          <a:stretch>
            <a:fillRect/>
          </a:stretch>
        </p:blipFill>
        <p:spPr bwMode="auto">
          <a:xfrm>
            <a:off x="10592124" y="4304059"/>
            <a:ext cx="815552" cy="166583"/>
          </a:xfrm>
          <a:prstGeom prst="rect">
            <a:avLst/>
          </a:prstGeom>
          <a:noFill/>
          <a:extLst/>
        </p:spPr>
      </p:pic>
      <p:pic>
        <p:nvPicPr>
          <p:cNvPr id="38" name="Picture 83" descr="Tennet_Logo"/>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670263" y="4946097"/>
            <a:ext cx="864419" cy="193625"/>
          </a:xfrm>
          <a:prstGeom prst="rect">
            <a:avLst/>
          </a:prstGeom>
          <a:noFill/>
          <a:ln>
            <a:noFill/>
          </a:ln>
          <a:extLst/>
        </p:spPr>
      </p:pic>
      <p:pic>
        <p:nvPicPr>
          <p:cNvPr id="39" name="Picture 3"/>
          <p:cNvPicPr>
            <a:picLocks noChangeAspect="1" noChangeArrowheads="1"/>
          </p:cNvPicPr>
          <p:nvPr/>
        </p:nvPicPr>
        <p:blipFill rotWithShape="1">
          <a:blip r:embed="rId12" cstate="print">
            <a:clrChange>
              <a:clrFrom>
                <a:srgbClr val="FFFFFF"/>
              </a:clrFrom>
              <a:clrTo>
                <a:srgbClr val="FFFFFF">
                  <a:alpha val="0"/>
                </a:srgbClr>
              </a:clrTo>
            </a:clrChange>
          </a:blip>
          <a:srcRect l="-1641" t="7138" r="5736" b="7138"/>
          <a:stretch/>
        </p:blipFill>
        <p:spPr bwMode="auto">
          <a:xfrm>
            <a:off x="10490537" y="1773731"/>
            <a:ext cx="1103889" cy="245300"/>
          </a:xfrm>
          <a:prstGeom prst="rect">
            <a:avLst/>
          </a:prstGeom>
          <a:noFill/>
          <a:ln w="9525">
            <a:noFill/>
            <a:miter lim="800000"/>
            <a:headEnd/>
            <a:tailEnd/>
          </a:ln>
        </p:spPr>
      </p:pic>
      <p:pic>
        <p:nvPicPr>
          <p:cNvPr id="40" name="Picture 2"/>
          <p:cNvPicPr>
            <a:picLocks noChangeAspect="1" noChangeArrowheads="1"/>
          </p:cNvPicPr>
          <p:nvPr/>
        </p:nvPicPr>
        <p:blipFill>
          <a:blip r:embed="rId13" cstate="print">
            <a:clrChange>
              <a:clrFrom>
                <a:srgbClr val="FDFDFD"/>
              </a:clrFrom>
              <a:clrTo>
                <a:srgbClr val="FDFDFD">
                  <a:alpha val="0"/>
                </a:srgbClr>
              </a:clrTo>
            </a:clrChange>
          </a:blip>
          <a:srcRect/>
          <a:stretch>
            <a:fillRect/>
          </a:stretch>
        </p:blipFill>
        <p:spPr bwMode="auto">
          <a:xfrm>
            <a:off x="10739679" y="4608409"/>
            <a:ext cx="702959" cy="275963"/>
          </a:xfrm>
          <a:prstGeom prst="rect">
            <a:avLst/>
          </a:prstGeom>
          <a:noFill/>
          <a:ln w="9525">
            <a:noFill/>
            <a:miter lim="800000"/>
            <a:headEnd/>
            <a:tailEnd/>
          </a:ln>
        </p:spPr>
      </p:pic>
      <p:pic>
        <p:nvPicPr>
          <p:cNvPr id="41" name="Picture 1"/>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9541769" y="2184393"/>
            <a:ext cx="442871" cy="337288"/>
          </a:xfrm>
          <a:prstGeom prst="rect">
            <a:avLst/>
          </a:prstGeom>
          <a:noFill/>
          <a:ln w="9525">
            <a:noFill/>
            <a:miter lim="800000"/>
            <a:headEnd/>
            <a:tailEnd/>
          </a:ln>
        </p:spPr>
      </p:pic>
      <p:pic>
        <p:nvPicPr>
          <p:cNvPr id="42" name="Imagen 10"/>
          <p:cNvPicPr>
            <a:picLocks noChangeAspect="1"/>
          </p:cNvPicPr>
          <p:nvPr/>
        </p:nvPicPr>
        <p:blipFill>
          <a:blip r:embed="rId15"/>
          <a:srcRect/>
          <a:stretch>
            <a:fillRect/>
          </a:stretch>
        </p:blipFill>
        <p:spPr bwMode="auto">
          <a:xfrm>
            <a:off x="10594329" y="2451225"/>
            <a:ext cx="896303" cy="260631"/>
          </a:xfrm>
          <a:prstGeom prst="rect">
            <a:avLst/>
          </a:prstGeom>
          <a:noFill/>
          <a:ln w="9525">
            <a:noFill/>
            <a:miter lim="800000"/>
            <a:headEnd/>
            <a:tailEnd/>
          </a:ln>
        </p:spPr>
      </p:pic>
      <p:pic>
        <p:nvPicPr>
          <p:cNvPr id="43" name="Picture 2" descr="C:\Users\R998947\Desktop\Alles\mFRR_Gross\Orga\logo_liggande_76-160mm150dpi_black_eng.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544455" y="3911826"/>
            <a:ext cx="821747" cy="2453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393515" y="4990353"/>
            <a:ext cx="1024816" cy="1300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601520" y="2883552"/>
            <a:ext cx="732389" cy="196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630950" y="3639806"/>
            <a:ext cx="683236" cy="137607"/>
          </a:xfrm>
          <a:prstGeom prst="rect">
            <a:avLst/>
          </a:prstGeom>
        </p:spPr>
      </p:pic>
      <p:pic>
        <p:nvPicPr>
          <p:cNvPr id="29" name="Picture 28"/>
          <p:cNvPicPr/>
          <p:nvPr/>
        </p:nvPicPr>
        <p:blipFill>
          <a:blip r:embed="rId20" cstate="print">
            <a:extLst>
              <a:ext uri="{28A0092B-C50C-407E-A947-70E740481C1C}">
                <a14:useLocalDpi xmlns:a14="http://schemas.microsoft.com/office/drawing/2010/main" val="0"/>
              </a:ext>
            </a:extLst>
          </a:blip>
          <a:stretch>
            <a:fillRect/>
          </a:stretch>
        </p:blipFill>
        <p:spPr>
          <a:xfrm>
            <a:off x="9501923" y="4097941"/>
            <a:ext cx="482716" cy="207655"/>
          </a:xfrm>
          <a:prstGeom prst="rect">
            <a:avLst/>
          </a:prstGeom>
        </p:spPr>
      </p:pic>
      <p:pic>
        <p:nvPicPr>
          <p:cNvPr id="46" name="Picture 9"/>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2781" t="52388" r="79235" b="38337"/>
          <a:stretch/>
        </p:blipFill>
        <p:spPr bwMode="auto">
          <a:xfrm>
            <a:off x="9489641" y="3022749"/>
            <a:ext cx="497392" cy="325456"/>
          </a:xfrm>
          <a:prstGeom prst="rect">
            <a:avLst/>
          </a:prstGeom>
          <a:noFill/>
          <a:extLst>
            <a:ext uri="{909E8E84-426E-40DD-AFC4-6F175D3DCCD1}">
              <a14:hiddenFill xmlns:a14="http://schemas.microsoft.com/office/drawing/2010/main">
                <a:solidFill>
                  <a:srgbClr val="FFFFFF"/>
                </a:solidFill>
              </a14:hiddenFill>
            </a:ext>
          </a:extLst>
        </p:spPr>
      </p:pic>
      <p:pic>
        <p:nvPicPr>
          <p:cNvPr id="47" name="Obraz 2"/>
          <p:cNvPicPr/>
          <p:nvPr/>
        </p:nvPicPr>
        <p:blipFill rotWithShape="1">
          <a:blip r:embed="rId22" cstate="print">
            <a:extLst>
              <a:ext uri="{28A0092B-C50C-407E-A947-70E740481C1C}">
                <a14:useLocalDpi xmlns:a14="http://schemas.microsoft.com/office/drawing/2010/main" val="0"/>
              </a:ext>
            </a:extLst>
          </a:blip>
          <a:srcRect l="60508" t="17284" r="27059" b="16193"/>
          <a:stretch/>
        </p:blipFill>
        <p:spPr bwMode="auto">
          <a:xfrm>
            <a:off x="10593837" y="2054725"/>
            <a:ext cx="508635" cy="213995"/>
          </a:xfrm>
          <a:prstGeom prst="rect">
            <a:avLst/>
          </a:prstGeom>
          <a:noFill/>
          <a:ln>
            <a:noFill/>
          </a:ln>
          <a:extLst>
            <a:ext uri="{53640926-AAD7-44D8-BBD7-CCE9431645EC}">
              <a14:shadowObscured xmlns:a14="http://schemas.microsoft.com/office/drawing/2010/main"/>
            </a:ext>
          </a:extLst>
        </p:spPr>
      </p:pic>
      <p:pic>
        <p:nvPicPr>
          <p:cNvPr id="48" name="Picture 47"/>
          <p:cNvPicPr/>
          <p:nvPr/>
        </p:nvPicPr>
        <p:blipFill>
          <a:blip r:embed="rId23" cstate="print">
            <a:extLst>
              <a:ext uri="{28A0092B-C50C-407E-A947-70E740481C1C}">
                <a14:useLocalDpi xmlns:a14="http://schemas.microsoft.com/office/drawing/2010/main" val="0"/>
              </a:ext>
            </a:extLst>
          </a:blip>
          <a:stretch>
            <a:fillRect/>
          </a:stretch>
        </p:blipFill>
        <p:spPr>
          <a:xfrm>
            <a:off x="9449567" y="4391022"/>
            <a:ext cx="666064" cy="243247"/>
          </a:xfrm>
          <a:prstGeom prst="rect">
            <a:avLst/>
          </a:prstGeom>
        </p:spPr>
      </p:pic>
      <p:pic>
        <p:nvPicPr>
          <p:cNvPr id="49" name="Picture 48" descr="Litgrid_CMYK_sodri_melyna_300"/>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637451" y="5509956"/>
            <a:ext cx="257100" cy="325061"/>
          </a:xfrm>
          <a:prstGeom prst="rect">
            <a:avLst/>
          </a:prstGeom>
          <a:noFill/>
        </p:spPr>
      </p:pic>
      <p:pic>
        <p:nvPicPr>
          <p:cNvPr id="50" name="Picture 49"/>
          <p:cNvPicPr/>
          <p:nvPr/>
        </p:nvPicPr>
        <p:blipFill>
          <a:blip r:embed="rId25" cstate="print">
            <a:extLst>
              <a:ext uri="{28A0092B-C50C-407E-A947-70E740481C1C}">
                <a14:useLocalDpi xmlns:a14="http://schemas.microsoft.com/office/drawing/2010/main" val="0"/>
              </a:ext>
            </a:extLst>
          </a:blip>
          <a:stretch>
            <a:fillRect/>
          </a:stretch>
        </p:blipFill>
        <p:spPr>
          <a:xfrm>
            <a:off x="10732676" y="5225207"/>
            <a:ext cx="371705" cy="358579"/>
          </a:xfrm>
          <a:prstGeom prst="rect">
            <a:avLst/>
          </a:prstGeom>
        </p:spPr>
      </p:pic>
      <p:grpSp>
        <p:nvGrpSpPr>
          <p:cNvPr id="182" name="Group 1"/>
          <p:cNvGrpSpPr>
            <a:grpSpLocks/>
          </p:cNvGrpSpPr>
          <p:nvPr/>
        </p:nvGrpSpPr>
        <p:grpSpPr bwMode="auto">
          <a:xfrm>
            <a:off x="5135870" y="1614347"/>
            <a:ext cx="4091369" cy="4108408"/>
            <a:chOff x="1350963" y="784225"/>
            <a:chExt cx="4824412" cy="5341938"/>
          </a:xfrm>
          <a:solidFill>
            <a:srgbClr val="B4C8E6"/>
          </a:solidFill>
        </p:grpSpPr>
        <p:sp>
          <p:nvSpPr>
            <p:cNvPr id="183" name="Freeform 75"/>
            <p:cNvSpPr>
              <a:spLocks/>
            </p:cNvSpPr>
            <p:nvPr/>
          </p:nvSpPr>
          <p:spPr bwMode="auto">
            <a:xfrm>
              <a:off x="1562101" y="4843463"/>
              <a:ext cx="1506537" cy="1212850"/>
            </a:xfrm>
            <a:custGeom>
              <a:avLst/>
              <a:gdLst>
                <a:gd name="T0" fmla="*/ 2147483647 w 2002"/>
                <a:gd name="T1" fmla="*/ 2147483647 h 1769"/>
                <a:gd name="T2" fmla="*/ 2147483647 w 2002"/>
                <a:gd name="T3" fmla="*/ 2147483647 h 1769"/>
                <a:gd name="T4" fmla="*/ 2147483647 w 2002"/>
                <a:gd name="T5" fmla="*/ 2147483647 h 1769"/>
                <a:gd name="T6" fmla="*/ 2147483647 w 2002"/>
                <a:gd name="T7" fmla="*/ 2147483647 h 1769"/>
                <a:gd name="T8" fmla="*/ 2147483647 w 2002"/>
                <a:gd name="T9" fmla="*/ 2147483647 h 1769"/>
                <a:gd name="T10" fmla="*/ 2147483647 w 2002"/>
                <a:gd name="T11" fmla="*/ 2147483647 h 1769"/>
                <a:gd name="T12" fmla="*/ 2147483647 w 2002"/>
                <a:gd name="T13" fmla="*/ 2147483647 h 1769"/>
                <a:gd name="T14" fmla="*/ 2147483647 w 2002"/>
                <a:gd name="T15" fmla="*/ 2147483647 h 1769"/>
                <a:gd name="T16" fmla="*/ 2147483647 w 2002"/>
                <a:gd name="T17" fmla="*/ 2147483647 h 1769"/>
                <a:gd name="T18" fmla="*/ 2147483647 w 2002"/>
                <a:gd name="T19" fmla="*/ 2147483647 h 1769"/>
                <a:gd name="T20" fmla="*/ 2147483647 w 2002"/>
                <a:gd name="T21" fmla="*/ 2147483647 h 1769"/>
                <a:gd name="T22" fmla="*/ 2147483647 w 2002"/>
                <a:gd name="T23" fmla="*/ 2147483647 h 1769"/>
                <a:gd name="T24" fmla="*/ 2147483647 w 2002"/>
                <a:gd name="T25" fmla="*/ 2147483647 h 1769"/>
                <a:gd name="T26" fmla="*/ 2147483647 w 2002"/>
                <a:gd name="T27" fmla="*/ 2147483647 h 1769"/>
                <a:gd name="T28" fmla="*/ 2147483647 w 2002"/>
                <a:gd name="T29" fmla="*/ 2147483647 h 1769"/>
                <a:gd name="T30" fmla="*/ 2147483647 w 2002"/>
                <a:gd name="T31" fmla="*/ 2147483647 h 1769"/>
                <a:gd name="T32" fmla="*/ 2147483647 w 2002"/>
                <a:gd name="T33" fmla="*/ 2147483647 h 1769"/>
                <a:gd name="T34" fmla="*/ 2147483647 w 2002"/>
                <a:gd name="T35" fmla="*/ 2147483647 h 1769"/>
                <a:gd name="T36" fmla="*/ 2147483647 w 2002"/>
                <a:gd name="T37" fmla="*/ 2147483647 h 1769"/>
                <a:gd name="T38" fmla="*/ 2147483647 w 2002"/>
                <a:gd name="T39" fmla="*/ 2147483647 h 1769"/>
                <a:gd name="T40" fmla="*/ 2147483647 w 2002"/>
                <a:gd name="T41" fmla="*/ 2147483647 h 1769"/>
                <a:gd name="T42" fmla="*/ 2147483647 w 2002"/>
                <a:gd name="T43" fmla="*/ 2147483647 h 1769"/>
                <a:gd name="T44" fmla="*/ 2147483647 w 2002"/>
                <a:gd name="T45" fmla="*/ 2147483647 h 1769"/>
                <a:gd name="T46" fmla="*/ 2147483647 w 2002"/>
                <a:gd name="T47" fmla="*/ 2147483647 h 1769"/>
                <a:gd name="T48" fmla="*/ 2147483647 w 2002"/>
                <a:gd name="T49" fmla="*/ 2147483647 h 1769"/>
                <a:gd name="T50" fmla="*/ 2147483647 w 2002"/>
                <a:gd name="T51" fmla="*/ 2147483647 h 1769"/>
                <a:gd name="T52" fmla="*/ 2147483647 w 2002"/>
                <a:gd name="T53" fmla="*/ 2147483647 h 1769"/>
                <a:gd name="T54" fmla="*/ 2147483647 w 2002"/>
                <a:gd name="T55" fmla="*/ 2147483647 h 1769"/>
                <a:gd name="T56" fmla="*/ 2147483647 w 2002"/>
                <a:gd name="T57" fmla="*/ 2147483647 h 1769"/>
                <a:gd name="T58" fmla="*/ 2147483647 w 2002"/>
                <a:gd name="T59" fmla="*/ 2147483647 h 1769"/>
                <a:gd name="T60" fmla="*/ 2147483647 w 2002"/>
                <a:gd name="T61" fmla="*/ 2147483647 h 1769"/>
                <a:gd name="T62" fmla="*/ 2147483647 w 2002"/>
                <a:gd name="T63" fmla="*/ 2147483647 h 1769"/>
                <a:gd name="T64" fmla="*/ 2147483647 w 2002"/>
                <a:gd name="T65" fmla="*/ 2147483647 h 1769"/>
                <a:gd name="T66" fmla="*/ 2147483647 w 2002"/>
                <a:gd name="T67" fmla="*/ 2147483647 h 1769"/>
                <a:gd name="T68" fmla="*/ 2147483647 w 2002"/>
                <a:gd name="T69" fmla="*/ 2147483647 h 1769"/>
                <a:gd name="T70" fmla="*/ 2147483647 w 2002"/>
                <a:gd name="T71" fmla="*/ 2147483647 h 1769"/>
                <a:gd name="T72" fmla="*/ 2147483647 w 2002"/>
                <a:gd name="T73" fmla="*/ 2147483647 h 1769"/>
                <a:gd name="T74" fmla="*/ 2147483647 w 2002"/>
                <a:gd name="T75" fmla="*/ 2147483647 h 1769"/>
                <a:gd name="T76" fmla="*/ 2147483647 w 2002"/>
                <a:gd name="T77" fmla="*/ 2147483647 h 1769"/>
                <a:gd name="T78" fmla="*/ 2147483647 w 2002"/>
                <a:gd name="T79" fmla="*/ 2147483647 h 1769"/>
                <a:gd name="T80" fmla="*/ 2147483647 w 2002"/>
                <a:gd name="T81" fmla="*/ 2147483647 h 1769"/>
                <a:gd name="T82" fmla="*/ 2147483647 w 2002"/>
                <a:gd name="T83" fmla="*/ 2147483647 h 1769"/>
                <a:gd name="T84" fmla="*/ 2147483647 w 2002"/>
                <a:gd name="T85" fmla="*/ 2147483647 h 1769"/>
                <a:gd name="T86" fmla="*/ 2147483647 w 2002"/>
                <a:gd name="T87" fmla="*/ 2147483647 h 1769"/>
                <a:gd name="T88" fmla="*/ 2147483647 w 2002"/>
                <a:gd name="T89" fmla="*/ 2147483647 h 1769"/>
                <a:gd name="T90" fmla="*/ 2147483647 w 2002"/>
                <a:gd name="T91" fmla="*/ 2147483647 h 1769"/>
                <a:gd name="T92" fmla="*/ 2147483647 w 2002"/>
                <a:gd name="T93" fmla="*/ 2147483647 h 1769"/>
                <a:gd name="T94" fmla="*/ 2147483647 w 2002"/>
                <a:gd name="T95" fmla="*/ 2147483647 h 1769"/>
                <a:gd name="T96" fmla="*/ 2147483647 w 2002"/>
                <a:gd name="T97" fmla="*/ 2147483647 h 1769"/>
                <a:gd name="T98" fmla="*/ 2147483647 w 2002"/>
                <a:gd name="T99" fmla="*/ 2147483647 h 1769"/>
                <a:gd name="T100" fmla="*/ 2147483647 w 2002"/>
                <a:gd name="T101" fmla="*/ 2147483647 h 176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2"/>
                <a:gd name="T154" fmla="*/ 0 h 1769"/>
                <a:gd name="T155" fmla="*/ 2002 w 2002"/>
                <a:gd name="T156" fmla="*/ 1769 h 176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2" h="1769">
                  <a:moveTo>
                    <a:pt x="1981" y="589"/>
                  </a:moveTo>
                  <a:lnTo>
                    <a:pt x="1975" y="589"/>
                  </a:lnTo>
                  <a:lnTo>
                    <a:pt x="2002" y="606"/>
                  </a:lnTo>
                  <a:lnTo>
                    <a:pt x="2002" y="622"/>
                  </a:lnTo>
                  <a:lnTo>
                    <a:pt x="1975" y="628"/>
                  </a:lnTo>
                  <a:lnTo>
                    <a:pt x="1969" y="644"/>
                  </a:lnTo>
                  <a:lnTo>
                    <a:pt x="1981" y="684"/>
                  </a:lnTo>
                  <a:lnTo>
                    <a:pt x="1969" y="711"/>
                  </a:lnTo>
                  <a:lnTo>
                    <a:pt x="1898" y="754"/>
                  </a:lnTo>
                  <a:lnTo>
                    <a:pt x="1815" y="782"/>
                  </a:lnTo>
                  <a:lnTo>
                    <a:pt x="1792" y="809"/>
                  </a:lnTo>
                  <a:lnTo>
                    <a:pt x="1726" y="826"/>
                  </a:lnTo>
                  <a:lnTo>
                    <a:pt x="1632" y="837"/>
                  </a:lnTo>
                  <a:lnTo>
                    <a:pt x="1577" y="854"/>
                  </a:lnTo>
                  <a:lnTo>
                    <a:pt x="1553" y="869"/>
                  </a:lnTo>
                  <a:lnTo>
                    <a:pt x="1539" y="892"/>
                  </a:lnTo>
                  <a:lnTo>
                    <a:pt x="1560" y="903"/>
                  </a:lnTo>
                  <a:lnTo>
                    <a:pt x="1539" y="943"/>
                  </a:lnTo>
                  <a:lnTo>
                    <a:pt x="1511" y="937"/>
                  </a:lnTo>
                  <a:lnTo>
                    <a:pt x="1488" y="968"/>
                  </a:lnTo>
                  <a:lnTo>
                    <a:pt x="1467" y="1008"/>
                  </a:lnTo>
                  <a:lnTo>
                    <a:pt x="1401" y="1058"/>
                  </a:lnTo>
                  <a:lnTo>
                    <a:pt x="1356" y="1107"/>
                  </a:lnTo>
                  <a:lnTo>
                    <a:pt x="1318" y="1157"/>
                  </a:lnTo>
                  <a:lnTo>
                    <a:pt x="1317" y="1181"/>
                  </a:lnTo>
                  <a:lnTo>
                    <a:pt x="1320" y="1213"/>
                  </a:lnTo>
                  <a:lnTo>
                    <a:pt x="1333" y="1272"/>
                  </a:lnTo>
                  <a:lnTo>
                    <a:pt x="1350" y="1311"/>
                  </a:lnTo>
                  <a:lnTo>
                    <a:pt x="1373" y="1311"/>
                  </a:lnTo>
                  <a:lnTo>
                    <a:pt x="1389" y="1344"/>
                  </a:lnTo>
                  <a:lnTo>
                    <a:pt x="1357" y="1368"/>
                  </a:lnTo>
                  <a:lnTo>
                    <a:pt x="1329" y="1389"/>
                  </a:lnTo>
                  <a:lnTo>
                    <a:pt x="1295" y="1389"/>
                  </a:lnTo>
                  <a:lnTo>
                    <a:pt x="1257" y="1421"/>
                  </a:lnTo>
                  <a:lnTo>
                    <a:pt x="1218" y="1471"/>
                  </a:lnTo>
                  <a:lnTo>
                    <a:pt x="1190" y="1537"/>
                  </a:lnTo>
                  <a:lnTo>
                    <a:pt x="1195" y="1576"/>
                  </a:lnTo>
                  <a:lnTo>
                    <a:pt x="1168" y="1582"/>
                  </a:lnTo>
                  <a:lnTo>
                    <a:pt x="1135" y="1565"/>
                  </a:lnTo>
                  <a:lnTo>
                    <a:pt x="1112" y="1570"/>
                  </a:lnTo>
                  <a:lnTo>
                    <a:pt x="1074" y="1570"/>
                  </a:lnTo>
                  <a:lnTo>
                    <a:pt x="1019" y="1603"/>
                  </a:lnTo>
                  <a:lnTo>
                    <a:pt x="980" y="1663"/>
                  </a:lnTo>
                  <a:lnTo>
                    <a:pt x="954" y="1703"/>
                  </a:lnTo>
                  <a:lnTo>
                    <a:pt x="919" y="1730"/>
                  </a:lnTo>
                  <a:lnTo>
                    <a:pt x="897" y="1703"/>
                  </a:lnTo>
                  <a:lnTo>
                    <a:pt x="853" y="1697"/>
                  </a:lnTo>
                  <a:lnTo>
                    <a:pt x="831" y="1718"/>
                  </a:lnTo>
                  <a:lnTo>
                    <a:pt x="804" y="1718"/>
                  </a:lnTo>
                  <a:lnTo>
                    <a:pt x="770" y="1697"/>
                  </a:lnTo>
                  <a:lnTo>
                    <a:pt x="739" y="1688"/>
                  </a:lnTo>
                  <a:lnTo>
                    <a:pt x="704" y="1686"/>
                  </a:lnTo>
                  <a:lnTo>
                    <a:pt x="687" y="1697"/>
                  </a:lnTo>
                  <a:lnTo>
                    <a:pt x="655" y="1675"/>
                  </a:lnTo>
                  <a:lnTo>
                    <a:pt x="583" y="1669"/>
                  </a:lnTo>
                  <a:lnTo>
                    <a:pt x="545" y="1661"/>
                  </a:lnTo>
                  <a:lnTo>
                    <a:pt x="524" y="1657"/>
                  </a:lnTo>
                  <a:lnTo>
                    <a:pt x="505" y="1658"/>
                  </a:lnTo>
                  <a:lnTo>
                    <a:pt x="461" y="1697"/>
                  </a:lnTo>
                  <a:lnTo>
                    <a:pt x="428" y="1694"/>
                  </a:lnTo>
                  <a:lnTo>
                    <a:pt x="389" y="1686"/>
                  </a:lnTo>
                  <a:lnTo>
                    <a:pt x="351" y="1697"/>
                  </a:lnTo>
                  <a:lnTo>
                    <a:pt x="317" y="1736"/>
                  </a:lnTo>
                  <a:lnTo>
                    <a:pt x="262" y="1769"/>
                  </a:lnTo>
                  <a:lnTo>
                    <a:pt x="240" y="1751"/>
                  </a:lnTo>
                  <a:lnTo>
                    <a:pt x="218" y="1724"/>
                  </a:lnTo>
                  <a:lnTo>
                    <a:pt x="190" y="1707"/>
                  </a:lnTo>
                  <a:lnTo>
                    <a:pt x="173" y="1669"/>
                  </a:lnTo>
                  <a:lnTo>
                    <a:pt x="179" y="1625"/>
                  </a:lnTo>
                  <a:lnTo>
                    <a:pt x="157" y="1586"/>
                  </a:lnTo>
                  <a:lnTo>
                    <a:pt x="173" y="1542"/>
                  </a:lnTo>
                  <a:lnTo>
                    <a:pt x="157" y="1523"/>
                  </a:lnTo>
                  <a:lnTo>
                    <a:pt x="135" y="1505"/>
                  </a:lnTo>
                  <a:lnTo>
                    <a:pt x="102" y="1466"/>
                  </a:lnTo>
                  <a:lnTo>
                    <a:pt x="69" y="1438"/>
                  </a:lnTo>
                  <a:lnTo>
                    <a:pt x="9" y="1432"/>
                  </a:lnTo>
                  <a:lnTo>
                    <a:pt x="0" y="1396"/>
                  </a:lnTo>
                  <a:lnTo>
                    <a:pt x="0" y="1374"/>
                  </a:lnTo>
                  <a:lnTo>
                    <a:pt x="3" y="1355"/>
                  </a:lnTo>
                  <a:lnTo>
                    <a:pt x="30" y="1311"/>
                  </a:lnTo>
                  <a:lnTo>
                    <a:pt x="75" y="1278"/>
                  </a:lnTo>
                  <a:lnTo>
                    <a:pt x="113" y="1273"/>
                  </a:lnTo>
                  <a:lnTo>
                    <a:pt x="135" y="1234"/>
                  </a:lnTo>
                  <a:lnTo>
                    <a:pt x="107" y="1223"/>
                  </a:lnTo>
                  <a:lnTo>
                    <a:pt x="85" y="1168"/>
                  </a:lnTo>
                  <a:lnTo>
                    <a:pt x="113" y="1102"/>
                  </a:lnTo>
                  <a:lnTo>
                    <a:pt x="157" y="1085"/>
                  </a:lnTo>
                  <a:lnTo>
                    <a:pt x="185" y="1047"/>
                  </a:lnTo>
                  <a:lnTo>
                    <a:pt x="166" y="1028"/>
                  </a:lnTo>
                  <a:lnTo>
                    <a:pt x="145" y="1013"/>
                  </a:lnTo>
                  <a:lnTo>
                    <a:pt x="142" y="980"/>
                  </a:lnTo>
                  <a:lnTo>
                    <a:pt x="141" y="957"/>
                  </a:lnTo>
                  <a:lnTo>
                    <a:pt x="133" y="943"/>
                  </a:lnTo>
                  <a:lnTo>
                    <a:pt x="118" y="910"/>
                  </a:lnTo>
                  <a:lnTo>
                    <a:pt x="145" y="904"/>
                  </a:lnTo>
                  <a:lnTo>
                    <a:pt x="179" y="909"/>
                  </a:lnTo>
                  <a:lnTo>
                    <a:pt x="207" y="915"/>
                  </a:lnTo>
                  <a:lnTo>
                    <a:pt x="213" y="887"/>
                  </a:lnTo>
                  <a:lnTo>
                    <a:pt x="240" y="854"/>
                  </a:lnTo>
                  <a:lnTo>
                    <a:pt x="232" y="826"/>
                  </a:lnTo>
                  <a:lnTo>
                    <a:pt x="224" y="799"/>
                  </a:lnTo>
                  <a:lnTo>
                    <a:pt x="273" y="782"/>
                  </a:lnTo>
                  <a:lnTo>
                    <a:pt x="279" y="727"/>
                  </a:lnTo>
                  <a:lnTo>
                    <a:pt x="290" y="684"/>
                  </a:lnTo>
                  <a:lnTo>
                    <a:pt x="302" y="616"/>
                  </a:lnTo>
                  <a:lnTo>
                    <a:pt x="341" y="596"/>
                  </a:lnTo>
                  <a:lnTo>
                    <a:pt x="356" y="589"/>
                  </a:lnTo>
                  <a:lnTo>
                    <a:pt x="399" y="566"/>
                  </a:lnTo>
                  <a:lnTo>
                    <a:pt x="428" y="529"/>
                  </a:lnTo>
                  <a:lnTo>
                    <a:pt x="411" y="507"/>
                  </a:lnTo>
                  <a:lnTo>
                    <a:pt x="378" y="507"/>
                  </a:lnTo>
                  <a:lnTo>
                    <a:pt x="372" y="485"/>
                  </a:lnTo>
                  <a:lnTo>
                    <a:pt x="389" y="468"/>
                  </a:lnTo>
                  <a:lnTo>
                    <a:pt x="389" y="435"/>
                  </a:lnTo>
                  <a:lnTo>
                    <a:pt x="339" y="429"/>
                  </a:lnTo>
                  <a:lnTo>
                    <a:pt x="296" y="414"/>
                  </a:lnTo>
                  <a:lnTo>
                    <a:pt x="257" y="431"/>
                  </a:lnTo>
                  <a:lnTo>
                    <a:pt x="207" y="419"/>
                  </a:lnTo>
                  <a:lnTo>
                    <a:pt x="179" y="397"/>
                  </a:lnTo>
                  <a:lnTo>
                    <a:pt x="130" y="413"/>
                  </a:lnTo>
                  <a:lnTo>
                    <a:pt x="124" y="391"/>
                  </a:lnTo>
                  <a:lnTo>
                    <a:pt x="145" y="359"/>
                  </a:lnTo>
                  <a:lnTo>
                    <a:pt x="141" y="336"/>
                  </a:lnTo>
                  <a:lnTo>
                    <a:pt x="102" y="343"/>
                  </a:lnTo>
                  <a:lnTo>
                    <a:pt x="69" y="336"/>
                  </a:lnTo>
                  <a:lnTo>
                    <a:pt x="19" y="363"/>
                  </a:lnTo>
                  <a:lnTo>
                    <a:pt x="13" y="325"/>
                  </a:lnTo>
                  <a:lnTo>
                    <a:pt x="35" y="298"/>
                  </a:lnTo>
                  <a:lnTo>
                    <a:pt x="69" y="270"/>
                  </a:lnTo>
                  <a:lnTo>
                    <a:pt x="41" y="259"/>
                  </a:lnTo>
                  <a:lnTo>
                    <a:pt x="30" y="242"/>
                  </a:lnTo>
                  <a:lnTo>
                    <a:pt x="58" y="221"/>
                  </a:lnTo>
                  <a:lnTo>
                    <a:pt x="69" y="199"/>
                  </a:lnTo>
                  <a:lnTo>
                    <a:pt x="47" y="193"/>
                  </a:lnTo>
                  <a:lnTo>
                    <a:pt x="24" y="209"/>
                  </a:lnTo>
                  <a:lnTo>
                    <a:pt x="19" y="187"/>
                  </a:lnTo>
                  <a:lnTo>
                    <a:pt x="58" y="166"/>
                  </a:lnTo>
                  <a:lnTo>
                    <a:pt x="24" y="160"/>
                  </a:lnTo>
                  <a:lnTo>
                    <a:pt x="30" y="132"/>
                  </a:lnTo>
                  <a:lnTo>
                    <a:pt x="7" y="111"/>
                  </a:lnTo>
                  <a:lnTo>
                    <a:pt x="24" y="77"/>
                  </a:lnTo>
                  <a:lnTo>
                    <a:pt x="63" y="77"/>
                  </a:lnTo>
                  <a:lnTo>
                    <a:pt x="69" y="66"/>
                  </a:lnTo>
                  <a:lnTo>
                    <a:pt x="83" y="63"/>
                  </a:lnTo>
                  <a:lnTo>
                    <a:pt x="105" y="64"/>
                  </a:lnTo>
                  <a:lnTo>
                    <a:pt x="145" y="72"/>
                  </a:lnTo>
                  <a:lnTo>
                    <a:pt x="218" y="72"/>
                  </a:lnTo>
                  <a:lnTo>
                    <a:pt x="196" y="45"/>
                  </a:lnTo>
                  <a:lnTo>
                    <a:pt x="228" y="28"/>
                  </a:lnTo>
                  <a:lnTo>
                    <a:pt x="262" y="0"/>
                  </a:lnTo>
                  <a:lnTo>
                    <a:pt x="279" y="17"/>
                  </a:lnTo>
                  <a:lnTo>
                    <a:pt x="328" y="17"/>
                  </a:lnTo>
                  <a:lnTo>
                    <a:pt x="344" y="40"/>
                  </a:lnTo>
                  <a:lnTo>
                    <a:pt x="360" y="67"/>
                  </a:lnTo>
                  <a:lnTo>
                    <a:pt x="417" y="83"/>
                  </a:lnTo>
                  <a:lnTo>
                    <a:pt x="532" y="105"/>
                  </a:lnTo>
                  <a:lnTo>
                    <a:pt x="568" y="105"/>
                  </a:lnTo>
                  <a:lnTo>
                    <a:pt x="604" y="111"/>
                  </a:lnTo>
                  <a:lnTo>
                    <a:pt x="687" y="166"/>
                  </a:lnTo>
                  <a:lnTo>
                    <a:pt x="836" y="209"/>
                  </a:lnTo>
                  <a:lnTo>
                    <a:pt x="893" y="198"/>
                  </a:lnTo>
                  <a:lnTo>
                    <a:pt x="923" y="193"/>
                  </a:lnTo>
                  <a:lnTo>
                    <a:pt x="947" y="198"/>
                  </a:lnTo>
                  <a:lnTo>
                    <a:pt x="959" y="232"/>
                  </a:lnTo>
                  <a:lnTo>
                    <a:pt x="1014" y="259"/>
                  </a:lnTo>
                  <a:lnTo>
                    <a:pt x="1052" y="236"/>
                  </a:lnTo>
                  <a:lnTo>
                    <a:pt x="1086" y="256"/>
                  </a:lnTo>
                  <a:lnTo>
                    <a:pt x="1118" y="281"/>
                  </a:lnTo>
                  <a:lnTo>
                    <a:pt x="1166" y="283"/>
                  </a:lnTo>
                  <a:lnTo>
                    <a:pt x="1201" y="281"/>
                  </a:lnTo>
                  <a:lnTo>
                    <a:pt x="1229" y="308"/>
                  </a:lnTo>
                  <a:lnTo>
                    <a:pt x="1257" y="308"/>
                  </a:lnTo>
                  <a:lnTo>
                    <a:pt x="1267" y="319"/>
                  </a:lnTo>
                  <a:lnTo>
                    <a:pt x="1263" y="347"/>
                  </a:lnTo>
                  <a:lnTo>
                    <a:pt x="1301" y="369"/>
                  </a:lnTo>
                  <a:lnTo>
                    <a:pt x="1333" y="397"/>
                  </a:lnTo>
                  <a:lnTo>
                    <a:pt x="1361" y="397"/>
                  </a:lnTo>
                  <a:lnTo>
                    <a:pt x="1389" y="440"/>
                  </a:lnTo>
                  <a:lnTo>
                    <a:pt x="1439" y="429"/>
                  </a:lnTo>
                  <a:lnTo>
                    <a:pt x="1478" y="468"/>
                  </a:lnTo>
                  <a:lnTo>
                    <a:pt x="1499" y="468"/>
                  </a:lnTo>
                  <a:lnTo>
                    <a:pt x="1539" y="480"/>
                  </a:lnTo>
                  <a:lnTo>
                    <a:pt x="1588" y="480"/>
                  </a:lnTo>
                  <a:lnTo>
                    <a:pt x="1599" y="458"/>
                  </a:lnTo>
                  <a:lnTo>
                    <a:pt x="1618" y="456"/>
                  </a:lnTo>
                  <a:lnTo>
                    <a:pt x="1642" y="463"/>
                  </a:lnTo>
                  <a:lnTo>
                    <a:pt x="1687" y="485"/>
                  </a:lnTo>
                  <a:lnTo>
                    <a:pt x="1695" y="494"/>
                  </a:lnTo>
                  <a:lnTo>
                    <a:pt x="1701" y="503"/>
                  </a:lnTo>
                  <a:lnTo>
                    <a:pt x="1701" y="521"/>
                  </a:lnTo>
                  <a:lnTo>
                    <a:pt x="1699" y="540"/>
                  </a:lnTo>
                  <a:lnTo>
                    <a:pt x="1700" y="558"/>
                  </a:lnTo>
                  <a:lnTo>
                    <a:pt x="1725" y="559"/>
                  </a:lnTo>
                  <a:lnTo>
                    <a:pt x="1743" y="553"/>
                  </a:lnTo>
                  <a:lnTo>
                    <a:pt x="1759" y="543"/>
                  </a:lnTo>
                  <a:lnTo>
                    <a:pt x="1775" y="564"/>
                  </a:lnTo>
                  <a:lnTo>
                    <a:pt x="1803" y="578"/>
                  </a:lnTo>
                  <a:lnTo>
                    <a:pt x="1820" y="567"/>
                  </a:lnTo>
                  <a:lnTo>
                    <a:pt x="1843" y="567"/>
                  </a:lnTo>
                  <a:lnTo>
                    <a:pt x="1864" y="589"/>
                  </a:lnTo>
                  <a:lnTo>
                    <a:pt x="1903" y="589"/>
                  </a:lnTo>
                  <a:lnTo>
                    <a:pt x="1909" y="567"/>
                  </a:lnTo>
                  <a:lnTo>
                    <a:pt x="1941" y="567"/>
                  </a:lnTo>
                  <a:lnTo>
                    <a:pt x="1986" y="584"/>
                  </a:lnTo>
                  <a:lnTo>
                    <a:pt x="1981" y="589"/>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84" name="Freeform 5"/>
            <p:cNvSpPr>
              <a:spLocks/>
            </p:cNvSpPr>
            <p:nvPr/>
          </p:nvSpPr>
          <p:spPr bwMode="auto">
            <a:xfrm>
              <a:off x="3478213" y="784225"/>
              <a:ext cx="1654175" cy="2151063"/>
            </a:xfrm>
            <a:custGeom>
              <a:avLst/>
              <a:gdLst>
                <a:gd name="T0" fmla="*/ 2147483647 w 2197"/>
                <a:gd name="T1" fmla="*/ 2147483647 h 3136"/>
                <a:gd name="T2" fmla="*/ 2147483647 w 2197"/>
                <a:gd name="T3" fmla="*/ 2147483647 h 3136"/>
                <a:gd name="T4" fmla="*/ 2147483647 w 2197"/>
                <a:gd name="T5" fmla="*/ 2147483647 h 3136"/>
                <a:gd name="T6" fmla="*/ 2147483647 w 2197"/>
                <a:gd name="T7" fmla="*/ 2147483647 h 3136"/>
                <a:gd name="T8" fmla="*/ 2147483647 w 2197"/>
                <a:gd name="T9" fmla="*/ 2147483647 h 3136"/>
                <a:gd name="T10" fmla="*/ 2147483647 w 2197"/>
                <a:gd name="T11" fmla="*/ 2147483647 h 3136"/>
                <a:gd name="T12" fmla="*/ 2147483647 w 2197"/>
                <a:gd name="T13" fmla="*/ 2147483647 h 3136"/>
                <a:gd name="T14" fmla="*/ 2147483647 w 2197"/>
                <a:gd name="T15" fmla="*/ 2147483647 h 3136"/>
                <a:gd name="T16" fmla="*/ 2147483647 w 2197"/>
                <a:gd name="T17" fmla="*/ 2147483647 h 3136"/>
                <a:gd name="T18" fmla="*/ 2147483647 w 2197"/>
                <a:gd name="T19" fmla="*/ 2147483647 h 3136"/>
                <a:gd name="T20" fmla="*/ 2147483647 w 2197"/>
                <a:gd name="T21" fmla="*/ 2147483647 h 3136"/>
                <a:gd name="T22" fmla="*/ 2147483647 w 2197"/>
                <a:gd name="T23" fmla="*/ 2147483647 h 3136"/>
                <a:gd name="T24" fmla="*/ 2147483647 w 2197"/>
                <a:gd name="T25" fmla="*/ 2147483647 h 3136"/>
                <a:gd name="T26" fmla="*/ 2147483647 w 2197"/>
                <a:gd name="T27" fmla="*/ 2147483647 h 3136"/>
                <a:gd name="T28" fmla="*/ 2147483647 w 2197"/>
                <a:gd name="T29" fmla="*/ 2147483647 h 3136"/>
                <a:gd name="T30" fmla="*/ 2147483647 w 2197"/>
                <a:gd name="T31" fmla="*/ 2147483647 h 3136"/>
                <a:gd name="T32" fmla="*/ 2147483647 w 2197"/>
                <a:gd name="T33" fmla="*/ 2147483647 h 3136"/>
                <a:gd name="T34" fmla="*/ 2147483647 w 2197"/>
                <a:gd name="T35" fmla="*/ 2147483647 h 3136"/>
                <a:gd name="T36" fmla="*/ 2147483647 w 2197"/>
                <a:gd name="T37" fmla="*/ 2147483647 h 3136"/>
                <a:gd name="T38" fmla="*/ 2147483647 w 2197"/>
                <a:gd name="T39" fmla="*/ 2147483647 h 3136"/>
                <a:gd name="T40" fmla="*/ 2147483647 w 2197"/>
                <a:gd name="T41" fmla="*/ 2147483647 h 3136"/>
                <a:gd name="T42" fmla="*/ 2147483647 w 2197"/>
                <a:gd name="T43" fmla="*/ 2147483647 h 3136"/>
                <a:gd name="T44" fmla="*/ 2147483647 w 2197"/>
                <a:gd name="T45" fmla="*/ 2147483647 h 3136"/>
                <a:gd name="T46" fmla="*/ 2147483647 w 2197"/>
                <a:gd name="T47" fmla="*/ 2147483647 h 3136"/>
                <a:gd name="T48" fmla="*/ 2147483647 w 2197"/>
                <a:gd name="T49" fmla="*/ 2147483647 h 3136"/>
                <a:gd name="T50" fmla="*/ 2147483647 w 2197"/>
                <a:gd name="T51" fmla="*/ 2147483647 h 3136"/>
                <a:gd name="T52" fmla="*/ 2147483647 w 2197"/>
                <a:gd name="T53" fmla="*/ 2147483647 h 3136"/>
                <a:gd name="T54" fmla="*/ 2147483647 w 2197"/>
                <a:gd name="T55" fmla="*/ 2147483647 h 3136"/>
                <a:gd name="T56" fmla="*/ 2147483647 w 2197"/>
                <a:gd name="T57" fmla="*/ 2147483647 h 3136"/>
                <a:gd name="T58" fmla="*/ 2147483647 w 2197"/>
                <a:gd name="T59" fmla="*/ 2147483647 h 3136"/>
                <a:gd name="T60" fmla="*/ 2147483647 w 2197"/>
                <a:gd name="T61" fmla="*/ 2147483647 h 3136"/>
                <a:gd name="T62" fmla="*/ 2147483647 w 2197"/>
                <a:gd name="T63" fmla="*/ 2147483647 h 3136"/>
                <a:gd name="T64" fmla="*/ 2147483647 w 2197"/>
                <a:gd name="T65" fmla="*/ 2147483647 h 3136"/>
                <a:gd name="T66" fmla="*/ 2147483647 w 2197"/>
                <a:gd name="T67" fmla="*/ 2147483647 h 3136"/>
                <a:gd name="T68" fmla="*/ 2147483647 w 2197"/>
                <a:gd name="T69" fmla="*/ 2147483647 h 3136"/>
                <a:gd name="T70" fmla="*/ 2147483647 w 2197"/>
                <a:gd name="T71" fmla="*/ 2147483647 h 3136"/>
                <a:gd name="T72" fmla="*/ 2147483647 w 2197"/>
                <a:gd name="T73" fmla="*/ 2147483647 h 3136"/>
                <a:gd name="T74" fmla="*/ 2147483647 w 2197"/>
                <a:gd name="T75" fmla="*/ 2147483647 h 3136"/>
                <a:gd name="T76" fmla="*/ 2147483647 w 2197"/>
                <a:gd name="T77" fmla="*/ 2147483647 h 3136"/>
                <a:gd name="T78" fmla="*/ 2147483647 w 2197"/>
                <a:gd name="T79" fmla="*/ 2147483647 h 3136"/>
                <a:gd name="T80" fmla="*/ 2147483647 w 2197"/>
                <a:gd name="T81" fmla="*/ 2147483647 h 3136"/>
                <a:gd name="T82" fmla="*/ 2147483647 w 2197"/>
                <a:gd name="T83" fmla="*/ 2147483647 h 3136"/>
                <a:gd name="T84" fmla="*/ 2147483647 w 2197"/>
                <a:gd name="T85" fmla="*/ 2147483647 h 3136"/>
                <a:gd name="T86" fmla="*/ 2147483647 w 2197"/>
                <a:gd name="T87" fmla="*/ 2147483647 h 3136"/>
                <a:gd name="T88" fmla="*/ 2147483647 w 2197"/>
                <a:gd name="T89" fmla="*/ 2147483647 h 3136"/>
                <a:gd name="T90" fmla="*/ 2147483647 w 2197"/>
                <a:gd name="T91" fmla="*/ 2147483647 h 3136"/>
                <a:gd name="T92" fmla="*/ 2147483647 w 2197"/>
                <a:gd name="T93" fmla="*/ 2147483647 h 3136"/>
                <a:gd name="T94" fmla="*/ 2147483647 w 2197"/>
                <a:gd name="T95" fmla="*/ 2147483647 h 3136"/>
                <a:gd name="T96" fmla="*/ 2147483647 w 2197"/>
                <a:gd name="T97" fmla="*/ 2147483647 h 3136"/>
                <a:gd name="T98" fmla="*/ 2147483647 w 2197"/>
                <a:gd name="T99" fmla="*/ 2147483647 h 3136"/>
                <a:gd name="T100" fmla="*/ 2147483647 w 2197"/>
                <a:gd name="T101" fmla="*/ 2147483647 h 3136"/>
                <a:gd name="T102" fmla="*/ 2147483647 w 2197"/>
                <a:gd name="T103" fmla="*/ 2147483647 h 3136"/>
                <a:gd name="T104" fmla="*/ 2147483647 w 2197"/>
                <a:gd name="T105" fmla="*/ 2147483647 h 3136"/>
                <a:gd name="T106" fmla="*/ 2147483647 w 2197"/>
                <a:gd name="T107" fmla="*/ 2147483647 h 3136"/>
                <a:gd name="T108" fmla="*/ 2147483647 w 2197"/>
                <a:gd name="T109" fmla="*/ 2147483647 h 3136"/>
                <a:gd name="T110" fmla="*/ 2147483647 w 2197"/>
                <a:gd name="T111" fmla="*/ 2147483647 h 3136"/>
                <a:gd name="T112" fmla="*/ 2147483647 w 2197"/>
                <a:gd name="T113" fmla="*/ 2147483647 h 3136"/>
                <a:gd name="T114" fmla="*/ 2147483647 w 2197"/>
                <a:gd name="T115" fmla="*/ 2147483647 h 3136"/>
                <a:gd name="T116" fmla="*/ 2147483647 w 2197"/>
                <a:gd name="T117" fmla="*/ 2147483647 h 31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97"/>
                <a:gd name="T178" fmla="*/ 0 h 3136"/>
                <a:gd name="T179" fmla="*/ 2197 w 2197"/>
                <a:gd name="T180" fmla="*/ 3136 h 31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97" h="3136">
                  <a:moveTo>
                    <a:pt x="670" y="2882"/>
                  </a:moveTo>
                  <a:lnTo>
                    <a:pt x="618" y="2849"/>
                  </a:lnTo>
                  <a:lnTo>
                    <a:pt x="614" y="2819"/>
                  </a:lnTo>
                  <a:lnTo>
                    <a:pt x="614" y="2803"/>
                  </a:lnTo>
                  <a:lnTo>
                    <a:pt x="614" y="2788"/>
                  </a:lnTo>
                  <a:lnTo>
                    <a:pt x="627" y="2740"/>
                  </a:lnTo>
                  <a:lnTo>
                    <a:pt x="609" y="2708"/>
                  </a:lnTo>
                  <a:lnTo>
                    <a:pt x="605" y="2733"/>
                  </a:lnTo>
                  <a:lnTo>
                    <a:pt x="605" y="2752"/>
                  </a:lnTo>
                  <a:lnTo>
                    <a:pt x="604" y="2769"/>
                  </a:lnTo>
                  <a:lnTo>
                    <a:pt x="575" y="2801"/>
                  </a:lnTo>
                  <a:lnTo>
                    <a:pt x="599" y="2821"/>
                  </a:lnTo>
                  <a:lnTo>
                    <a:pt x="599" y="2872"/>
                  </a:lnTo>
                  <a:lnTo>
                    <a:pt x="575" y="2898"/>
                  </a:lnTo>
                  <a:lnTo>
                    <a:pt x="547" y="2924"/>
                  </a:lnTo>
                  <a:lnTo>
                    <a:pt x="514" y="2906"/>
                  </a:lnTo>
                  <a:lnTo>
                    <a:pt x="473" y="2948"/>
                  </a:lnTo>
                  <a:lnTo>
                    <a:pt x="433" y="3010"/>
                  </a:lnTo>
                  <a:lnTo>
                    <a:pt x="394" y="3069"/>
                  </a:lnTo>
                  <a:lnTo>
                    <a:pt x="349" y="3102"/>
                  </a:lnTo>
                  <a:lnTo>
                    <a:pt x="325" y="3094"/>
                  </a:lnTo>
                  <a:lnTo>
                    <a:pt x="264" y="3136"/>
                  </a:lnTo>
                  <a:lnTo>
                    <a:pt x="234" y="3131"/>
                  </a:lnTo>
                  <a:lnTo>
                    <a:pt x="203" y="3121"/>
                  </a:lnTo>
                  <a:lnTo>
                    <a:pt x="151" y="3107"/>
                  </a:lnTo>
                  <a:lnTo>
                    <a:pt x="170" y="3079"/>
                  </a:lnTo>
                  <a:lnTo>
                    <a:pt x="129" y="3053"/>
                  </a:lnTo>
                  <a:lnTo>
                    <a:pt x="75" y="3033"/>
                  </a:lnTo>
                  <a:lnTo>
                    <a:pt x="24" y="2976"/>
                  </a:lnTo>
                  <a:lnTo>
                    <a:pt x="24" y="2962"/>
                  </a:lnTo>
                  <a:lnTo>
                    <a:pt x="25" y="2942"/>
                  </a:lnTo>
                  <a:lnTo>
                    <a:pt x="38" y="2910"/>
                  </a:lnTo>
                  <a:lnTo>
                    <a:pt x="71" y="2924"/>
                  </a:lnTo>
                  <a:lnTo>
                    <a:pt x="99" y="2938"/>
                  </a:lnTo>
                  <a:lnTo>
                    <a:pt x="119" y="2920"/>
                  </a:lnTo>
                  <a:lnTo>
                    <a:pt x="146" y="2891"/>
                  </a:lnTo>
                  <a:lnTo>
                    <a:pt x="126" y="2906"/>
                  </a:lnTo>
                  <a:lnTo>
                    <a:pt x="95" y="2920"/>
                  </a:lnTo>
                  <a:lnTo>
                    <a:pt x="80" y="2882"/>
                  </a:lnTo>
                  <a:lnTo>
                    <a:pt x="114" y="2854"/>
                  </a:lnTo>
                  <a:lnTo>
                    <a:pt x="141" y="2830"/>
                  </a:lnTo>
                  <a:lnTo>
                    <a:pt x="99" y="2830"/>
                  </a:lnTo>
                  <a:lnTo>
                    <a:pt x="151" y="2779"/>
                  </a:lnTo>
                  <a:lnTo>
                    <a:pt x="90" y="2801"/>
                  </a:lnTo>
                  <a:lnTo>
                    <a:pt x="38" y="2835"/>
                  </a:lnTo>
                  <a:lnTo>
                    <a:pt x="9" y="2798"/>
                  </a:lnTo>
                  <a:lnTo>
                    <a:pt x="57" y="2764"/>
                  </a:lnTo>
                  <a:lnTo>
                    <a:pt x="75" y="2774"/>
                  </a:lnTo>
                  <a:lnTo>
                    <a:pt x="90" y="2750"/>
                  </a:lnTo>
                  <a:lnTo>
                    <a:pt x="119" y="2740"/>
                  </a:lnTo>
                  <a:lnTo>
                    <a:pt x="127" y="2713"/>
                  </a:lnTo>
                  <a:lnTo>
                    <a:pt x="90" y="2740"/>
                  </a:lnTo>
                  <a:lnTo>
                    <a:pt x="71" y="2722"/>
                  </a:lnTo>
                  <a:lnTo>
                    <a:pt x="114" y="2693"/>
                  </a:lnTo>
                  <a:lnTo>
                    <a:pt x="109" y="2675"/>
                  </a:lnTo>
                  <a:lnTo>
                    <a:pt x="127" y="2666"/>
                  </a:lnTo>
                  <a:lnTo>
                    <a:pt x="122" y="2647"/>
                  </a:lnTo>
                  <a:lnTo>
                    <a:pt x="161" y="2614"/>
                  </a:lnTo>
                  <a:lnTo>
                    <a:pt x="175" y="2661"/>
                  </a:lnTo>
                  <a:lnTo>
                    <a:pt x="188" y="2605"/>
                  </a:lnTo>
                  <a:lnTo>
                    <a:pt x="236" y="2586"/>
                  </a:lnTo>
                  <a:lnTo>
                    <a:pt x="236" y="2562"/>
                  </a:lnTo>
                  <a:lnTo>
                    <a:pt x="141" y="2586"/>
                  </a:lnTo>
                  <a:lnTo>
                    <a:pt x="104" y="2619"/>
                  </a:lnTo>
                  <a:lnTo>
                    <a:pt x="104" y="2626"/>
                  </a:lnTo>
                  <a:lnTo>
                    <a:pt x="102" y="2645"/>
                  </a:lnTo>
                  <a:lnTo>
                    <a:pt x="78" y="2679"/>
                  </a:lnTo>
                  <a:lnTo>
                    <a:pt x="65" y="2662"/>
                  </a:lnTo>
                  <a:lnTo>
                    <a:pt x="53" y="2632"/>
                  </a:lnTo>
                  <a:lnTo>
                    <a:pt x="33" y="2630"/>
                  </a:lnTo>
                  <a:lnTo>
                    <a:pt x="0" y="2617"/>
                  </a:lnTo>
                  <a:lnTo>
                    <a:pt x="21" y="2582"/>
                  </a:lnTo>
                  <a:lnTo>
                    <a:pt x="48" y="2558"/>
                  </a:lnTo>
                  <a:lnTo>
                    <a:pt x="71" y="2534"/>
                  </a:lnTo>
                  <a:lnTo>
                    <a:pt x="61" y="2533"/>
                  </a:lnTo>
                  <a:lnTo>
                    <a:pt x="43" y="2538"/>
                  </a:lnTo>
                  <a:lnTo>
                    <a:pt x="24" y="2540"/>
                  </a:lnTo>
                  <a:lnTo>
                    <a:pt x="5" y="2534"/>
                  </a:lnTo>
                  <a:lnTo>
                    <a:pt x="61" y="2478"/>
                  </a:lnTo>
                  <a:lnTo>
                    <a:pt x="14" y="2497"/>
                  </a:lnTo>
                  <a:lnTo>
                    <a:pt x="9" y="2463"/>
                  </a:lnTo>
                  <a:lnTo>
                    <a:pt x="60" y="2445"/>
                  </a:lnTo>
                  <a:lnTo>
                    <a:pt x="119" y="2440"/>
                  </a:lnTo>
                  <a:lnTo>
                    <a:pt x="132" y="2451"/>
                  </a:lnTo>
                  <a:lnTo>
                    <a:pt x="146" y="2463"/>
                  </a:lnTo>
                  <a:lnTo>
                    <a:pt x="152" y="2454"/>
                  </a:lnTo>
                  <a:lnTo>
                    <a:pt x="180" y="2436"/>
                  </a:lnTo>
                  <a:lnTo>
                    <a:pt x="197" y="2443"/>
                  </a:lnTo>
                  <a:lnTo>
                    <a:pt x="214" y="2460"/>
                  </a:lnTo>
                  <a:lnTo>
                    <a:pt x="236" y="2482"/>
                  </a:lnTo>
                  <a:lnTo>
                    <a:pt x="269" y="2428"/>
                  </a:lnTo>
                  <a:lnTo>
                    <a:pt x="278" y="2375"/>
                  </a:lnTo>
                  <a:lnTo>
                    <a:pt x="257" y="2406"/>
                  </a:lnTo>
                  <a:lnTo>
                    <a:pt x="227" y="2440"/>
                  </a:lnTo>
                  <a:lnTo>
                    <a:pt x="196" y="2406"/>
                  </a:lnTo>
                  <a:lnTo>
                    <a:pt x="163" y="2420"/>
                  </a:lnTo>
                  <a:lnTo>
                    <a:pt x="137" y="2419"/>
                  </a:lnTo>
                  <a:lnTo>
                    <a:pt x="115" y="2412"/>
                  </a:lnTo>
                  <a:lnTo>
                    <a:pt x="95" y="2412"/>
                  </a:lnTo>
                  <a:lnTo>
                    <a:pt x="57" y="2436"/>
                  </a:lnTo>
                  <a:lnTo>
                    <a:pt x="9" y="2407"/>
                  </a:lnTo>
                  <a:lnTo>
                    <a:pt x="9" y="2370"/>
                  </a:lnTo>
                  <a:lnTo>
                    <a:pt x="55" y="2360"/>
                  </a:lnTo>
                  <a:lnTo>
                    <a:pt x="81" y="2360"/>
                  </a:lnTo>
                  <a:lnTo>
                    <a:pt x="95" y="2360"/>
                  </a:lnTo>
                  <a:lnTo>
                    <a:pt x="38" y="2351"/>
                  </a:lnTo>
                  <a:lnTo>
                    <a:pt x="48" y="2322"/>
                  </a:lnTo>
                  <a:lnTo>
                    <a:pt x="19" y="2294"/>
                  </a:lnTo>
                  <a:lnTo>
                    <a:pt x="38" y="2276"/>
                  </a:lnTo>
                  <a:lnTo>
                    <a:pt x="66" y="2265"/>
                  </a:lnTo>
                  <a:lnTo>
                    <a:pt x="92" y="2273"/>
                  </a:lnTo>
                  <a:lnTo>
                    <a:pt x="119" y="2285"/>
                  </a:lnTo>
                  <a:lnTo>
                    <a:pt x="145" y="2288"/>
                  </a:lnTo>
                  <a:lnTo>
                    <a:pt x="170" y="2285"/>
                  </a:lnTo>
                  <a:lnTo>
                    <a:pt x="198" y="2275"/>
                  </a:lnTo>
                  <a:lnTo>
                    <a:pt x="115" y="2267"/>
                  </a:lnTo>
                  <a:lnTo>
                    <a:pt x="43" y="2247"/>
                  </a:lnTo>
                  <a:lnTo>
                    <a:pt x="71" y="2223"/>
                  </a:lnTo>
                  <a:lnTo>
                    <a:pt x="99" y="2204"/>
                  </a:lnTo>
                  <a:lnTo>
                    <a:pt x="132" y="2219"/>
                  </a:lnTo>
                  <a:lnTo>
                    <a:pt x="161" y="2223"/>
                  </a:lnTo>
                  <a:lnTo>
                    <a:pt x="119" y="2182"/>
                  </a:lnTo>
                  <a:lnTo>
                    <a:pt x="156" y="2162"/>
                  </a:lnTo>
                  <a:lnTo>
                    <a:pt x="169" y="2201"/>
                  </a:lnTo>
                  <a:lnTo>
                    <a:pt x="180" y="2239"/>
                  </a:lnTo>
                  <a:lnTo>
                    <a:pt x="190" y="2168"/>
                  </a:lnTo>
                  <a:lnTo>
                    <a:pt x="203" y="2148"/>
                  </a:lnTo>
                  <a:lnTo>
                    <a:pt x="218" y="2170"/>
                  </a:lnTo>
                  <a:lnTo>
                    <a:pt x="227" y="2239"/>
                  </a:lnTo>
                  <a:lnTo>
                    <a:pt x="250" y="2186"/>
                  </a:lnTo>
                  <a:lnTo>
                    <a:pt x="241" y="2162"/>
                  </a:lnTo>
                  <a:lnTo>
                    <a:pt x="222" y="2143"/>
                  </a:lnTo>
                  <a:lnTo>
                    <a:pt x="174" y="2140"/>
                  </a:lnTo>
                  <a:lnTo>
                    <a:pt x="188" y="2106"/>
                  </a:lnTo>
                  <a:lnTo>
                    <a:pt x="217" y="2104"/>
                  </a:lnTo>
                  <a:lnTo>
                    <a:pt x="246" y="2106"/>
                  </a:lnTo>
                  <a:lnTo>
                    <a:pt x="298" y="2130"/>
                  </a:lnTo>
                  <a:lnTo>
                    <a:pt x="289" y="2093"/>
                  </a:lnTo>
                  <a:lnTo>
                    <a:pt x="246" y="2082"/>
                  </a:lnTo>
                  <a:lnTo>
                    <a:pt x="222" y="2054"/>
                  </a:lnTo>
                  <a:lnTo>
                    <a:pt x="228" y="2044"/>
                  </a:lnTo>
                  <a:lnTo>
                    <a:pt x="248" y="2040"/>
                  </a:lnTo>
                  <a:lnTo>
                    <a:pt x="272" y="2041"/>
                  </a:lnTo>
                  <a:lnTo>
                    <a:pt x="298" y="2045"/>
                  </a:lnTo>
                  <a:lnTo>
                    <a:pt x="316" y="2012"/>
                  </a:lnTo>
                  <a:lnTo>
                    <a:pt x="340" y="2040"/>
                  </a:lnTo>
                  <a:lnTo>
                    <a:pt x="364" y="2077"/>
                  </a:lnTo>
                  <a:lnTo>
                    <a:pt x="385" y="2081"/>
                  </a:lnTo>
                  <a:lnTo>
                    <a:pt x="385" y="2053"/>
                  </a:lnTo>
                  <a:lnTo>
                    <a:pt x="358" y="2050"/>
                  </a:lnTo>
                  <a:lnTo>
                    <a:pt x="358" y="2032"/>
                  </a:lnTo>
                  <a:lnTo>
                    <a:pt x="383" y="2010"/>
                  </a:lnTo>
                  <a:lnTo>
                    <a:pt x="383" y="1973"/>
                  </a:lnTo>
                  <a:lnTo>
                    <a:pt x="407" y="1944"/>
                  </a:lnTo>
                  <a:lnTo>
                    <a:pt x="442" y="1969"/>
                  </a:lnTo>
                  <a:lnTo>
                    <a:pt x="457" y="1939"/>
                  </a:lnTo>
                  <a:lnTo>
                    <a:pt x="468" y="1919"/>
                  </a:lnTo>
                  <a:lnTo>
                    <a:pt x="478" y="1913"/>
                  </a:lnTo>
                  <a:lnTo>
                    <a:pt x="495" y="1911"/>
                  </a:lnTo>
                  <a:lnTo>
                    <a:pt x="514" y="1917"/>
                  </a:lnTo>
                  <a:lnTo>
                    <a:pt x="520" y="1935"/>
                  </a:lnTo>
                  <a:lnTo>
                    <a:pt x="526" y="1966"/>
                  </a:lnTo>
                  <a:lnTo>
                    <a:pt x="546" y="1953"/>
                  </a:lnTo>
                  <a:lnTo>
                    <a:pt x="569" y="1936"/>
                  </a:lnTo>
                  <a:lnTo>
                    <a:pt x="609" y="1942"/>
                  </a:lnTo>
                  <a:lnTo>
                    <a:pt x="621" y="1925"/>
                  </a:lnTo>
                  <a:lnTo>
                    <a:pt x="622" y="1900"/>
                  </a:lnTo>
                  <a:lnTo>
                    <a:pt x="638" y="1864"/>
                  </a:lnTo>
                  <a:lnTo>
                    <a:pt x="671" y="1848"/>
                  </a:lnTo>
                  <a:lnTo>
                    <a:pt x="653" y="1827"/>
                  </a:lnTo>
                  <a:lnTo>
                    <a:pt x="669" y="1783"/>
                  </a:lnTo>
                  <a:lnTo>
                    <a:pt x="638" y="1811"/>
                  </a:lnTo>
                  <a:lnTo>
                    <a:pt x="597" y="1870"/>
                  </a:lnTo>
                  <a:lnTo>
                    <a:pt x="599" y="1876"/>
                  </a:lnTo>
                  <a:lnTo>
                    <a:pt x="576" y="1903"/>
                  </a:lnTo>
                  <a:lnTo>
                    <a:pt x="555" y="1912"/>
                  </a:lnTo>
                  <a:lnTo>
                    <a:pt x="533" y="1913"/>
                  </a:lnTo>
                  <a:lnTo>
                    <a:pt x="522" y="1873"/>
                  </a:lnTo>
                  <a:lnTo>
                    <a:pt x="522" y="1846"/>
                  </a:lnTo>
                  <a:lnTo>
                    <a:pt x="523" y="1824"/>
                  </a:lnTo>
                  <a:lnTo>
                    <a:pt x="534" y="1794"/>
                  </a:lnTo>
                  <a:lnTo>
                    <a:pt x="559" y="1768"/>
                  </a:lnTo>
                  <a:lnTo>
                    <a:pt x="590" y="1726"/>
                  </a:lnTo>
                  <a:lnTo>
                    <a:pt x="628" y="1697"/>
                  </a:lnTo>
                  <a:lnTo>
                    <a:pt x="647" y="1712"/>
                  </a:lnTo>
                  <a:lnTo>
                    <a:pt x="665" y="1725"/>
                  </a:lnTo>
                  <a:lnTo>
                    <a:pt x="677" y="1694"/>
                  </a:lnTo>
                  <a:lnTo>
                    <a:pt x="683" y="1646"/>
                  </a:lnTo>
                  <a:lnTo>
                    <a:pt x="764" y="1589"/>
                  </a:lnTo>
                  <a:lnTo>
                    <a:pt x="741" y="1593"/>
                  </a:lnTo>
                  <a:lnTo>
                    <a:pt x="713" y="1608"/>
                  </a:lnTo>
                  <a:lnTo>
                    <a:pt x="665" y="1635"/>
                  </a:lnTo>
                  <a:lnTo>
                    <a:pt x="665" y="1625"/>
                  </a:lnTo>
                  <a:lnTo>
                    <a:pt x="680" y="1584"/>
                  </a:lnTo>
                  <a:lnTo>
                    <a:pt x="702" y="1575"/>
                  </a:lnTo>
                  <a:lnTo>
                    <a:pt x="778" y="1551"/>
                  </a:lnTo>
                  <a:lnTo>
                    <a:pt x="812" y="1529"/>
                  </a:lnTo>
                  <a:lnTo>
                    <a:pt x="785" y="1533"/>
                  </a:lnTo>
                  <a:lnTo>
                    <a:pt x="749" y="1538"/>
                  </a:lnTo>
                  <a:lnTo>
                    <a:pt x="768" y="1509"/>
                  </a:lnTo>
                  <a:lnTo>
                    <a:pt x="731" y="1495"/>
                  </a:lnTo>
                  <a:lnTo>
                    <a:pt x="755" y="1468"/>
                  </a:lnTo>
                  <a:lnTo>
                    <a:pt x="782" y="1468"/>
                  </a:lnTo>
                  <a:lnTo>
                    <a:pt x="811" y="1481"/>
                  </a:lnTo>
                  <a:lnTo>
                    <a:pt x="759" y="1459"/>
                  </a:lnTo>
                  <a:lnTo>
                    <a:pt x="761" y="1430"/>
                  </a:lnTo>
                  <a:lnTo>
                    <a:pt x="771" y="1402"/>
                  </a:lnTo>
                  <a:lnTo>
                    <a:pt x="793" y="1363"/>
                  </a:lnTo>
                  <a:lnTo>
                    <a:pt x="802" y="1338"/>
                  </a:lnTo>
                  <a:lnTo>
                    <a:pt x="821" y="1316"/>
                  </a:lnTo>
                  <a:lnTo>
                    <a:pt x="847" y="1316"/>
                  </a:lnTo>
                  <a:lnTo>
                    <a:pt x="889" y="1328"/>
                  </a:lnTo>
                  <a:lnTo>
                    <a:pt x="908" y="1285"/>
                  </a:lnTo>
                  <a:lnTo>
                    <a:pt x="854" y="1284"/>
                  </a:lnTo>
                  <a:lnTo>
                    <a:pt x="815" y="1279"/>
                  </a:lnTo>
                  <a:lnTo>
                    <a:pt x="813" y="1262"/>
                  </a:lnTo>
                  <a:lnTo>
                    <a:pt x="830" y="1245"/>
                  </a:lnTo>
                  <a:lnTo>
                    <a:pt x="851" y="1183"/>
                  </a:lnTo>
                  <a:lnTo>
                    <a:pt x="842" y="1167"/>
                  </a:lnTo>
                  <a:lnTo>
                    <a:pt x="867" y="1152"/>
                  </a:lnTo>
                  <a:lnTo>
                    <a:pt x="849" y="1138"/>
                  </a:lnTo>
                  <a:lnTo>
                    <a:pt x="883" y="1124"/>
                  </a:lnTo>
                  <a:lnTo>
                    <a:pt x="923" y="1101"/>
                  </a:lnTo>
                  <a:lnTo>
                    <a:pt x="910" y="1068"/>
                  </a:lnTo>
                  <a:lnTo>
                    <a:pt x="969" y="1071"/>
                  </a:lnTo>
                  <a:lnTo>
                    <a:pt x="1020" y="1064"/>
                  </a:lnTo>
                  <a:lnTo>
                    <a:pt x="1022" y="1043"/>
                  </a:lnTo>
                  <a:lnTo>
                    <a:pt x="973" y="1043"/>
                  </a:lnTo>
                  <a:lnTo>
                    <a:pt x="941" y="1046"/>
                  </a:lnTo>
                  <a:lnTo>
                    <a:pt x="927" y="1047"/>
                  </a:lnTo>
                  <a:lnTo>
                    <a:pt x="917" y="1046"/>
                  </a:lnTo>
                  <a:lnTo>
                    <a:pt x="951" y="1013"/>
                  </a:lnTo>
                  <a:lnTo>
                    <a:pt x="988" y="997"/>
                  </a:lnTo>
                  <a:lnTo>
                    <a:pt x="1029" y="1013"/>
                  </a:lnTo>
                  <a:lnTo>
                    <a:pt x="1035" y="975"/>
                  </a:lnTo>
                  <a:lnTo>
                    <a:pt x="976" y="968"/>
                  </a:lnTo>
                  <a:lnTo>
                    <a:pt x="1008" y="950"/>
                  </a:lnTo>
                  <a:lnTo>
                    <a:pt x="1029" y="931"/>
                  </a:lnTo>
                  <a:lnTo>
                    <a:pt x="998" y="916"/>
                  </a:lnTo>
                  <a:lnTo>
                    <a:pt x="961" y="950"/>
                  </a:lnTo>
                  <a:lnTo>
                    <a:pt x="957" y="910"/>
                  </a:lnTo>
                  <a:lnTo>
                    <a:pt x="979" y="900"/>
                  </a:lnTo>
                  <a:lnTo>
                    <a:pt x="1010" y="892"/>
                  </a:lnTo>
                  <a:lnTo>
                    <a:pt x="1026" y="878"/>
                  </a:lnTo>
                  <a:lnTo>
                    <a:pt x="1041" y="833"/>
                  </a:lnTo>
                  <a:lnTo>
                    <a:pt x="1053" y="894"/>
                  </a:lnTo>
                  <a:lnTo>
                    <a:pt x="1082" y="904"/>
                  </a:lnTo>
                  <a:lnTo>
                    <a:pt x="1093" y="871"/>
                  </a:lnTo>
                  <a:lnTo>
                    <a:pt x="1093" y="851"/>
                  </a:lnTo>
                  <a:lnTo>
                    <a:pt x="1090" y="833"/>
                  </a:lnTo>
                  <a:lnTo>
                    <a:pt x="1066" y="780"/>
                  </a:lnTo>
                  <a:lnTo>
                    <a:pt x="1078" y="778"/>
                  </a:lnTo>
                  <a:lnTo>
                    <a:pt x="1101" y="786"/>
                  </a:lnTo>
                  <a:lnTo>
                    <a:pt x="1143" y="796"/>
                  </a:lnTo>
                  <a:lnTo>
                    <a:pt x="1156" y="749"/>
                  </a:lnTo>
                  <a:lnTo>
                    <a:pt x="1140" y="745"/>
                  </a:lnTo>
                  <a:lnTo>
                    <a:pt x="1112" y="751"/>
                  </a:lnTo>
                  <a:lnTo>
                    <a:pt x="1086" y="757"/>
                  </a:lnTo>
                  <a:lnTo>
                    <a:pt x="1069" y="755"/>
                  </a:lnTo>
                  <a:lnTo>
                    <a:pt x="1100" y="712"/>
                  </a:lnTo>
                  <a:lnTo>
                    <a:pt x="1149" y="693"/>
                  </a:lnTo>
                  <a:lnTo>
                    <a:pt x="1162" y="659"/>
                  </a:lnTo>
                  <a:lnTo>
                    <a:pt x="1141" y="640"/>
                  </a:lnTo>
                  <a:lnTo>
                    <a:pt x="1161" y="622"/>
                  </a:lnTo>
                  <a:lnTo>
                    <a:pt x="1188" y="603"/>
                  </a:lnTo>
                  <a:lnTo>
                    <a:pt x="1190" y="582"/>
                  </a:lnTo>
                  <a:lnTo>
                    <a:pt x="1188" y="555"/>
                  </a:lnTo>
                  <a:lnTo>
                    <a:pt x="1185" y="529"/>
                  </a:lnTo>
                  <a:lnTo>
                    <a:pt x="1190" y="514"/>
                  </a:lnTo>
                  <a:lnTo>
                    <a:pt x="1226" y="555"/>
                  </a:lnTo>
                  <a:lnTo>
                    <a:pt x="1255" y="535"/>
                  </a:lnTo>
                  <a:lnTo>
                    <a:pt x="1279" y="550"/>
                  </a:lnTo>
                  <a:lnTo>
                    <a:pt x="1302" y="563"/>
                  </a:lnTo>
                  <a:lnTo>
                    <a:pt x="1299" y="544"/>
                  </a:lnTo>
                  <a:lnTo>
                    <a:pt x="1231" y="522"/>
                  </a:lnTo>
                  <a:lnTo>
                    <a:pt x="1253" y="489"/>
                  </a:lnTo>
                  <a:lnTo>
                    <a:pt x="1261" y="453"/>
                  </a:lnTo>
                  <a:lnTo>
                    <a:pt x="1280" y="426"/>
                  </a:lnTo>
                  <a:lnTo>
                    <a:pt x="1308" y="452"/>
                  </a:lnTo>
                  <a:lnTo>
                    <a:pt x="1305" y="501"/>
                  </a:lnTo>
                  <a:lnTo>
                    <a:pt x="1323" y="424"/>
                  </a:lnTo>
                  <a:lnTo>
                    <a:pt x="1352" y="393"/>
                  </a:lnTo>
                  <a:lnTo>
                    <a:pt x="1363" y="426"/>
                  </a:lnTo>
                  <a:lnTo>
                    <a:pt x="1362" y="452"/>
                  </a:lnTo>
                  <a:lnTo>
                    <a:pt x="1355" y="470"/>
                  </a:lnTo>
                  <a:lnTo>
                    <a:pt x="1355" y="510"/>
                  </a:lnTo>
                  <a:lnTo>
                    <a:pt x="1389" y="483"/>
                  </a:lnTo>
                  <a:lnTo>
                    <a:pt x="1379" y="455"/>
                  </a:lnTo>
                  <a:lnTo>
                    <a:pt x="1368" y="426"/>
                  </a:lnTo>
                  <a:lnTo>
                    <a:pt x="1401" y="408"/>
                  </a:lnTo>
                  <a:lnTo>
                    <a:pt x="1417" y="374"/>
                  </a:lnTo>
                  <a:lnTo>
                    <a:pt x="1439" y="362"/>
                  </a:lnTo>
                  <a:lnTo>
                    <a:pt x="1451" y="387"/>
                  </a:lnTo>
                  <a:lnTo>
                    <a:pt x="1476" y="401"/>
                  </a:lnTo>
                  <a:lnTo>
                    <a:pt x="1470" y="364"/>
                  </a:lnTo>
                  <a:lnTo>
                    <a:pt x="1486" y="350"/>
                  </a:lnTo>
                  <a:lnTo>
                    <a:pt x="1470" y="330"/>
                  </a:lnTo>
                  <a:lnTo>
                    <a:pt x="1448" y="340"/>
                  </a:lnTo>
                  <a:lnTo>
                    <a:pt x="1401" y="315"/>
                  </a:lnTo>
                  <a:lnTo>
                    <a:pt x="1442" y="303"/>
                  </a:lnTo>
                  <a:lnTo>
                    <a:pt x="1464" y="278"/>
                  </a:lnTo>
                  <a:lnTo>
                    <a:pt x="1492" y="302"/>
                  </a:lnTo>
                  <a:lnTo>
                    <a:pt x="1511" y="324"/>
                  </a:lnTo>
                  <a:lnTo>
                    <a:pt x="1492" y="287"/>
                  </a:lnTo>
                  <a:lnTo>
                    <a:pt x="1529" y="284"/>
                  </a:lnTo>
                  <a:lnTo>
                    <a:pt x="1541" y="303"/>
                  </a:lnTo>
                  <a:lnTo>
                    <a:pt x="1556" y="309"/>
                  </a:lnTo>
                  <a:lnTo>
                    <a:pt x="1572" y="342"/>
                  </a:lnTo>
                  <a:lnTo>
                    <a:pt x="1601" y="324"/>
                  </a:lnTo>
                  <a:lnTo>
                    <a:pt x="1570" y="315"/>
                  </a:lnTo>
                  <a:lnTo>
                    <a:pt x="1574" y="275"/>
                  </a:lnTo>
                  <a:lnTo>
                    <a:pt x="1591" y="235"/>
                  </a:lnTo>
                  <a:lnTo>
                    <a:pt x="1615" y="197"/>
                  </a:lnTo>
                  <a:lnTo>
                    <a:pt x="1619" y="185"/>
                  </a:lnTo>
                  <a:lnTo>
                    <a:pt x="1641" y="160"/>
                  </a:lnTo>
                  <a:lnTo>
                    <a:pt x="1615" y="133"/>
                  </a:lnTo>
                  <a:lnTo>
                    <a:pt x="1641" y="123"/>
                  </a:lnTo>
                  <a:lnTo>
                    <a:pt x="1638" y="89"/>
                  </a:lnTo>
                  <a:lnTo>
                    <a:pt x="1697" y="113"/>
                  </a:lnTo>
                  <a:lnTo>
                    <a:pt x="1744" y="80"/>
                  </a:lnTo>
                  <a:lnTo>
                    <a:pt x="1740" y="119"/>
                  </a:lnTo>
                  <a:lnTo>
                    <a:pt x="1713" y="151"/>
                  </a:lnTo>
                  <a:lnTo>
                    <a:pt x="1711" y="163"/>
                  </a:lnTo>
                  <a:lnTo>
                    <a:pt x="1711" y="181"/>
                  </a:lnTo>
                  <a:lnTo>
                    <a:pt x="1715" y="215"/>
                  </a:lnTo>
                  <a:lnTo>
                    <a:pt x="1715" y="229"/>
                  </a:lnTo>
                  <a:lnTo>
                    <a:pt x="1714" y="249"/>
                  </a:lnTo>
                  <a:lnTo>
                    <a:pt x="1703" y="281"/>
                  </a:lnTo>
                  <a:lnTo>
                    <a:pt x="1715" y="281"/>
                  </a:lnTo>
                  <a:lnTo>
                    <a:pt x="1713" y="267"/>
                  </a:lnTo>
                  <a:lnTo>
                    <a:pt x="1717" y="245"/>
                  </a:lnTo>
                  <a:lnTo>
                    <a:pt x="1734" y="207"/>
                  </a:lnTo>
                  <a:lnTo>
                    <a:pt x="1758" y="139"/>
                  </a:lnTo>
                  <a:lnTo>
                    <a:pt x="1770" y="97"/>
                  </a:lnTo>
                  <a:lnTo>
                    <a:pt x="1789" y="64"/>
                  </a:lnTo>
                  <a:lnTo>
                    <a:pt x="1818" y="104"/>
                  </a:lnTo>
                  <a:lnTo>
                    <a:pt x="1799" y="135"/>
                  </a:lnTo>
                  <a:lnTo>
                    <a:pt x="1815" y="145"/>
                  </a:lnTo>
                  <a:lnTo>
                    <a:pt x="1811" y="185"/>
                  </a:lnTo>
                  <a:lnTo>
                    <a:pt x="1836" y="157"/>
                  </a:lnTo>
                  <a:lnTo>
                    <a:pt x="1830" y="123"/>
                  </a:lnTo>
                  <a:lnTo>
                    <a:pt x="1856" y="76"/>
                  </a:lnTo>
                  <a:lnTo>
                    <a:pt x="1827" y="58"/>
                  </a:lnTo>
                  <a:lnTo>
                    <a:pt x="1856" y="33"/>
                  </a:lnTo>
                  <a:lnTo>
                    <a:pt x="1878" y="12"/>
                  </a:lnTo>
                  <a:lnTo>
                    <a:pt x="1905" y="0"/>
                  </a:lnTo>
                  <a:lnTo>
                    <a:pt x="1926" y="18"/>
                  </a:lnTo>
                  <a:lnTo>
                    <a:pt x="1936" y="49"/>
                  </a:lnTo>
                  <a:lnTo>
                    <a:pt x="1901" y="70"/>
                  </a:lnTo>
                  <a:lnTo>
                    <a:pt x="1895" y="95"/>
                  </a:lnTo>
                  <a:lnTo>
                    <a:pt x="1926" y="82"/>
                  </a:lnTo>
                  <a:lnTo>
                    <a:pt x="1914" y="127"/>
                  </a:lnTo>
                  <a:lnTo>
                    <a:pt x="1911" y="141"/>
                  </a:lnTo>
                  <a:lnTo>
                    <a:pt x="1954" y="127"/>
                  </a:lnTo>
                  <a:lnTo>
                    <a:pt x="1938" y="95"/>
                  </a:lnTo>
                  <a:lnTo>
                    <a:pt x="1944" y="60"/>
                  </a:lnTo>
                  <a:lnTo>
                    <a:pt x="1961" y="33"/>
                  </a:lnTo>
                  <a:lnTo>
                    <a:pt x="1998" y="67"/>
                  </a:lnTo>
                  <a:lnTo>
                    <a:pt x="2022" y="49"/>
                  </a:lnTo>
                  <a:lnTo>
                    <a:pt x="2036" y="67"/>
                  </a:lnTo>
                  <a:lnTo>
                    <a:pt x="2060" y="43"/>
                  </a:lnTo>
                  <a:lnTo>
                    <a:pt x="2085" y="82"/>
                  </a:lnTo>
                  <a:lnTo>
                    <a:pt x="2097" y="70"/>
                  </a:lnTo>
                  <a:lnTo>
                    <a:pt x="2141" y="82"/>
                  </a:lnTo>
                  <a:lnTo>
                    <a:pt x="2159" y="103"/>
                  </a:lnTo>
                  <a:lnTo>
                    <a:pt x="2169" y="129"/>
                  </a:lnTo>
                  <a:lnTo>
                    <a:pt x="2134" y="154"/>
                  </a:lnTo>
                  <a:lnTo>
                    <a:pt x="2101" y="194"/>
                  </a:lnTo>
                  <a:lnTo>
                    <a:pt x="2045" y="188"/>
                  </a:lnTo>
                  <a:lnTo>
                    <a:pt x="2014" y="183"/>
                  </a:lnTo>
                  <a:lnTo>
                    <a:pt x="1991" y="188"/>
                  </a:lnTo>
                  <a:lnTo>
                    <a:pt x="1989" y="215"/>
                  </a:lnTo>
                  <a:lnTo>
                    <a:pt x="2004" y="219"/>
                  </a:lnTo>
                  <a:lnTo>
                    <a:pt x="2028" y="217"/>
                  </a:lnTo>
                  <a:lnTo>
                    <a:pt x="2051" y="214"/>
                  </a:lnTo>
                  <a:lnTo>
                    <a:pt x="2067" y="219"/>
                  </a:lnTo>
                  <a:lnTo>
                    <a:pt x="2060" y="238"/>
                  </a:lnTo>
                  <a:lnTo>
                    <a:pt x="2097" y="250"/>
                  </a:lnTo>
                  <a:lnTo>
                    <a:pt x="2081" y="284"/>
                  </a:lnTo>
                  <a:lnTo>
                    <a:pt x="2110" y="281"/>
                  </a:lnTo>
                  <a:lnTo>
                    <a:pt x="2113" y="250"/>
                  </a:lnTo>
                  <a:lnTo>
                    <a:pt x="2126" y="244"/>
                  </a:lnTo>
                  <a:lnTo>
                    <a:pt x="2141" y="268"/>
                  </a:lnTo>
                  <a:lnTo>
                    <a:pt x="2144" y="241"/>
                  </a:lnTo>
                  <a:lnTo>
                    <a:pt x="2171" y="238"/>
                  </a:lnTo>
                  <a:lnTo>
                    <a:pt x="2197" y="297"/>
                  </a:lnTo>
                  <a:lnTo>
                    <a:pt x="2153" y="297"/>
                  </a:lnTo>
                  <a:lnTo>
                    <a:pt x="2141" y="352"/>
                  </a:lnTo>
                  <a:lnTo>
                    <a:pt x="2101" y="374"/>
                  </a:lnTo>
                  <a:lnTo>
                    <a:pt x="2098" y="388"/>
                  </a:lnTo>
                  <a:lnTo>
                    <a:pt x="2099" y="412"/>
                  </a:lnTo>
                  <a:lnTo>
                    <a:pt x="2101" y="434"/>
                  </a:lnTo>
                  <a:lnTo>
                    <a:pt x="2097" y="452"/>
                  </a:lnTo>
                  <a:lnTo>
                    <a:pt x="2073" y="461"/>
                  </a:lnTo>
                  <a:lnTo>
                    <a:pt x="2075" y="464"/>
                  </a:lnTo>
                  <a:lnTo>
                    <a:pt x="2074" y="464"/>
                  </a:lnTo>
                  <a:lnTo>
                    <a:pt x="2060" y="448"/>
                  </a:lnTo>
                  <a:lnTo>
                    <a:pt x="2063" y="406"/>
                  </a:lnTo>
                  <a:lnTo>
                    <a:pt x="2074" y="381"/>
                  </a:lnTo>
                  <a:lnTo>
                    <a:pt x="2083" y="353"/>
                  </a:lnTo>
                  <a:lnTo>
                    <a:pt x="2066" y="322"/>
                  </a:lnTo>
                  <a:lnTo>
                    <a:pt x="2037" y="296"/>
                  </a:lnTo>
                  <a:lnTo>
                    <a:pt x="1986" y="288"/>
                  </a:lnTo>
                  <a:lnTo>
                    <a:pt x="1956" y="266"/>
                  </a:lnTo>
                  <a:lnTo>
                    <a:pt x="1930" y="239"/>
                  </a:lnTo>
                  <a:lnTo>
                    <a:pt x="1895" y="269"/>
                  </a:lnTo>
                  <a:lnTo>
                    <a:pt x="1888" y="288"/>
                  </a:lnTo>
                  <a:lnTo>
                    <a:pt x="1832" y="292"/>
                  </a:lnTo>
                  <a:lnTo>
                    <a:pt x="1827" y="330"/>
                  </a:lnTo>
                  <a:lnTo>
                    <a:pt x="1804" y="364"/>
                  </a:lnTo>
                  <a:lnTo>
                    <a:pt x="1809" y="376"/>
                  </a:lnTo>
                  <a:lnTo>
                    <a:pt x="1809" y="393"/>
                  </a:lnTo>
                  <a:lnTo>
                    <a:pt x="1806" y="417"/>
                  </a:lnTo>
                  <a:lnTo>
                    <a:pt x="1804" y="459"/>
                  </a:lnTo>
                  <a:lnTo>
                    <a:pt x="1812" y="482"/>
                  </a:lnTo>
                  <a:lnTo>
                    <a:pt x="1823" y="523"/>
                  </a:lnTo>
                  <a:lnTo>
                    <a:pt x="1812" y="546"/>
                  </a:lnTo>
                  <a:lnTo>
                    <a:pt x="1786" y="555"/>
                  </a:lnTo>
                  <a:lnTo>
                    <a:pt x="1777" y="569"/>
                  </a:lnTo>
                  <a:lnTo>
                    <a:pt x="1782" y="597"/>
                  </a:lnTo>
                  <a:lnTo>
                    <a:pt x="1786" y="627"/>
                  </a:lnTo>
                  <a:lnTo>
                    <a:pt x="1774" y="637"/>
                  </a:lnTo>
                  <a:lnTo>
                    <a:pt x="1758" y="622"/>
                  </a:lnTo>
                  <a:lnTo>
                    <a:pt x="1740" y="615"/>
                  </a:lnTo>
                  <a:lnTo>
                    <a:pt x="1713" y="618"/>
                  </a:lnTo>
                  <a:lnTo>
                    <a:pt x="1679" y="595"/>
                  </a:lnTo>
                  <a:lnTo>
                    <a:pt x="1667" y="611"/>
                  </a:lnTo>
                  <a:lnTo>
                    <a:pt x="1667" y="630"/>
                  </a:lnTo>
                  <a:lnTo>
                    <a:pt x="1649" y="634"/>
                  </a:lnTo>
                  <a:lnTo>
                    <a:pt x="1637" y="653"/>
                  </a:lnTo>
                  <a:lnTo>
                    <a:pt x="1618" y="657"/>
                  </a:lnTo>
                  <a:lnTo>
                    <a:pt x="1614" y="645"/>
                  </a:lnTo>
                  <a:lnTo>
                    <a:pt x="1576" y="641"/>
                  </a:lnTo>
                  <a:lnTo>
                    <a:pt x="1546" y="641"/>
                  </a:lnTo>
                  <a:lnTo>
                    <a:pt x="1549" y="627"/>
                  </a:lnTo>
                  <a:lnTo>
                    <a:pt x="1526" y="589"/>
                  </a:lnTo>
                  <a:lnTo>
                    <a:pt x="1481" y="527"/>
                  </a:lnTo>
                  <a:lnTo>
                    <a:pt x="1439" y="523"/>
                  </a:lnTo>
                  <a:lnTo>
                    <a:pt x="1428" y="550"/>
                  </a:lnTo>
                  <a:lnTo>
                    <a:pt x="1444" y="562"/>
                  </a:lnTo>
                  <a:lnTo>
                    <a:pt x="1439" y="585"/>
                  </a:lnTo>
                  <a:lnTo>
                    <a:pt x="1424" y="585"/>
                  </a:lnTo>
                  <a:lnTo>
                    <a:pt x="1421" y="569"/>
                  </a:lnTo>
                  <a:lnTo>
                    <a:pt x="1409" y="569"/>
                  </a:lnTo>
                  <a:lnTo>
                    <a:pt x="1405" y="592"/>
                  </a:lnTo>
                  <a:lnTo>
                    <a:pt x="1394" y="592"/>
                  </a:lnTo>
                  <a:lnTo>
                    <a:pt x="1394" y="587"/>
                  </a:lnTo>
                  <a:lnTo>
                    <a:pt x="1386" y="595"/>
                  </a:lnTo>
                  <a:lnTo>
                    <a:pt x="1364" y="600"/>
                  </a:lnTo>
                  <a:lnTo>
                    <a:pt x="1381" y="639"/>
                  </a:lnTo>
                  <a:lnTo>
                    <a:pt x="1373" y="682"/>
                  </a:lnTo>
                  <a:lnTo>
                    <a:pt x="1351" y="716"/>
                  </a:lnTo>
                  <a:lnTo>
                    <a:pt x="1389" y="725"/>
                  </a:lnTo>
                  <a:lnTo>
                    <a:pt x="1364" y="750"/>
                  </a:lnTo>
                  <a:lnTo>
                    <a:pt x="1308" y="746"/>
                  </a:lnTo>
                  <a:lnTo>
                    <a:pt x="1278" y="730"/>
                  </a:lnTo>
                  <a:lnTo>
                    <a:pt x="1251" y="738"/>
                  </a:lnTo>
                  <a:lnTo>
                    <a:pt x="1221" y="720"/>
                  </a:lnTo>
                  <a:lnTo>
                    <a:pt x="1209" y="750"/>
                  </a:lnTo>
                  <a:lnTo>
                    <a:pt x="1218" y="780"/>
                  </a:lnTo>
                  <a:lnTo>
                    <a:pt x="1226" y="811"/>
                  </a:lnTo>
                  <a:lnTo>
                    <a:pt x="1209" y="836"/>
                  </a:lnTo>
                  <a:lnTo>
                    <a:pt x="1205" y="863"/>
                  </a:lnTo>
                  <a:lnTo>
                    <a:pt x="1170" y="841"/>
                  </a:lnTo>
                  <a:lnTo>
                    <a:pt x="1144" y="854"/>
                  </a:lnTo>
                  <a:lnTo>
                    <a:pt x="1105" y="889"/>
                  </a:lnTo>
                  <a:lnTo>
                    <a:pt x="1104" y="926"/>
                  </a:lnTo>
                  <a:lnTo>
                    <a:pt x="1104" y="948"/>
                  </a:lnTo>
                  <a:lnTo>
                    <a:pt x="1101" y="966"/>
                  </a:lnTo>
                  <a:lnTo>
                    <a:pt x="1058" y="991"/>
                  </a:lnTo>
                  <a:lnTo>
                    <a:pt x="1062" y="1013"/>
                  </a:lnTo>
                  <a:lnTo>
                    <a:pt x="1093" y="1061"/>
                  </a:lnTo>
                  <a:lnTo>
                    <a:pt x="1093" y="1099"/>
                  </a:lnTo>
                  <a:lnTo>
                    <a:pt x="1066" y="1125"/>
                  </a:lnTo>
                  <a:lnTo>
                    <a:pt x="1045" y="1180"/>
                  </a:lnTo>
                  <a:lnTo>
                    <a:pt x="1015" y="1207"/>
                  </a:lnTo>
                  <a:lnTo>
                    <a:pt x="1023" y="1238"/>
                  </a:lnTo>
                  <a:lnTo>
                    <a:pt x="1032" y="1272"/>
                  </a:lnTo>
                  <a:lnTo>
                    <a:pt x="993" y="1297"/>
                  </a:lnTo>
                  <a:lnTo>
                    <a:pt x="950" y="1310"/>
                  </a:lnTo>
                  <a:lnTo>
                    <a:pt x="947" y="1332"/>
                  </a:lnTo>
                  <a:lnTo>
                    <a:pt x="952" y="1385"/>
                  </a:lnTo>
                  <a:lnTo>
                    <a:pt x="958" y="1450"/>
                  </a:lnTo>
                  <a:lnTo>
                    <a:pt x="958" y="1480"/>
                  </a:lnTo>
                  <a:lnTo>
                    <a:pt x="955" y="1508"/>
                  </a:lnTo>
                  <a:lnTo>
                    <a:pt x="877" y="1662"/>
                  </a:lnTo>
                  <a:lnTo>
                    <a:pt x="901" y="1677"/>
                  </a:lnTo>
                  <a:lnTo>
                    <a:pt x="928" y="1692"/>
                  </a:lnTo>
                  <a:lnTo>
                    <a:pt x="933" y="1738"/>
                  </a:lnTo>
                  <a:lnTo>
                    <a:pt x="932" y="1766"/>
                  </a:lnTo>
                  <a:lnTo>
                    <a:pt x="923" y="1783"/>
                  </a:lnTo>
                  <a:lnTo>
                    <a:pt x="908" y="1787"/>
                  </a:lnTo>
                  <a:lnTo>
                    <a:pt x="884" y="1783"/>
                  </a:lnTo>
                  <a:lnTo>
                    <a:pt x="838" y="1779"/>
                  </a:lnTo>
                  <a:lnTo>
                    <a:pt x="801" y="1806"/>
                  </a:lnTo>
                  <a:lnTo>
                    <a:pt x="768" y="1843"/>
                  </a:lnTo>
                  <a:lnTo>
                    <a:pt x="761" y="1890"/>
                  </a:lnTo>
                  <a:lnTo>
                    <a:pt x="755" y="1917"/>
                  </a:lnTo>
                  <a:lnTo>
                    <a:pt x="724" y="1955"/>
                  </a:lnTo>
                  <a:lnTo>
                    <a:pt x="742" y="1983"/>
                  </a:lnTo>
                  <a:lnTo>
                    <a:pt x="760" y="2011"/>
                  </a:lnTo>
                  <a:lnTo>
                    <a:pt x="743" y="2036"/>
                  </a:lnTo>
                  <a:lnTo>
                    <a:pt x="743" y="2064"/>
                  </a:lnTo>
                  <a:lnTo>
                    <a:pt x="752" y="2093"/>
                  </a:lnTo>
                  <a:lnTo>
                    <a:pt x="752" y="2140"/>
                  </a:lnTo>
                  <a:lnTo>
                    <a:pt x="768" y="2192"/>
                  </a:lnTo>
                  <a:lnTo>
                    <a:pt x="770" y="2227"/>
                  </a:lnTo>
                  <a:lnTo>
                    <a:pt x="770" y="2247"/>
                  </a:lnTo>
                  <a:lnTo>
                    <a:pt x="770" y="2265"/>
                  </a:lnTo>
                  <a:lnTo>
                    <a:pt x="765" y="2307"/>
                  </a:lnTo>
                  <a:lnTo>
                    <a:pt x="777" y="2339"/>
                  </a:lnTo>
                  <a:lnTo>
                    <a:pt x="807" y="2339"/>
                  </a:lnTo>
                  <a:lnTo>
                    <a:pt x="838" y="2385"/>
                  </a:lnTo>
                  <a:lnTo>
                    <a:pt x="841" y="2415"/>
                  </a:lnTo>
                  <a:lnTo>
                    <a:pt x="839" y="2432"/>
                  </a:lnTo>
                  <a:lnTo>
                    <a:pt x="833" y="2445"/>
                  </a:lnTo>
                  <a:lnTo>
                    <a:pt x="782" y="2463"/>
                  </a:lnTo>
                  <a:lnTo>
                    <a:pt x="777" y="2485"/>
                  </a:lnTo>
                  <a:lnTo>
                    <a:pt x="813" y="2575"/>
                  </a:lnTo>
                  <a:lnTo>
                    <a:pt x="817" y="2610"/>
                  </a:lnTo>
                  <a:lnTo>
                    <a:pt x="808" y="2622"/>
                  </a:lnTo>
                  <a:lnTo>
                    <a:pt x="808" y="2644"/>
                  </a:lnTo>
                  <a:lnTo>
                    <a:pt x="808" y="2669"/>
                  </a:lnTo>
                  <a:lnTo>
                    <a:pt x="777" y="2704"/>
                  </a:lnTo>
                  <a:lnTo>
                    <a:pt x="747" y="2704"/>
                  </a:lnTo>
                  <a:lnTo>
                    <a:pt x="743" y="2721"/>
                  </a:lnTo>
                  <a:lnTo>
                    <a:pt x="747" y="2746"/>
                  </a:lnTo>
                  <a:lnTo>
                    <a:pt x="725" y="2773"/>
                  </a:lnTo>
                  <a:lnTo>
                    <a:pt x="725" y="2785"/>
                  </a:lnTo>
                  <a:lnTo>
                    <a:pt x="725" y="2803"/>
                  </a:lnTo>
                  <a:lnTo>
                    <a:pt x="730" y="2837"/>
                  </a:lnTo>
                  <a:lnTo>
                    <a:pt x="734" y="2888"/>
                  </a:lnTo>
                  <a:lnTo>
                    <a:pt x="735" y="2915"/>
                  </a:lnTo>
                  <a:lnTo>
                    <a:pt x="725" y="2936"/>
                  </a:lnTo>
                  <a:lnTo>
                    <a:pt x="700" y="2932"/>
                  </a:lnTo>
                  <a:lnTo>
                    <a:pt x="706" y="2902"/>
                  </a:lnTo>
                  <a:lnTo>
                    <a:pt x="680" y="2880"/>
                  </a:lnTo>
                  <a:lnTo>
                    <a:pt x="670" y="2882"/>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85" name="Freeform 7"/>
            <p:cNvSpPr>
              <a:spLocks/>
            </p:cNvSpPr>
            <p:nvPr/>
          </p:nvSpPr>
          <p:spPr bwMode="auto">
            <a:xfrm>
              <a:off x="4537075" y="949325"/>
              <a:ext cx="971550" cy="1601788"/>
            </a:xfrm>
            <a:custGeom>
              <a:avLst/>
              <a:gdLst>
                <a:gd name="T0" fmla="*/ 2147483647 w 1291"/>
                <a:gd name="T1" fmla="*/ 2147483647 h 2337"/>
                <a:gd name="T2" fmla="*/ 2147483647 w 1291"/>
                <a:gd name="T3" fmla="*/ 2147483647 h 2337"/>
                <a:gd name="T4" fmla="*/ 2147483647 w 1291"/>
                <a:gd name="T5" fmla="*/ 2147483647 h 2337"/>
                <a:gd name="T6" fmla="*/ 2147483647 w 1291"/>
                <a:gd name="T7" fmla="*/ 2147483647 h 2337"/>
                <a:gd name="T8" fmla="*/ 2147483647 w 1291"/>
                <a:gd name="T9" fmla="*/ 2147483647 h 2337"/>
                <a:gd name="T10" fmla="*/ 2147483647 w 1291"/>
                <a:gd name="T11" fmla="*/ 2147483647 h 2337"/>
                <a:gd name="T12" fmla="*/ 2147483647 w 1291"/>
                <a:gd name="T13" fmla="*/ 2147483647 h 2337"/>
                <a:gd name="T14" fmla="*/ 2147483647 w 1291"/>
                <a:gd name="T15" fmla="*/ 2147483647 h 2337"/>
                <a:gd name="T16" fmla="*/ 2147483647 w 1291"/>
                <a:gd name="T17" fmla="*/ 2147483647 h 2337"/>
                <a:gd name="T18" fmla="*/ 2147483647 w 1291"/>
                <a:gd name="T19" fmla="*/ 2147483647 h 2337"/>
                <a:gd name="T20" fmla="*/ 2147483647 w 1291"/>
                <a:gd name="T21" fmla="*/ 2147483647 h 2337"/>
                <a:gd name="T22" fmla="*/ 2147483647 w 1291"/>
                <a:gd name="T23" fmla="*/ 2147483647 h 2337"/>
                <a:gd name="T24" fmla="*/ 2147483647 w 1291"/>
                <a:gd name="T25" fmla="*/ 2147483647 h 2337"/>
                <a:gd name="T26" fmla="*/ 2147483647 w 1291"/>
                <a:gd name="T27" fmla="*/ 2147483647 h 2337"/>
                <a:gd name="T28" fmla="*/ 2147483647 w 1291"/>
                <a:gd name="T29" fmla="*/ 2147483647 h 2337"/>
                <a:gd name="T30" fmla="*/ 2147483647 w 1291"/>
                <a:gd name="T31" fmla="*/ 2147483647 h 2337"/>
                <a:gd name="T32" fmla="*/ 2147483647 w 1291"/>
                <a:gd name="T33" fmla="*/ 2147483647 h 2337"/>
                <a:gd name="T34" fmla="*/ 2147483647 w 1291"/>
                <a:gd name="T35" fmla="*/ 2147483647 h 2337"/>
                <a:gd name="T36" fmla="*/ 2147483647 w 1291"/>
                <a:gd name="T37" fmla="*/ 2147483647 h 2337"/>
                <a:gd name="T38" fmla="*/ 2147483647 w 1291"/>
                <a:gd name="T39" fmla="*/ 2147483647 h 2337"/>
                <a:gd name="T40" fmla="*/ 2147483647 w 1291"/>
                <a:gd name="T41" fmla="*/ 2147483647 h 2337"/>
                <a:gd name="T42" fmla="*/ 2147483647 w 1291"/>
                <a:gd name="T43" fmla="*/ 2147483647 h 2337"/>
                <a:gd name="T44" fmla="*/ 2147483647 w 1291"/>
                <a:gd name="T45" fmla="*/ 2147483647 h 2337"/>
                <a:gd name="T46" fmla="*/ 2147483647 w 1291"/>
                <a:gd name="T47" fmla="*/ 2147483647 h 2337"/>
                <a:gd name="T48" fmla="*/ 2147483647 w 1291"/>
                <a:gd name="T49" fmla="*/ 2147483647 h 2337"/>
                <a:gd name="T50" fmla="*/ 2147483647 w 1291"/>
                <a:gd name="T51" fmla="*/ 2147483647 h 2337"/>
                <a:gd name="T52" fmla="*/ 2147483647 w 1291"/>
                <a:gd name="T53" fmla="*/ 2147483647 h 2337"/>
                <a:gd name="T54" fmla="*/ 2147483647 w 1291"/>
                <a:gd name="T55" fmla="*/ 2147483647 h 2337"/>
                <a:gd name="T56" fmla="*/ 2147483647 w 1291"/>
                <a:gd name="T57" fmla="*/ 2147483647 h 2337"/>
                <a:gd name="T58" fmla="*/ 2147483647 w 1291"/>
                <a:gd name="T59" fmla="*/ 2147483647 h 2337"/>
                <a:gd name="T60" fmla="*/ 2147483647 w 1291"/>
                <a:gd name="T61" fmla="*/ 2147483647 h 2337"/>
                <a:gd name="T62" fmla="*/ 2147483647 w 1291"/>
                <a:gd name="T63" fmla="*/ 2147483647 h 2337"/>
                <a:gd name="T64" fmla="*/ 2147483647 w 1291"/>
                <a:gd name="T65" fmla="*/ 2147483647 h 2337"/>
                <a:gd name="T66" fmla="*/ 2147483647 w 1291"/>
                <a:gd name="T67" fmla="*/ 2147483647 h 2337"/>
                <a:gd name="T68" fmla="*/ 2147483647 w 1291"/>
                <a:gd name="T69" fmla="*/ 2147483647 h 2337"/>
                <a:gd name="T70" fmla="*/ 2147483647 w 1291"/>
                <a:gd name="T71" fmla="*/ 2147483647 h 2337"/>
                <a:gd name="T72" fmla="*/ 2147483647 w 1291"/>
                <a:gd name="T73" fmla="*/ 2147483647 h 2337"/>
                <a:gd name="T74" fmla="*/ 2147483647 w 1291"/>
                <a:gd name="T75" fmla="*/ 2147483647 h 2337"/>
                <a:gd name="T76" fmla="*/ 2147483647 w 1291"/>
                <a:gd name="T77" fmla="*/ 2147483647 h 2337"/>
                <a:gd name="T78" fmla="*/ 2147483647 w 1291"/>
                <a:gd name="T79" fmla="*/ 2147483647 h 2337"/>
                <a:gd name="T80" fmla="*/ 2147483647 w 1291"/>
                <a:gd name="T81" fmla="*/ 2147483647 h 2337"/>
                <a:gd name="T82" fmla="*/ 2147483647 w 1291"/>
                <a:gd name="T83" fmla="*/ 2147483647 h 2337"/>
                <a:gd name="T84" fmla="*/ 2147483647 w 1291"/>
                <a:gd name="T85" fmla="*/ 2147483647 h 2337"/>
                <a:gd name="T86" fmla="*/ 2147483647 w 1291"/>
                <a:gd name="T87" fmla="*/ 2147483647 h 2337"/>
                <a:gd name="T88" fmla="*/ 2147483647 w 1291"/>
                <a:gd name="T89" fmla="*/ 2147483647 h 2337"/>
                <a:gd name="T90" fmla="*/ 2147483647 w 1291"/>
                <a:gd name="T91" fmla="*/ 2147483647 h 2337"/>
                <a:gd name="T92" fmla="*/ 2147483647 w 1291"/>
                <a:gd name="T93" fmla="*/ 2147483647 h 2337"/>
                <a:gd name="T94" fmla="*/ 2147483647 w 1291"/>
                <a:gd name="T95" fmla="*/ 2147483647 h 2337"/>
                <a:gd name="T96" fmla="*/ 2147483647 w 1291"/>
                <a:gd name="T97" fmla="*/ 2147483647 h 2337"/>
                <a:gd name="T98" fmla="*/ 2147483647 w 1291"/>
                <a:gd name="T99" fmla="*/ 2147483647 h 2337"/>
                <a:gd name="T100" fmla="*/ 2147483647 w 1291"/>
                <a:gd name="T101" fmla="*/ 0 h 2337"/>
                <a:gd name="T102" fmla="*/ 2147483647 w 1291"/>
                <a:gd name="T103" fmla="*/ 2147483647 h 2337"/>
                <a:gd name="T104" fmla="*/ 2147483647 w 1291"/>
                <a:gd name="T105" fmla="*/ 2147483647 h 2337"/>
                <a:gd name="T106" fmla="*/ 2147483647 w 1291"/>
                <a:gd name="T107" fmla="*/ 2147483647 h 2337"/>
                <a:gd name="T108" fmla="*/ 2147483647 w 1291"/>
                <a:gd name="T109" fmla="*/ 2147483647 h 2337"/>
                <a:gd name="T110" fmla="*/ 2147483647 w 1291"/>
                <a:gd name="T111" fmla="*/ 2147483647 h 2337"/>
                <a:gd name="T112" fmla="*/ 2147483647 w 1291"/>
                <a:gd name="T113" fmla="*/ 2147483647 h 2337"/>
                <a:gd name="T114" fmla="*/ 2147483647 w 1291"/>
                <a:gd name="T115" fmla="*/ 2147483647 h 2337"/>
                <a:gd name="T116" fmla="*/ 2147483647 w 1291"/>
                <a:gd name="T117" fmla="*/ 2147483647 h 2337"/>
                <a:gd name="T118" fmla="*/ 2147483647 w 1291"/>
                <a:gd name="T119" fmla="*/ 2147483647 h 2337"/>
                <a:gd name="T120" fmla="*/ 0 w 1291"/>
                <a:gd name="T121" fmla="*/ 2147483647 h 23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91"/>
                <a:gd name="T184" fmla="*/ 0 h 2337"/>
                <a:gd name="T185" fmla="*/ 1291 w 1291"/>
                <a:gd name="T186" fmla="*/ 2337 h 23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91" h="2337">
                  <a:moveTo>
                    <a:pt x="25" y="368"/>
                  </a:moveTo>
                  <a:lnTo>
                    <a:pt x="34" y="388"/>
                  </a:lnTo>
                  <a:lnTo>
                    <a:pt x="95" y="433"/>
                  </a:lnTo>
                  <a:lnTo>
                    <a:pt x="144" y="463"/>
                  </a:lnTo>
                  <a:lnTo>
                    <a:pt x="179" y="463"/>
                  </a:lnTo>
                  <a:lnTo>
                    <a:pt x="232" y="489"/>
                  </a:lnTo>
                  <a:lnTo>
                    <a:pt x="244" y="509"/>
                  </a:lnTo>
                  <a:lnTo>
                    <a:pt x="269" y="524"/>
                  </a:lnTo>
                  <a:lnTo>
                    <a:pt x="290" y="546"/>
                  </a:lnTo>
                  <a:lnTo>
                    <a:pt x="281" y="561"/>
                  </a:lnTo>
                  <a:lnTo>
                    <a:pt x="285" y="607"/>
                  </a:lnTo>
                  <a:lnTo>
                    <a:pt x="297" y="614"/>
                  </a:lnTo>
                  <a:lnTo>
                    <a:pt x="285" y="637"/>
                  </a:lnTo>
                  <a:lnTo>
                    <a:pt x="290" y="668"/>
                  </a:lnTo>
                  <a:lnTo>
                    <a:pt x="327" y="672"/>
                  </a:lnTo>
                  <a:lnTo>
                    <a:pt x="335" y="702"/>
                  </a:lnTo>
                  <a:lnTo>
                    <a:pt x="320" y="721"/>
                  </a:lnTo>
                  <a:lnTo>
                    <a:pt x="327" y="744"/>
                  </a:lnTo>
                  <a:lnTo>
                    <a:pt x="369" y="789"/>
                  </a:lnTo>
                  <a:lnTo>
                    <a:pt x="372" y="799"/>
                  </a:lnTo>
                  <a:lnTo>
                    <a:pt x="371" y="822"/>
                  </a:lnTo>
                  <a:lnTo>
                    <a:pt x="369" y="865"/>
                  </a:lnTo>
                  <a:lnTo>
                    <a:pt x="360" y="884"/>
                  </a:lnTo>
                  <a:lnTo>
                    <a:pt x="360" y="896"/>
                  </a:lnTo>
                  <a:lnTo>
                    <a:pt x="362" y="914"/>
                  </a:lnTo>
                  <a:lnTo>
                    <a:pt x="372" y="945"/>
                  </a:lnTo>
                  <a:lnTo>
                    <a:pt x="395" y="956"/>
                  </a:lnTo>
                  <a:lnTo>
                    <a:pt x="414" y="993"/>
                  </a:lnTo>
                  <a:lnTo>
                    <a:pt x="437" y="1024"/>
                  </a:lnTo>
                  <a:lnTo>
                    <a:pt x="467" y="1017"/>
                  </a:lnTo>
                  <a:lnTo>
                    <a:pt x="483" y="1028"/>
                  </a:lnTo>
                  <a:lnTo>
                    <a:pt x="487" y="1047"/>
                  </a:lnTo>
                  <a:lnTo>
                    <a:pt x="525" y="1047"/>
                  </a:lnTo>
                  <a:lnTo>
                    <a:pt x="559" y="1073"/>
                  </a:lnTo>
                  <a:lnTo>
                    <a:pt x="559" y="1100"/>
                  </a:lnTo>
                  <a:lnTo>
                    <a:pt x="567" y="1149"/>
                  </a:lnTo>
                  <a:lnTo>
                    <a:pt x="593" y="1157"/>
                  </a:lnTo>
                  <a:lnTo>
                    <a:pt x="581" y="1191"/>
                  </a:lnTo>
                  <a:lnTo>
                    <a:pt x="604" y="1217"/>
                  </a:lnTo>
                  <a:lnTo>
                    <a:pt x="597" y="1226"/>
                  </a:lnTo>
                  <a:lnTo>
                    <a:pt x="575" y="1216"/>
                  </a:lnTo>
                  <a:lnTo>
                    <a:pt x="551" y="1206"/>
                  </a:lnTo>
                  <a:lnTo>
                    <a:pt x="531" y="1233"/>
                  </a:lnTo>
                  <a:lnTo>
                    <a:pt x="509" y="1263"/>
                  </a:lnTo>
                  <a:lnTo>
                    <a:pt x="509" y="1298"/>
                  </a:lnTo>
                  <a:lnTo>
                    <a:pt x="483" y="1331"/>
                  </a:lnTo>
                  <a:lnTo>
                    <a:pt x="483" y="1380"/>
                  </a:lnTo>
                  <a:lnTo>
                    <a:pt x="449" y="1408"/>
                  </a:lnTo>
                  <a:lnTo>
                    <a:pt x="464" y="1426"/>
                  </a:lnTo>
                  <a:lnTo>
                    <a:pt x="434" y="1438"/>
                  </a:lnTo>
                  <a:lnTo>
                    <a:pt x="441" y="1453"/>
                  </a:lnTo>
                  <a:lnTo>
                    <a:pt x="430" y="1468"/>
                  </a:lnTo>
                  <a:lnTo>
                    <a:pt x="407" y="1476"/>
                  </a:lnTo>
                  <a:lnTo>
                    <a:pt x="404" y="1525"/>
                  </a:lnTo>
                  <a:lnTo>
                    <a:pt x="384" y="1506"/>
                  </a:lnTo>
                  <a:lnTo>
                    <a:pt x="365" y="1521"/>
                  </a:lnTo>
                  <a:lnTo>
                    <a:pt x="362" y="1562"/>
                  </a:lnTo>
                  <a:lnTo>
                    <a:pt x="342" y="1585"/>
                  </a:lnTo>
                  <a:lnTo>
                    <a:pt x="365" y="1608"/>
                  </a:lnTo>
                  <a:lnTo>
                    <a:pt x="362" y="1616"/>
                  </a:lnTo>
                  <a:lnTo>
                    <a:pt x="346" y="1634"/>
                  </a:lnTo>
                  <a:lnTo>
                    <a:pt x="335" y="1631"/>
                  </a:lnTo>
                  <a:lnTo>
                    <a:pt x="320" y="1646"/>
                  </a:lnTo>
                  <a:lnTo>
                    <a:pt x="290" y="1634"/>
                  </a:lnTo>
                  <a:lnTo>
                    <a:pt x="304" y="1676"/>
                  </a:lnTo>
                  <a:lnTo>
                    <a:pt x="290" y="1688"/>
                  </a:lnTo>
                  <a:lnTo>
                    <a:pt x="290" y="1711"/>
                  </a:lnTo>
                  <a:lnTo>
                    <a:pt x="274" y="1718"/>
                  </a:lnTo>
                  <a:lnTo>
                    <a:pt x="269" y="1744"/>
                  </a:lnTo>
                  <a:lnTo>
                    <a:pt x="270" y="1771"/>
                  </a:lnTo>
                  <a:lnTo>
                    <a:pt x="281" y="1783"/>
                  </a:lnTo>
                  <a:lnTo>
                    <a:pt x="278" y="1806"/>
                  </a:lnTo>
                  <a:lnTo>
                    <a:pt x="285" y="1817"/>
                  </a:lnTo>
                  <a:lnTo>
                    <a:pt x="308" y="1862"/>
                  </a:lnTo>
                  <a:lnTo>
                    <a:pt x="304" y="1887"/>
                  </a:lnTo>
                  <a:lnTo>
                    <a:pt x="300" y="1915"/>
                  </a:lnTo>
                  <a:lnTo>
                    <a:pt x="316" y="1927"/>
                  </a:lnTo>
                  <a:lnTo>
                    <a:pt x="342" y="1959"/>
                  </a:lnTo>
                  <a:lnTo>
                    <a:pt x="362" y="1999"/>
                  </a:lnTo>
                  <a:lnTo>
                    <a:pt x="353" y="2034"/>
                  </a:lnTo>
                  <a:lnTo>
                    <a:pt x="365" y="2052"/>
                  </a:lnTo>
                  <a:lnTo>
                    <a:pt x="365" y="2074"/>
                  </a:lnTo>
                  <a:lnTo>
                    <a:pt x="350" y="2086"/>
                  </a:lnTo>
                  <a:lnTo>
                    <a:pt x="353" y="2097"/>
                  </a:lnTo>
                  <a:lnTo>
                    <a:pt x="358" y="2116"/>
                  </a:lnTo>
                  <a:lnTo>
                    <a:pt x="342" y="2116"/>
                  </a:lnTo>
                  <a:lnTo>
                    <a:pt x="365" y="2143"/>
                  </a:lnTo>
                  <a:lnTo>
                    <a:pt x="362" y="2155"/>
                  </a:lnTo>
                  <a:lnTo>
                    <a:pt x="339" y="2155"/>
                  </a:lnTo>
                  <a:lnTo>
                    <a:pt x="365" y="2169"/>
                  </a:lnTo>
                  <a:lnTo>
                    <a:pt x="353" y="2188"/>
                  </a:lnTo>
                  <a:lnTo>
                    <a:pt x="372" y="2223"/>
                  </a:lnTo>
                  <a:lnTo>
                    <a:pt x="392" y="2230"/>
                  </a:lnTo>
                  <a:lnTo>
                    <a:pt x="399" y="2230"/>
                  </a:lnTo>
                  <a:lnTo>
                    <a:pt x="392" y="2211"/>
                  </a:lnTo>
                  <a:lnTo>
                    <a:pt x="411" y="2207"/>
                  </a:lnTo>
                  <a:lnTo>
                    <a:pt x="422" y="2227"/>
                  </a:lnTo>
                  <a:lnTo>
                    <a:pt x="430" y="2227"/>
                  </a:lnTo>
                  <a:lnTo>
                    <a:pt x="449" y="2237"/>
                  </a:lnTo>
                  <a:lnTo>
                    <a:pt x="483" y="2230"/>
                  </a:lnTo>
                  <a:lnTo>
                    <a:pt x="499" y="2245"/>
                  </a:lnTo>
                  <a:lnTo>
                    <a:pt x="506" y="2249"/>
                  </a:lnTo>
                  <a:lnTo>
                    <a:pt x="500" y="2258"/>
                  </a:lnTo>
                  <a:lnTo>
                    <a:pt x="511" y="2272"/>
                  </a:lnTo>
                  <a:lnTo>
                    <a:pt x="529" y="2264"/>
                  </a:lnTo>
                  <a:lnTo>
                    <a:pt x="555" y="2246"/>
                  </a:lnTo>
                  <a:lnTo>
                    <a:pt x="544" y="2279"/>
                  </a:lnTo>
                  <a:lnTo>
                    <a:pt x="559" y="2306"/>
                  </a:lnTo>
                  <a:lnTo>
                    <a:pt x="563" y="2321"/>
                  </a:lnTo>
                  <a:lnTo>
                    <a:pt x="575" y="2337"/>
                  </a:lnTo>
                  <a:lnTo>
                    <a:pt x="593" y="2314"/>
                  </a:lnTo>
                  <a:lnTo>
                    <a:pt x="601" y="2309"/>
                  </a:lnTo>
                  <a:lnTo>
                    <a:pt x="609" y="2329"/>
                  </a:lnTo>
                  <a:lnTo>
                    <a:pt x="620" y="2325"/>
                  </a:lnTo>
                  <a:lnTo>
                    <a:pt x="627" y="2302"/>
                  </a:lnTo>
                  <a:lnTo>
                    <a:pt x="655" y="2302"/>
                  </a:lnTo>
                  <a:lnTo>
                    <a:pt x="666" y="2287"/>
                  </a:lnTo>
                  <a:lnTo>
                    <a:pt x="694" y="2289"/>
                  </a:lnTo>
                  <a:lnTo>
                    <a:pt x="723" y="2291"/>
                  </a:lnTo>
                  <a:lnTo>
                    <a:pt x="730" y="2272"/>
                  </a:lnTo>
                  <a:lnTo>
                    <a:pt x="750" y="2260"/>
                  </a:lnTo>
                  <a:lnTo>
                    <a:pt x="753" y="2234"/>
                  </a:lnTo>
                  <a:lnTo>
                    <a:pt x="795" y="2230"/>
                  </a:lnTo>
                  <a:lnTo>
                    <a:pt x="799" y="2211"/>
                  </a:lnTo>
                  <a:lnTo>
                    <a:pt x="822" y="2207"/>
                  </a:lnTo>
                  <a:lnTo>
                    <a:pt x="822" y="2197"/>
                  </a:lnTo>
                  <a:lnTo>
                    <a:pt x="825" y="2192"/>
                  </a:lnTo>
                  <a:lnTo>
                    <a:pt x="829" y="2177"/>
                  </a:lnTo>
                  <a:lnTo>
                    <a:pt x="845" y="2192"/>
                  </a:lnTo>
                  <a:lnTo>
                    <a:pt x="864" y="2188"/>
                  </a:lnTo>
                  <a:lnTo>
                    <a:pt x="855" y="2177"/>
                  </a:lnTo>
                  <a:lnTo>
                    <a:pt x="864" y="2155"/>
                  </a:lnTo>
                  <a:lnTo>
                    <a:pt x="871" y="2162"/>
                  </a:lnTo>
                  <a:lnTo>
                    <a:pt x="887" y="2155"/>
                  </a:lnTo>
                  <a:lnTo>
                    <a:pt x="909" y="2158"/>
                  </a:lnTo>
                  <a:lnTo>
                    <a:pt x="913" y="2136"/>
                  </a:lnTo>
                  <a:lnTo>
                    <a:pt x="951" y="2136"/>
                  </a:lnTo>
                  <a:lnTo>
                    <a:pt x="985" y="2101"/>
                  </a:lnTo>
                  <a:lnTo>
                    <a:pt x="1011" y="2113"/>
                  </a:lnTo>
                  <a:lnTo>
                    <a:pt x="1038" y="2109"/>
                  </a:lnTo>
                  <a:lnTo>
                    <a:pt x="1072" y="2050"/>
                  </a:lnTo>
                  <a:lnTo>
                    <a:pt x="1099" y="1983"/>
                  </a:lnTo>
                  <a:lnTo>
                    <a:pt x="1198" y="1813"/>
                  </a:lnTo>
                  <a:lnTo>
                    <a:pt x="1252" y="1646"/>
                  </a:lnTo>
                  <a:lnTo>
                    <a:pt x="1289" y="1574"/>
                  </a:lnTo>
                  <a:lnTo>
                    <a:pt x="1282" y="1543"/>
                  </a:lnTo>
                  <a:lnTo>
                    <a:pt x="1288" y="1510"/>
                  </a:lnTo>
                  <a:lnTo>
                    <a:pt x="1291" y="1492"/>
                  </a:lnTo>
                  <a:lnTo>
                    <a:pt x="1290" y="1476"/>
                  </a:lnTo>
                  <a:lnTo>
                    <a:pt x="1263" y="1446"/>
                  </a:lnTo>
                  <a:lnTo>
                    <a:pt x="1225" y="1422"/>
                  </a:lnTo>
                  <a:lnTo>
                    <a:pt x="1183" y="1397"/>
                  </a:lnTo>
                  <a:lnTo>
                    <a:pt x="1118" y="1373"/>
                  </a:lnTo>
                  <a:lnTo>
                    <a:pt x="1092" y="1347"/>
                  </a:lnTo>
                  <a:lnTo>
                    <a:pt x="1111" y="1317"/>
                  </a:lnTo>
                  <a:lnTo>
                    <a:pt x="1120" y="1283"/>
                  </a:lnTo>
                  <a:lnTo>
                    <a:pt x="1121" y="1264"/>
                  </a:lnTo>
                  <a:lnTo>
                    <a:pt x="1118" y="1248"/>
                  </a:lnTo>
                  <a:lnTo>
                    <a:pt x="1100" y="1222"/>
                  </a:lnTo>
                  <a:lnTo>
                    <a:pt x="1082" y="1211"/>
                  </a:lnTo>
                  <a:lnTo>
                    <a:pt x="1057" y="1210"/>
                  </a:lnTo>
                  <a:lnTo>
                    <a:pt x="1043" y="1185"/>
                  </a:lnTo>
                  <a:lnTo>
                    <a:pt x="1034" y="1157"/>
                  </a:lnTo>
                  <a:lnTo>
                    <a:pt x="1050" y="1145"/>
                  </a:lnTo>
                  <a:lnTo>
                    <a:pt x="1031" y="1119"/>
                  </a:lnTo>
                  <a:lnTo>
                    <a:pt x="992" y="1122"/>
                  </a:lnTo>
                  <a:lnTo>
                    <a:pt x="974" y="1070"/>
                  </a:lnTo>
                  <a:lnTo>
                    <a:pt x="990" y="1043"/>
                  </a:lnTo>
                  <a:lnTo>
                    <a:pt x="985" y="1036"/>
                  </a:lnTo>
                  <a:lnTo>
                    <a:pt x="959" y="1029"/>
                  </a:lnTo>
                  <a:lnTo>
                    <a:pt x="955" y="1017"/>
                  </a:lnTo>
                  <a:lnTo>
                    <a:pt x="957" y="998"/>
                  </a:lnTo>
                  <a:lnTo>
                    <a:pt x="961" y="963"/>
                  </a:lnTo>
                  <a:lnTo>
                    <a:pt x="947" y="940"/>
                  </a:lnTo>
                  <a:lnTo>
                    <a:pt x="969" y="922"/>
                  </a:lnTo>
                  <a:lnTo>
                    <a:pt x="962" y="882"/>
                  </a:lnTo>
                  <a:lnTo>
                    <a:pt x="943" y="842"/>
                  </a:lnTo>
                  <a:lnTo>
                    <a:pt x="887" y="777"/>
                  </a:lnTo>
                  <a:lnTo>
                    <a:pt x="845" y="729"/>
                  </a:lnTo>
                  <a:lnTo>
                    <a:pt x="810" y="675"/>
                  </a:lnTo>
                  <a:lnTo>
                    <a:pt x="812" y="644"/>
                  </a:lnTo>
                  <a:lnTo>
                    <a:pt x="823" y="606"/>
                  </a:lnTo>
                  <a:lnTo>
                    <a:pt x="845" y="535"/>
                  </a:lnTo>
                  <a:lnTo>
                    <a:pt x="848" y="489"/>
                  </a:lnTo>
                  <a:lnTo>
                    <a:pt x="818" y="470"/>
                  </a:lnTo>
                  <a:lnTo>
                    <a:pt x="753" y="418"/>
                  </a:lnTo>
                  <a:lnTo>
                    <a:pt x="700" y="414"/>
                  </a:lnTo>
                  <a:lnTo>
                    <a:pt x="681" y="360"/>
                  </a:lnTo>
                  <a:lnTo>
                    <a:pt x="662" y="342"/>
                  </a:lnTo>
                  <a:lnTo>
                    <a:pt x="666" y="316"/>
                  </a:lnTo>
                  <a:lnTo>
                    <a:pt x="673" y="288"/>
                  </a:lnTo>
                  <a:lnTo>
                    <a:pt x="662" y="258"/>
                  </a:lnTo>
                  <a:lnTo>
                    <a:pt x="639" y="262"/>
                  </a:lnTo>
                  <a:lnTo>
                    <a:pt x="658" y="231"/>
                  </a:lnTo>
                  <a:lnTo>
                    <a:pt x="669" y="225"/>
                  </a:lnTo>
                  <a:lnTo>
                    <a:pt x="655" y="209"/>
                  </a:lnTo>
                  <a:lnTo>
                    <a:pt x="658" y="167"/>
                  </a:lnTo>
                  <a:lnTo>
                    <a:pt x="669" y="142"/>
                  </a:lnTo>
                  <a:lnTo>
                    <a:pt x="678" y="114"/>
                  </a:lnTo>
                  <a:lnTo>
                    <a:pt x="661" y="83"/>
                  </a:lnTo>
                  <a:lnTo>
                    <a:pt x="632" y="57"/>
                  </a:lnTo>
                  <a:lnTo>
                    <a:pt x="581" y="49"/>
                  </a:lnTo>
                  <a:lnTo>
                    <a:pt x="551" y="27"/>
                  </a:lnTo>
                  <a:lnTo>
                    <a:pt x="525" y="0"/>
                  </a:lnTo>
                  <a:lnTo>
                    <a:pt x="490" y="30"/>
                  </a:lnTo>
                  <a:lnTo>
                    <a:pt x="483" y="49"/>
                  </a:lnTo>
                  <a:lnTo>
                    <a:pt x="427" y="53"/>
                  </a:lnTo>
                  <a:lnTo>
                    <a:pt x="422" y="91"/>
                  </a:lnTo>
                  <a:lnTo>
                    <a:pt x="399" y="125"/>
                  </a:lnTo>
                  <a:lnTo>
                    <a:pt x="404" y="137"/>
                  </a:lnTo>
                  <a:lnTo>
                    <a:pt x="404" y="154"/>
                  </a:lnTo>
                  <a:lnTo>
                    <a:pt x="401" y="178"/>
                  </a:lnTo>
                  <a:lnTo>
                    <a:pt x="399" y="220"/>
                  </a:lnTo>
                  <a:lnTo>
                    <a:pt x="407" y="243"/>
                  </a:lnTo>
                  <a:lnTo>
                    <a:pt x="418" y="284"/>
                  </a:lnTo>
                  <a:lnTo>
                    <a:pt x="407" y="307"/>
                  </a:lnTo>
                  <a:lnTo>
                    <a:pt x="381" y="316"/>
                  </a:lnTo>
                  <a:lnTo>
                    <a:pt x="372" y="330"/>
                  </a:lnTo>
                  <a:lnTo>
                    <a:pt x="377" y="358"/>
                  </a:lnTo>
                  <a:lnTo>
                    <a:pt x="381" y="388"/>
                  </a:lnTo>
                  <a:lnTo>
                    <a:pt x="369" y="398"/>
                  </a:lnTo>
                  <a:lnTo>
                    <a:pt x="353" y="383"/>
                  </a:lnTo>
                  <a:lnTo>
                    <a:pt x="335" y="376"/>
                  </a:lnTo>
                  <a:lnTo>
                    <a:pt x="308" y="379"/>
                  </a:lnTo>
                  <a:lnTo>
                    <a:pt x="274" y="356"/>
                  </a:lnTo>
                  <a:lnTo>
                    <a:pt x="262" y="372"/>
                  </a:lnTo>
                  <a:lnTo>
                    <a:pt x="262" y="391"/>
                  </a:lnTo>
                  <a:lnTo>
                    <a:pt x="244" y="395"/>
                  </a:lnTo>
                  <a:lnTo>
                    <a:pt x="232" y="414"/>
                  </a:lnTo>
                  <a:lnTo>
                    <a:pt x="213" y="418"/>
                  </a:lnTo>
                  <a:lnTo>
                    <a:pt x="209" y="406"/>
                  </a:lnTo>
                  <a:lnTo>
                    <a:pt x="171" y="402"/>
                  </a:lnTo>
                  <a:lnTo>
                    <a:pt x="141" y="402"/>
                  </a:lnTo>
                  <a:lnTo>
                    <a:pt x="144" y="388"/>
                  </a:lnTo>
                  <a:lnTo>
                    <a:pt x="121" y="350"/>
                  </a:lnTo>
                  <a:lnTo>
                    <a:pt x="76" y="288"/>
                  </a:lnTo>
                  <a:lnTo>
                    <a:pt x="34" y="284"/>
                  </a:lnTo>
                  <a:lnTo>
                    <a:pt x="23" y="311"/>
                  </a:lnTo>
                  <a:lnTo>
                    <a:pt x="39" y="323"/>
                  </a:lnTo>
                  <a:lnTo>
                    <a:pt x="34" y="346"/>
                  </a:lnTo>
                  <a:lnTo>
                    <a:pt x="19" y="346"/>
                  </a:lnTo>
                  <a:lnTo>
                    <a:pt x="16" y="330"/>
                  </a:lnTo>
                  <a:lnTo>
                    <a:pt x="4" y="330"/>
                  </a:lnTo>
                  <a:lnTo>
                    <a:pt x="0" y="353"/>
                  </a:lnTo>
                  <a:lnTo>
                    <a:pt x="0" y="356"/>
                  </a:lnTo>
                  <a:lnTo>
                    <a:pt x="25" y="368"/>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86" name="Freeform 8"/>
            <p:cNvSpPr>
              <a:spLocks/>
            </p:cNvSpPr>
            <p:nvPr/>
          </p:nvSpPr>
          <p:spPr bwMode="auto">
            <a:xfrm>
              <a:off x="4908550" y="2511425"/>
              <a:ext cx="38100" cy="36513"/>
            </a:xfrm>
            <a:custGeom>
              <a:avLst/>
              <a:gdLst/>
              <a:ahLst/>
              <a:cxnLst>
                <a:cxn ang="0">
                  <a:pos x="23" y="4"/>
                </a:cxn>
                <a:cxn ang="0">
                  <a:pos x="4" y="12"/>
                </a:cxn>
                <a:cxn ang="0">
                  <a:pos x="0" y="53"/>
                </a:cxn>
                <a:cxn ang="0">
                  <a:pos x="23" y="46"/>
                </a:cxn>
                <a:cxn ang="0">
                  <a:pos x="41" y="39"/>
                </a:cxn>
                <a:cxn ang="0">
                  <a:pos x="49" y="20"/>
                </a:cxn>
                <a:cxn ang="0">
                  <a:pos x="37" y="0"/>
                </a:cxn>
                <a:cxn ang="0">
                  <a:pos x="23" y="4"/>
                </a:cxn>
              </a:cxnLst>
              <a:rect l="0" t="0" r="r" b="b"/>
              <a:pathLst>
                <a:path w="49" h="53">
                  <a:moveTo>
                    <a:pt x="23" y="4"/>
                  </a:moveTo>
                  <a:lnTo>
                    <a:pt x="4" y="12"/>
                  </a:lnTo>
                  <a:lnTo>
                    <a:pt x="0" y="53"/>
                  </a:lnTo>
                  <a:lnTo>
                    <a:pt x="23" y="46"/>
                  </a:lnTo>
                  <a:lnTo>
                    <a:pt x="41" y="39"/>
                  </a:lnTo>
                  <a:lnTo>
                    <a:pt x="49" y="20"/>
                  </a:lnTo>
                  <a:lnTo>
                    <a:pt x="37" y="0"/>
                  </a:lnTo>
                  <a:lnTo>
                    <a:pt x="23" y="4"/>
                  </a:lnTo>
                  <a:close/>
                </a:path>
              </a:pathLst>
            </a:custGeom>
            <a:grpFill/>
            <a:ln w="11113">
              <a:noFill/>
              <a:prstDash val="solid"/>
              <a:round/>
              <a:headEnd/>
              <a:tailEnd/>
            </a:ln>
          </p:spPr>
          <p:txBody>
            <a:bodyPr/>
            <a:lstStyle/>
            <a:p>
              <a:pPr>
                <a:defRPr/>
              </a:pPr>
              <a:endParaRPr lang="en-US" sz="2400">
                <a:solidFill>
                  <a:srgbClr val="000000"/>
                </a:solidFill>
              </a:endParaRPr>
            </a:p>
          </p:txBody>
        </p:sp>
        <p:sp>
          <p:nvSpPr>
            <p:cNvPr id="187" name="Freeform 9"/>
            <p:cNvSpPr>
              <a:spLocks/>
            </p:cNvSpPr>
            <p:nvPr/>
          </p:nvSpPr>
          <p:spPr bwMode="auto">
            <a:xfrm>
              <a:off x="4610100" y="2887663"/>
              <a:ext cx="80962" cy="141287"/>
            </a:xfrm>
            <a:custGeom>
              <a:avLst/>
              <a:gdLst/>
              <a:ahLst/>
              <a:cxnLst>
                <a:cxn ang="0">
                  <a:pos x="92" y="5"/>
                </a:cxn>
                <a:cxn ang="0">
                  <a:pos x="65" y="30"/>
                </a:cxn>
                <a:cxn ang="0">
                  <a:pos x="34" y="47"/>
                </a:cxn>
                <a:cxn ang="0">
                  <a:pos x="14" y="67"/>
                </a:cxn>
                <a:cxn ang="0">
                  <a:pos x="0" y="98"/>
                </a:cxn>
                <a:cxn ang="0">
                  <a:pos x="5" y="142"/>
                </a:cxn>
                <a:cxn ang="0">
                  <a:pos x="5" y="185"/>
                </a:cxn>
                <a:cxn ang="0">
                  <a:pos x="27" y="206"/>
                </a:cxn>
                <a:cxn ang="0">
                  <a:pos x="57" y="181"/>
                </a:cxn>
                <a:cxn ang="0">
                  <a:pos x="65" y="151"/>
                </a:cxn>
                <a:cxn ang="0">
                  <a:pos x="92" y="130"/>
                </a:cxn>
                <a:cxn ang="0">
                  <a:pos x="82" y="109"/>
                </a:cxn>
                <a:cxn ang="0">
                  <a:pos x="70" y="86"/>
                </a:cxn>
                <a:cxn ang="0">
                  <a:pos x="82" y="60"/>
                </a:cxn>
                <a:cxn ang="0">
                  <a:pos x="87" y="35"/>
                </a:cxn>
                <a:cxn ang="0">
                  <a:pos x="108" y="25"/>
                </a:cxn>
                <a:cxn ang="0">
                  <a:pos x="104" y="0"/>
                </a:cxn>
                <a:cxn ang="0">
                  <a:pos x="92" y="5"/>
                </a:cxn>
              </a:cxnLst>
              <a:rect l="0" t="0" r="r" b="b"/>
              <a:pathLst>
                <a:path w="108" h="206">
                  <a:moveTo>
                    <a:pt x="92" y="5"/>
                  </a:moveTo>
                  <a:lnTo>
                    <a:pt x="65" y="30"/>
                  </a:lnTo>
                  <a:lnTo>
                    <a:pt x="34" y="47"/>
                  </a:lnTo>
                  <a:lnTo>
                    <a:pt x="14" y="67"/>
                  </a:lnTo>
                  <a:lnTo>
                    <a:pt x="0" y="98"/>
                  </a:lnTo>
                  <a:lnTo>
                    <a:pt x="5" y="142"/>
                  </a:lnTo>
                  <a:lnTo>
                    <a:pt x="5" y="185"/>
                  </a:lnTo>
                  <a:lnTo>
                    <a:pt x="27" y="206"/>
                  </a:lnTo>
                  <a:lnTo>
                    <a:pt x="57" y="181"/>
                  </a:lnTo>
                  <a:lnTo>
                    <a:pt x="65" y="151"/>
                  </a:lnTo>
                  <a:lnTo>
                    <a:pt x="92" y="130"/>
                  </a:lnTo>
                  <a:lnTo>
                    <a:pt x="82" y="109"/>
                  </a:lnTo>
                  <a:lnTo>
                    <a:pt x="70" y="86"/>
                  </a:lnTo>
                  <a:lnTo>
                    <a:pt x="82" y="60"/>
                  </a:lnTo>
                  <a:lnTo>
                    <a:pt x="87" y="35"/>
                  </a:lnTo>
                  <a:lnTo>
                    <a:pt x="108" y="25"/>
                  </a:lnTo>
                  <a:lnTo>
                    <a:pt x="104" y="0"/>
                  </a:lnTo>
                  <a:lnTo>
                    <a:pt x="92" y="5"/>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188" name="Freeform 10"/>
            <p:cNvSpPr>
              <a:spLocks/>
            </p:cNvSpPr>
            <p:nvPr/>
          </p:nvSpPr>
          <p:spPr bwMode="auto">
            <a:xfrm>
              <a:off x="4467225" y="3003550"/>
              <a:ext cx="52387" cy="168275"/>
            </a:xfrm>
            <a:custGeom>
              <a:avLst/>
              <a:gdLst/>
              <a:ahLst/>
              <a:cxnLst>
                <a:cxn ang="0">
                  <a:pos x="69" y="4"/>
                </a:cxn>
                <a:cxn ang="0">
                  <a:pos x="38" y="129"/>
                </a:cxn>
                <a:cxn ang="0">
                  <a:pos x="30" y="196"/>
                </a:cxn>
                <a:cxn ang="0">
                  <a:pos x="13" y="245"/>
                </a:cxn>
                <a:cxn ang="0">
                  <a:pos x="0" y="189"/>
                </a:cxn>
                <a:cxn ang="0">
                  <a:pos x="26" y="94"/>
                </a:cxn>
                <a:cxn ang="0">
                  <a:pos x="43" y="43"/>
                </a:cxn>
                <a:cxn ang="0">
                  <a:pos x="51" y="0"/>
                </a:cxn>
                <a:cxn ang="0">
                  <a:pos x="69" y="4"/>
                </a:cxn>
              </a:cxnLst>
              <a:rect l="0" t="0" r="r" b="b"/>
              <a:pathLst>
                <a:path w="69" h="245">
                  <a:moveTo>
                    <a:pt x="69" y="4"/>
                  </a:moveTo>
                  <a:lnTo>
                    <a:pt x="38" y="129"/>
                  </a:lnTo>
                  <a:lnTo>
                    <a:pt x="30" y="196"/>
                  </a:lnTo>
                  <a:lnTo>
                    <a:pt x="13" y="245"/>
                  </a:lnTo>
                  <a:lnTo>
                    <a:pt x="0" y="189"/>
                  </a:lnTo>
                  <a:lnTo>
                    <a:pt x="26" y="94"/>
                  </a:lnTo>
                  <a:lnTo>
                    <a:pt x="43" y="43"/>
                  </a:lnTo>
                  <a:lnTo>
                    <a:pt x="51" y="0"/>
                  </a:lnTo>
                  <a:lnTo>
                    <a:pt x="69" y="4"/>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189" name="Freeform 11"/>
            <p:cNvSpPr>
              <a:spLocks/>
            </p:cNvSpPr>
            <p:nvPr/>
          </p:nvSpPr>
          <p:spPr bwMode="auto">
            <a:xfrm>
              <a:off x="3976687" y="1187450"/>
              <a:ext cx="889000" cy="2132013"/>
            </a:xfrm>
            <a:custGeom>
              <a:avLst/>
              <a:gdLst>
                <a:gd name="T0" fmla="*/ 408101497 w 1180"/>
                <a:gd name="T1" fmla="*/ 24453349 h 3109"/>
                <a:gd name="T2" fmla="*/ 366667239 w 1180"/>
                <a:gd name="T3" fmla="*/ 74771319 h 3109"/>
                <a:gd name="T4" fmla="*/ 315583663 w 1180"/>
                <a:gd name="T5" fmla="*/ 90760404 h 3109"/>
                <a:gd name="T6" fmla="*/ 273581444 w 1180"/>
                <a:gd name="T7" fmla="*/ 125559728 h 3109"/>
                <a:gd name="T8" fmla="*/ 224767830 w 1180"/>
                <a:gd name="T9" fmla="*/ 189985083 h 3109"/>
                <a:gd name="T10" fmla="*/ 217389133 w 1180"/>
                <a:gd name="T11" fmla="*/ 278864418 h 3109"/>
                <a:gd name="T12" fmla="*/ 163467491 w 1180"/>
                <a:gd name="T13" fmla="*/ 339998106 h 3109"/>
                <a:gd name="T14" fmla="*/ 166305510 w 1180"/>
                <a:gd name="T15" fmla="*/ 433110007 h 3109"/>
                <a:gd name="T16" fmla="*/ 153250776 w 1180"/>
                <a:gd name="T17" fmla="*/ 554436527 h 3109"/>
                <a:gd name="T18" fmla="*/ 78895727 w 1180"/>
                <a:gd name="T19" fmla="*/ 573247473 h 3109"/>
                <a:gd name="T20" fmla="*/ 45407551 w 1180"/>
                <a:gd name="T21" fmla="*/ 656483044 h 3109"/>
                <a:gd name="T22" fmla="*/ 51083600 w 1180"/>
                <a:gd name="T23" fmla="*/ 730314343 h 3109"/>
                <a:gd name="T24" fmla="*/ 58462297 w 1180"/>
                <a:gd name="T25" fmla="*/ 808847693 h 3109"/>
                <a:gd name="T26" fmla="*/ 100464539 w 1180"/>
                <a:gd name="T27" fmla="*/ 867629927 h 3109"/>
                <a:gd name="T28" fmla="*/ 87977085 w 1180"/>
                <a:gd name="T29" fmla="*/ 951336612 h 3109"/>
                <a:gd name="T30" fmla="*/ 48245570 w 1180"/>
                <a:gd name="T31" fmla="*/ 995541066 h 3109"/>
                <a:gd name="T32" fmla="*/ 35758892 w 1180"/>
                <a:gd name="T33" fmla="*/ 1042096974 h 3109"/>
                <a:gd name="T34" fmla="*/ 21568794 w 1180"/>
                <a:gd name="T35" fmla="*/ 1102760234 h 3109"/>
                <a:gd name="T36" fmla="*/ 9081360 w 1180"/>
                <a:gd name="T37" fmla="*/ 1113106219 h 3109"/>
                <a:gd name="T38" fmla="*/ 23838757 w 1180"/>
                <a:gd name="T39" fmla="*/ 1155429647 h 3109"/>
                <a:gd name="T40" fmla="*/ 45975607 w 1180"/>
                <a:gd name="T41" fmla="*/ 1162953751 h 3109"/>
                <a:gd name="T42" fmla="*/ 58462297 w 1180"/>
                <a:gd name="T43" fmla="*/ 1233962997 h 3109"/>
                <a:gd name="T44" fmla="*/ 116924594 w 1180"/>
                <a:gd name="T45" fmla="*/ 1333187633 h 3109"/>
                <a:gd name="T46" fmla="*/ 105005218 w 1180"/>
                <a:gd name="T47" fmla="*/ 1367516528 h 3109"/>
                <a:gd name="T48" fmla="*/ 146440135 w 1180"/>
                <a:gd name="T49" fmla="*/ 1460628687 h 3109"/>
                <a:gd name="T50" fmla="*/ 221929812 w 1180"/>
                <a:gd name="T51" fmla="*/ 1458746975 h 3109"/>
                <a:gd name="T52" fmla="*/ 254283371 w 1180"/>
                <a:gd name="T53" fmla="*/ 1391970552 h 3109"/>
                <a:gd name="T54" fmla="*/ 318421681 w 1180"/>
                <a:gd name="T55" fmla="*/ 1369867982 h 3109"/>
                <a:gd name="T56" fmla="*/ 349639129 w 1180"/>
                <a:gd name="T57" fmla="*/ 1331306607 h 3109"/>
                <a:gd name="T58" fmla="*/ 366667239 w 1180"/>
                <a:gd name="T59" fmla="*/ 1252302829 h 3109"/>
                <a:gd name="T60" fmla="*/ 359288542 w 1180"/>
                <a:gd name="T61" fmla="*/ 1193991023 h 3109"/>
                <a:gd name="T62" fmla="*/ 359288542 w 1180"/>
                <a:gd name="T63" fmla="*/ 1133327078 h 3109"/>
                <a:gd name="T64" fmla="*/ 366667239 w 1180"/>
                <a:gd name="T65" fmla="*/ 1108403312 h 3109"/>
                <a:gd name="T66" fmla="*/ 420588928 w 1180"/>
                <a:gd name="T67" fmla="*/ 1064198858 h 3109"/>
                <a:gd name="T68" fmla="*/ 447833753 w 1180"/>
                <a:gd name="T69" fmla="*/ 1062317832 h 3109"/>
                <a:gd name="T70" fmla="*/ 410372213 w 1180"/>
                <a:gd name="T71" fmla="*/ 1043037144 h 3109"/>
                <a:gd name="T72" fmla="*/ 334314433 w 1180"/>
                <a:gd name="T73" fmla="*/ 1021405688 h 3109"/>
                <a:gd name="T74" fmla="*/ 403560818 w 1180"/>
                <a:gd name="T75" fmla="*/ 1013880898 h 3109"/>
                <a:gd name="T76" fmla="*/ 479051201 w 1180"/>
                <a:gd name="T77" fmla="*/ 995541066 h 3109"/>
                <a:gd name="T78" fmla="*/ 449536413 w 1180"/>
                <a:gd name="T79" fmla="*/ 944752678 h 3109"/>
                <a:gd name="T80" fmla="*/ 400722800 w 1180"/>
                <a:gd name="T81" fmla="*/ 910423783 h 3109"/>
                <a:gd name="T82" fmla="*/ 367234541 w 1180"/>
                <a:gd name="T83" fmla="*/ 864808731 h 3109"/>
                <a:gd name="T84" fmla="*/ 367802597 w 1180"/>
                <a:gd name="T85" fmla="*/ 745362551 h 3109"/>
                <a:gd name="T86" fmla="*/ 359288542 w 1180"/>
                <a:gd name="T87" fmla="*/ 702098782 h 3109"/>
                <a:gd name="T88" fmla="*/ 383694596 w 1180"/>
                <a:gd name="T89" fmla="*/ 675763732 h 3109"/>
                <a:gd name="T90" fmla="*/ 408101497 w 1180"/>
                <a:gd name="T91" fmla="*/ 631559278 h 3109"/>
                <a:gd name="T92" fmla="*/ 469401788 w 1180"/>
                <a:gd name="T93" fmla="*/ 598640981 h 3109"/>
                <a:gd name="T94" fmla="*/ 557379603 w 1180"/>
                <a:gd name="T95" fmla="*/ 485308993 h 3109"/>
                <a:gd name="T96" fmla="*/ 540351493 w 1180"/>
                <a:gd name="T97" fmla="*/ 414769489 h 3109"/>
                <a:gd name="T98" fmla="*/ 557379603 w 1180"/>
                <a:gd name="T99" fmla="*/ 374327088 h 3109"/>
                <a:gd name="T100" fmla="*/ 597111106 w 1180"/>
                <a:gd name="T101" fmla="*/ 325890068 h 3109"/>
                <a:gd name="T102" fmla="*/ 662952076 w 1180"/>
                <a:gd name="T103" fmla="*/ 317425794 h 3109"/>
                <a:gd name="T104" fmla="*/ 627761251 w 1180"/>
                <a:gd name="T105" fmla="*/ 267107834 h 3109"/>
                <a:gd name="T106" fmla="*/ 632869986 w 1180"/>
                <a:gd name="T107" fmla="*/ 213027823 h 3109"/>
                <a:gd name="T108" fmla="*/ 607327821 w 1180"/>
                <a:gd name="T109" fmla="*/ 152364520 h 3109"/>
                <a:gd name="T110" fmla="*/ 581218354 w 1180"/>
                <a:gd name="T111" fmla="*/ 100165534 h 3109"/>
                <a:gd name="T112" fmla="*/ 523323383 w 1180"/>
                <a:gd name="T113" fmla="*/ 54080033 h 3109"/>
                <a:gd name="T114" fmla="*/ 415480194 w 1180"/>
                <a:gd name="T115" fmla="*/ 2351455 h 31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0"/>
                <a:gd name="T175" fmla="*/ 0 h 3109"/>
                <a:gd name="T176" fmla="*/ 1180 w 1180"/>
                <a:gd name="T177" fmla="*/ 3109 h 31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0" h="3109">
                  <a:moveTo>
                    <a:pt x="732" y="5"/>
                  </a:moveTo>
                  <a:lnTo>
                    <a:pt x="732" y="0"/>
                  </a:lnTo>
                  <a:lnTo>
                    <a:pt x="724" y="8"/>
                  </a:lnTo>
                  <a:lnTo>
                    <a:pt x="702" y="13"/>
                  </a:lnTo>
                  <a:lnTo>
                    <a:pt x="719" y="52"/>
                  </a:lnTo>
                  <a:lnTo>
                    <a:pt x="711" y="95"/>
                  </a:lnTo>
                  <a:lnTo>
                    <a:pt x="689" y="129"/>
                  </a:lnTo>
                  <a:lnTo>
                    <a:pt x="727" y="138"/>
                  </a:lnTo>
                  <a:lnTo>
                    <a:pt x="702" y="163"/>
                  </a:lnTo>
                  <a:lnTo>
                    <a:pt x="646" y="159"/>
                  </a:lnTo>
                  <a:lnTo>
                    <a:pt x="616" y="143"/>
                  </a:lnTo>
                  <a:lnTo>
                    <a:pt x="589" y="151"/>
                  </a:lnTo>
                  <a:lnTo>
                    <a:pt x="559" y="133"/>
                  </a:lnTo>
                  <a:lnTo>
                    <a:pt x="547" y="163"/>
                  </a:lnTo>
                  <a:lnTo>
                    <a:pt x="556" y="193"/>
                  </a:lnTo>
                  <a:lnTo>
                    <a:pt x="564" y="224"/>
                  </a:lnTo>
                  <a:lnTo>
                    <a:pt x="547" y="249"/>
                  </a:lnTo>
                  <a:lnTo>
                    <a:pt x="543" y="276"/>
                  </a:lnTo>
                  <a:lnTo>
                    <a:pt x="508" y="254"/>
                  </a:lnTo>
                  <a:lnTo>
                    <a:pt x="482" y="267"/>
                  </a:lnTo>
                  <a:lnTo>
                    <a:pt x="443" y="302"/>
                  </a:lnTo>
                  <a:lnTo>
                    <a:pt x="442" y="339"/>
                  </a:lnTo>
                  <a:lnTo>
                    <a:pt x="442" y="361"/>
                  </a:lnTo>
                  <a:lnTo>
                    <a:pt x="439" y="379"/>
                  </a:lnTo>
                  <a:lnTo>
                    <a:pt x="396" y="404"/>
                  </a:lnTo>
                  <a:lnTo>
                    <a:pt x="400" y="426"/>
                  </a:lnTo>
                  <a:lnTo>
                    <a:pt x="431" y="474"/>
                  </a:lnTo>
                  <a:lnTo>
                    <a:pt x="431" y="512"/>
                  </a:lnTo>
                  <a:lnTo>
                    <a:pt x="404" y="538"/>
                  </a:lnTo>
                  <a:lnTo>
                    <a:pt x="383" y="593"/>
                  </a:lnTo>
                  <a:lnTo>
                    <a:pt x="353" y="620"/>
                  </a:lnTo>
                  <a:lnTo>
                    <a:pt x="361" y="651"/>
                  </a:lnTo>
                  <a:lnTo>
                    <a:pt x="370" y="685"/>
                  </a:lnTo>
                  <a:lnTo>
                    <a:pt x="331" y="710"/>
                  </a:lnTo>
                  <a:lnTo>
                    <a:pt x="288" y="723"/>
                  </a:lnTo>
                  <a:lnTo>
                    <a:pt x="285" y="745"/>
                  </a:lnTo>
                  <a:lnTo>
                    <a:pt x="290" y="798"/>
                  </a:lnTo>
                  <a:lnTo>
                    <a:pt x="296" y="863"/>
                  </a:lnTo>
                  <a:lnTo>
                    <a:pt x="296" y="893"/>
                  </a:lnTo>
                  <a:lnTo>
                    <a:pt x="293" y="921"/>
                  </a:lnTo>
                  <a:lnTo>
                    <a:pt x="215" y="1075"/>
                  </a:lnTo>
                  <a:lnTo>
                    <a:pt x="239" y="1090"/>
                  </a:lnTo>
                  <a:lnTo>
                    <a:pt x="266" y="1105"/>
                  </a:lnTo>
                  <a:lnTo>
                    <a:pt x="271" y="1151"/>
                  </a:lnTo>
                  <a:lnTo>
                    <a:pt x="270" y="1179"/>
                  </a:lnTo>
                  <a:lnTo>
                    <a:pt x="261" y="1196"/>
                  </a:lnTo>
                  <a:lnTo>
                    <a:pt x="246" y="1200"/>
                  </a:lnTo>
                  <a:lnTo>
                    <a:pt x="222" y="1196"/>
                  </a:lnTo>
                  <a:lnTo>
                    <a:pt x="176" y="1192"/>
                  </a:lnTo>
                  <a:lnTo>
                    <a:pt x="139" y="1219"/>
                  </a:lnTo>
                  <a:lnTo>
                    <a:pt x="106" y="1256"/>
                  </a:lnTo>
                  <a:lnTo>
                    <a:pt x="99" y="1303"/>
                  </a:lnTo>
                  <a:lnTo>
                    <a:pt x="93" y="1330"/>
                  </a:lnTo>
                  <a:lnTo>
                    <a:pt x="62" y="1368"/>
                  </a:lnTo>
                  <a:lnTo>
                    <a:pt x="80" y="1396"/>
                  </a:lnTo>
                  <a:lnTo>
                    <a:pt x="98" y="1424"/>
                  </a:lnTo>
                  <a:lnTo>
                    <a:pt x="81" y="1449"/>
                  </a:lnTo>
                  <a:lnTo>
                    <a:pt x="81" y="1477"/>
                  </a:lnTo>
                  <a:lnTo>
                    <a:pt x="90" y="1506"/>
                  </a:lnTo>
                  <a:lnTo>
                    <a:pt x="90" y="1553"/>
                  </a:lnTo>
                  <a:lnTo>
                    <a:pt x="106" y="1605"/>
                  </a:lnTo>
                  <a:lnTo>
                    <a:pt x="108" y="1640"/>
                  </a:lnTo>
                  <a:lnTo>
                    <a:pt x="108" y="1660"/>
                  </a:lnTo>
                  <a:lnTo>
                    <a:pt x="108" y="1678"/>
                  </a:lnTo>
                  <a:lnTo>
                    <a:pt x="103" y="1720"/>
                  </a:lnTo>
                  <a:lnTo>
                    <a:pt x="115" y="1752"/>
                  </a:lnTo>
                  <a:lnTo>
                    <a:pt x="145" y="1752"/>
                  </a:lnTo>
                  <a:lnTo>
                    <a:pt x="176" y="1798"/>
                  </a:lnTo>
                  <a:lnTo>
                    <a:pt x="179" y="1828"/>
                  </a:lnTo>
                  <a:lnTo>
                    <a:pt x="177" y="1845"/>
                  </a:lnTo>
                  <a:lnTo>
                    <a:pt x="171" y="1858"/>
                  </a:lnTo>
                  <a:lnTo>
                    <a:pt x="120" y="1876"/>
                  </a:lnTo>
                  <a:lnTo>
                    <a:pt x="115" y="1898"/>
                  </a:lnTo>
                  <a:lnTo>
                    <a:pt x="151" y="1988"/>
                  </a:lnTo>
                  <a:lnTo>
                    <a:pt x="155" y="2023"/>
                  </a:lnTo>
                  <a:lnTo>
                    <a:pt x="146" y="2035"/>
                  </a:lnTo>
                  <a:lnTo>
                    <a:pt x="146" y="2057"/>
                  </a:lnTo>
                  <a:lnTo>
                    <a:pt x="146" y="2082"/>
                  </a:lnTo>
                  <a:lnTo>
                    <a:pt x="115" y="2117"/>
                  </a:lnTo>
                  <a:lnTo>
                    <a:pt x="85" y="2117"/>
                  </a:lnTo>
                  <a:lnTo>
                    <a:pt x="81" y="2134"/>
                  </a:lnTo>
                  <a:lnTo>
                    <a:pt x="85" y="2159"/>
                  </a:lnTo>
                  <a:lnTo>
                    <a:pt x="63" y="2186"/>
                  </a:lnTo>
                  <a:lnTo>
                    <a:pt x="63" y="2198"/>
                  </a:lnTo>
                  <a:lnTo>
                    <a:pt x="63" y="2216"/>
                  </a:lnTo>
                  <a:lnTo>
                    <a:pt x="68" y="2250"/>
                  </a:lnTo>
                  <a:lnTo>
                    <a:pt x="72" y="2301"/>
                  </a:lnTo>
                  <a:lnTo>
                    <a:pt x="73" y="2328"/>
                  </a:lnTo>
                  <a:lnTo>
                    <a:pt x="63" y="2349"/>
                  </a:lnTo>
                  <a:lnTo>
                    <a:pt x="38" y="2345"/>
                  </a:lnTo>
                  <a:lnTo>
                    <a:pt x="44" y="2315"/>
                  </a:lnTo>
                  <a:lnTo>
                    <a:pt x="18" y="2293"/>
                  </a:lnTo>
                  <a:lnTo>
                    <a:pt x="0" y="2327"/>
                  </a:lnTo>
                  <a:lnTo>
                    <a:pt x="16" y="2337"/>
                  </a:lnTo>
                  <a:lnTo>
                    <a:pt x="16" y="2367"/>
                  </a:lnTo>
                  <a:lnTo>
                    <a:pt x="22" y="2383"/>
                  </a:lnTo>
                  <a:lnTo>
                    <a:pt x="21" y="2410"/>
                  </a:lnTo>
                  <a:lnTo>
                    <a:pt x="20" y="2436"/>
                  </a:lnTo>
                  <a:lnTo>
                    <a:pt x="25" y="2457"/>
                  </a:lnTo>
                  <a:lnTo>
                    <a:pt x="42" y="2457"/>
                  </a:lnTo>
                  <a:lnTo>
                    <a:pt x="55" y="2443"/>
                  </a:lnTo>
                  <a:lnTo>
                    <a:pt x="68" y="2452"/>
                  </a:lnTo>
                  <a:lnTo>
                    <a:pt x="68" y="2465"/>
                  </a:lnTo>
                  <a:lnTo>
                    <a:pt x="85" y="2473"/>
                  </a:lnTo>
                  <a:lnTo>
                    <a:pt x="81" y="2473"/>
                  </a:lnTo>
                  <a:lnTo>
                    <a:pt x="55" y="2513"/>
                  </a:lnTo>
                  <a:lnTo>
                    <a:pt x="85" y="2534"/>
                  </a:lnTo>
                  <a:lnTo>
                    <a:pt x="81" y="2556"/>
                  </a:lnTo>
                  <a:lnTo>
                    <a:pt x="81" y="2581"/>
                  </a:lnTo>
                  <a:lnTo>
                    <a:pt x="103" y="2624"/>
                  </a:lnTo>
                  <a:lnTo>
                    <a:pt x="103" y="2676"/>
                  </a:lnTo>
                  <a:lnTo>
                    <a:pt x="125" y="2668"/>
                  </a:lnTo>
                  <a:lnTo>
                    <a:pt x="137" y="2719"/>
                  </a:lnTo>
                  <a:lnTo>
                    <a:pt x="180" y="2784"/>
                  </a:lnTo>
                  <a:lnTo>
                    <a:pt x="206" y="2835"/>
                  </a:lnTo>
                  <a:lnTo>
                    <a:pt x="231" y="2835"/>
                  </a:lnTo>
                  <a:lnTo>
                    <a:pt x="241" y="2879"/>
                  </a:lnTo>
                  <a:lnTo>
                    <a:pt x="206" y="2874"/>
                  </a:lnTo>
                  <a:lnTo>
                    <a:pt x="219" y="2922"/>
                  </a:lnTo>
                  <a:lnTo>
                    <a:pt x="185" y="2908"/>
                  </a:lnTo>
                  <a:lnTo>
                    <a:pt x="200" y="2958"/>
                  </a:lnTo>
                  <a:lnTo>
                    <a:pt x="253" y="3037"/>
                  </a:lnTo>
                  <a:lnTo>
                    <a:pt x="258" y="3037"/>
                  </a:lnTo>
                  <a:lnTo>
                    <a:pt x="245" y="3072"/>
                  </a:lnTo>
                  <a:lnTo>
                    <a:pt x="258" y="3106"/>
                  </a:lnTo>
                  <a:lnTo>
                    <a:pt x="269" y="3109"/>
                  </a:lnTo>
                  <a:lnTo>
                    <a:pt x="287" y="3106"/>
                  </a:lnTo>
                  <a:lnTo>
                    <a:pt x="318" y="3098"/>
                  </a:lnTo>
                  <a:lnTo>
                    <a:pt x="370" y="3080"/>
                  </a:lnTo>
                  <a:lnTo>
                    <a:pt x="391" y="3102"/>
                  </a:lnTo>
                  <a:lnTo>
                    <a:pt x="421" y="3063"/>
                  </a:lnTo>
                  <a:lnTo>
                    <a:pt x="396" y="3025"/>
                  </a:lnTo>
                  <a:lnTo>
                    <a:pt x="396" y="2973"/>
                  </a:lnTo>
                  <a:lnTo>
                    <a:pt x="422" y="2955"/>
                  </a:lnTo>
                  <a:lnTo>
                    <a:pt x="448" y="2960"/>
                  </a:lnTo>
                  <a:lnTo>
                    <a:pt x="456" y="2917"/>
                  </a:lnTo>
                  <a:lnTo>
                    <a:pt x="484" y="2911"/>
                  </a:lnTo>
                  <a:lnTo>
                    <a:pt x="504" y="2912"/>
                  </a:lnTo>
                  <a:lnTo>
                    <a:pt x="530" y="2912"/>
                  </a:lnTo>
                  <a:lnTo>
                    <a:pt x="561" y="2913"/>
                  </a:lnTo>
                  <a:lnTo>
                    <a:pt x="579" y="2913"/>
                  </a:lnTo>
                  <a:lnTo>
                    <a:pt x="594" y="2912"/>
                  </a:lnTo>
                  <a:lnTo>
                    <a:pt x="616" y="2887"/>
                  </a:lnTo>
                  <a:lnTo>
                    <a:pt x="617" y="2859"/>
                  </a:lnTo>
                  <a:lnTo>
                    <a:pt x="616" y="2831"/>
                  </a:lnTo>
                  <a:lnTo>
                    <a:pt x="651" y="2762"/>
                  </a:lnTo>
                  <a:lnTo>
                    <a:pt x="652" y="2741"/>
                  </a:lnTo>
                  <a:lnTo>
                    <a:pt x="649" y="2713"/>
                  </a:lnTo>
                  <a:lnTo>
                    <a:pt x="647" y="2685"/>
                  </a:lnTo>
                  <a:lnTo>
                    <a:pt x="646" y="2663"/>
                  </a:lnTo>
                  <a:lnTo>
                    <a:pt x="653" y="2647"/>
                  </a:lnTo>
                  <a:lnTo>
                    <a:pt x="659" y="2629"/>
                  </a:lnTo>
                  <a:lnTo>
                    <a:pt x="651" y="2576"/>
                  </a:lnTo>
                  <a:lnTo>
                    <a:pt x="654" y="2543"/>
                  </a:lnTo>
                  <a:lnTo>
                    <a:pt x="633" y="2539"/>
                  </a:lnTo>
                  <a:lnTo>
                    <a:pt x="654" y="2518"/>
                  </a:lnTo>
                  <a:lnTo>
                    <a:pt x="654" y="2470"/>
                  </a:lnTo>
                  <a:lnTo>
                    <a:pt x="658" y="2457"/>
                  </a:lnTo>
                  <a:lnTo>
                    <a:pt x="642" y="2419"/>
                  </a:lnTo>
                  <a:lnTo>
                    <a:pt x="633" y="2410"/>
                  </a:lnTo>
                  <a:lnTo>
                    <a:pt x="663" y="2400"/>
                  </a:lnTo>
                  <a:lnTo>
                    <a:pt x="663" y="2385"/>
                  </a:lnTo>
                  <a:lnTo>
                    <a:pt x="593" y="2375"/>
                  </a:lnTo>
                  <a:lnTo>
                    <a:pt x="594" y="2363"/>
                  </a:lnTo>
                  <a:lnTo>
                    <a:pt x="646" y="2357"/>
                  </a:lnTo>
                  <a:lnTo>
                    <a:pt x="672" y="2362"/>
                  </a:lnTo>
                  <a:lnTo>
                    <a:pt x="676" y="2337"/>
                  </a:lnTo>
                  <a:lnTo>
                    <a:pt x="706" y="2340"/>
                  </a:lnTo>
                  <a:lnTo>
                    <a:pt x="737" y="2289"/>
                  </a:lnTo>
                  <a:lnTo>
                    <a:pt x="741" y="2263"/>
                  </a:lnTo>
                  <a:lnTo>
                    <a:pt x="758" y="2255"/>
                  </a:lnTo>
                  <a:lnTo>
                    <a:pt x="762" y="2267"/>
                  </a:lnTo>
                  <a:lnTo>
                    <a:pt x="754" y="2293"/>
                  </a:lnTo>
                  <a:lnTo>
                    <a:pt x="767" y="2302"/>
                  </a:lnTo>
                  <a:lnTo>
                    <a:pt x="789" y="2259"/>
                  </a:lnTo>
                  <a:lnTo>
                    <a:pt x="814" y="2237"/>
                  </a:lnTo>
                  <a:lnTo>
                    <a:pt x="810" y="2186"/>
                  </a:lnTo>
                  <a:lnTo>
                    <a:pt x="784" y="2186"/>
                  </a:lnTo>
                  <a:lnTo>
                    <a:pt x="749" y="2211"/>
                  </a:lnTo>
                  <a:lnTo>
                    <a:pt x="723" y="2218"/>
                  </a:lnTo>
                  <a:lnTo>
                    <a:pt x="694" y="2220"/>
                  </a:lnTo>
                  <a:lnTo>
                    <a:pt x="681" y="2202"/>
                  </a:lnTo>
                  <a:lnTo>
                    <a:pt x="633" y="2186"/>
                  </a:lnTo>
                  <a:lnTo>
                    <a:pt x="581" y="2190"/>
                  </a:lnTo>
                  <a:lnTo>
                    <a:pt x="589" y="2172"/>
                  </a:lnTo>
                  <a:lnTo>
                    <a:pt x="611" y="2156"/>
                  </a:lnTo>
                  <a:lnTo>
                    <a:pt x="637" y="2164"/>
                  </a:lnTo>
                  <a:lnTo>
                    <a:pt x="672" y="2159"/>
                  </a:lnTo>
                  <a:lnTo>
                    <a:pt x="694" y="2172"/>
                  </a:lnTo>
                  <a:lnTo>
                    <a:pt x="711" y="2156"/>
                  </a:lnTo>
                  <a:lnTo>
                    <a:pt x="729" y="2169"/>
                  </a:lnTo>
                  <a:lnTo>
                    <a:pt x="749" y="2186"/>
                  </a:lnTo>
                  <a:lnTo>
                    <a:pt x="779" y="2177"/>
                  </a:lnTo>
                  <a:lnTo>
                    <a:pt x="827" y="2147"/>
                  </a:lnTo>
                  <a:lnTo>
                    <a:pt x="844" y="2117"/>
                  </a:lnTo>
                  <a:lnTo>
                    <a:pt x="884" y="2099"/>
                  </a:lnTo>
                  <a:lnTo>
                    <a:pt x="874" y="2074"/>
                  </a:lnTo>
                  <a:lnTo>
                    <a:pt x="857" y="2044"/>
                  </a:lnTo>
                  <a:lnTo>
                    <a:pt x="836" y="2018"/>
                  </a:lnTo>
                  <a:lnTo>
                    <a:pt x="792" y="2009"/>
                  </a:lnTo>
                  <a:lnTo>
                    <a:pt x="797" y="1979"/>
                  </a:lnTo>
                  <a:lnTo>
                    <a:pt x="784" y="1961"/>
                  </a:lnTo>
                  <a:lnTo>
                    <a:pt x="762" y="1961"/>
                  </a:lnTo>
                  <a:lnTo>
                    <a:pt x="741" y="1923"/>
                  </a:lnTo>
                  <a:lnTo>
                    <a:pt x="706" y="1936"/>
                  </a:lnTo>
                  <a:lnTo>
                    <a:pt x="684" y="1915"/>
                  </a:lnTo>
                  <a:lnTo>
                    <a:pt x="659" y="1918"/>
                  </a:lnTo>
                  <a:lnTo>
                    <a:pt x="646" y="1906"/>
                  </a:lnTo>
                  <a:lnTo>
                    <a:pt x="654" y="1867"/>
                  </a:lnTo>
                  <a:lnTo>
                    <a:pt x="647" y="1839"/>
                  </a:lnTo>
                  <a:lnTo>
                    <a:pt x="637" y="1812"/>
                  </a:lnTo>
                  <a:lnTo>
                    <a:pt x="629" y="1764"/>
                  </a:lnTo>
                  <a:lnTo>
                    <a:pt x="621" y="1720"/>
                  </a:lnTo>
                  <a:lnTo>
                    <a:pt x="637" y="1635"/>
                  </a:lnTo>
                  <a:lnTo>
                    <a:pt x="648" y="1585"/>
                  </a:lnTo>
                  <a:lnTo>
                    <a:pt x="651" y="1559"/>
                  </a:lnTo>
                  <a:lnTo>
                    <a:pt x="646" y="1541"/>
                  </a:lnTo>
                  <a:lnTo>
                    <a:pt x="629" y="1544"/>
                  </a:lnTo>
                  <a:lnTo>
                    <a:pt x="621" y="1506"/>
                  </a:lnTo>
                  <a:lnTo>
                    <a:pt x="633" y="1493"/>
                  </a:lnTo>
                  <a:lnTo>
                    <a:pt x="654" y="1511"/>
                  </a:lnTo>
                  <a:lnTo>
                    <a:pt x="676" y="1497"/>
                  </a:lnTo>
                  <a:lnTo>
                    <a:pt x="678" y="1465"/>
                  </a:lnTo>
                  <a:lnTo>
                    <a:pt x="679" y="1448"/>
                  </a:lnTo>
                  <a:lnTo>
                    <a:pt x="676" y="1437"/>
                  </a:lnTo>
                  <a:lnTo>
                    <a:pt x="659" y="1394"/>
                  </a:lnTo>
                  <a:lnTo>
                    <a:pt x="689" y="1428"/>
                  </a:lnTo>
                  <a:lnTo>
                    <a:pt x="719" y="1411"/>
                  </a:lnTo>
                  <a:lnTo>
                    <a:pt x="718" y="1372"/>
                  </a:lnTo>
                  <a:lnTo>
                    <a:pt x="719" y="1343"/>
                  </a:lnTo>
                  <a:lnTo>
                    <a:pt x="733" y="1354"/>
                  </a:lnTo>
                  <a:lnTo>
                    <a:pt x="754" y="1324"/>
                  </a:lnTo>
                  <a:lnTo>
                    <a:pt x="789" y="1295"/>
                  </a:lnTo>
                  <a:lnTo>
                    <a:pt x="801" y="1235"/>
                  </a:lnTo>
                  <a:lnTo>
                    <a:pt x="827" y="1273"/>
                  </a:lnTo>
                  <a:lnTo>
                    <a:pt x="854" y="1226"/>
                  </a:lnTo>
                  <a:lnTo>
                    <a:pt x="887" y="1187"/>
                  </a:lnTo>
                  <a:lnTo>
                    <a:pt x="926" y="1155"/>
                  </a:lnTo>
                  <a:lnTo>
                    <a:pt x="944" y="1089"/>
                  </a:lnTo>
                  <a:lnTo>
                    <a:pt x="982" y="1032"/>
                  </a:lnTo>
                  <a:lnTo>
                    <a:pt x="961" y="994"/>
                  </a:lnTo>
                  <a:lnTo>
                    <a:pt x="952" y="989"/>
                  </a:lnTo>
                  <a:lnTo>
                    <a:pt x="939" y="951"/>
                  </a:lnTo>
                  <a:lnTo>
                    <a:pt x="917" y="929"/>
                  </a:lnTo>
                  <a:lnTo>
                    <a:pt x="952" y="882"/>
                  </a:lnTo>
                  <a:lnTo>
                    <a:pt x="958" y="852"/>
                  </a:lnTo>
                  <a:lnTo>
                    <a:pt x="958" y="836"/>
                  </a:lnTo>
                  <a:lnTo>
                    <a:pt x="957" y="821"/>
                  </a:lnTo>
                  <a:lnTo>
                    <a:pt x="939" y="804"/>
                  </a:lnTo>
                  <a:lnTo>
                    <a:pt x="982" y="796"/>
                  </a:lnTo>
                  <a:lnTo>
                    <a:pt x="991" y="753"/>
                  </a:lnTo>
                  <a:lnTo>
                    <a:pt x="1012" y="758"/>
                  </a:lnTo>
                  <a:lnTo>
                    <a:pt x="1000" y="723"/>
                  </a:lnTo>
                  <a:lnTo>
                    <a:pt x="1017" y="693"/>
                  </a:lnTo>
                  <a:lnTo>
                    <a:pt x="1052" y="693"/>
                  </a:lnTo>
                  <a:lnTo>
                    <a:pt x="1060" y="715"/>
                  </a:lnTo>
                  <a:lnTo>
                    <a:pt x="1085" y="715"/>
                  </a:lnTo>
                  <a:lnTo>
                    <a:pt x="1090" y="685"/>
                  </a:lnTo>
                  <a:lnTo>
                    <a:pt x="1120" y="688"/>
                  </a:lnTo>
                  <a:lnTo>
                    <a:pt x="1168" y="675"/>
                  </a:lnTo>
                  <a:lnTo>
                    <a:pt x="1180" y="676"/>
                  </a:lnTo>
                  <a:lnTo>
                    <a:pt x="1160" y="646"/>
                  </a:lnTo>
                  <a:lnTo>
                    <a:pt x="1138" y="608"/>
                  </a:lnTo>
                  <a:lnTo>
                    <a:pt x="1115" y="597"/>
                  </a:lnTo>
                  <a:lnTo>
                    <a:pt x="1106" y="568"/>
                  </a:lnTo>
                  <a:lnTo>
                    <a:pt x="1103" y="551"/>
                  </a:lnTo>
                  <a:lnTo>
                    <a:pt x="1103" y="536"/>
                  </a:lnTo>
                  <a:lnTo>
                    <a:pt x="1112" y="517"/>
                  </a:lnTo>
                  <a:lnTo>
                    <a:pt x="1113" y="475"/>
                  </a:lnTo>
                  <a:lnTo>
                    <a:pt x="1115" y="453"/>
                  </a:lnTo>
                  <a:lnTo>
                    <a:pt x="1112" y="441"/>
                  </a:lnTo>
                  <a:lnTo>
                    <a:pt x="1070" y="396"/>
                  </a:lnTo>
                  <a:lnTo>
                    <a:pt x="1063" y="373"/>
                  </a:lnTo>
                  <a:lnTo>
                    <a:pt x="1078" y="354"/>
                  </a:lnTo>
                  <a:lnTo>
                    <a:pt x="1070" y="324"/>
                  </a:lnTo>
                  <a:lnTo>
                    <a:pt x="1033" y="320"/>
                  </a:lnTo>
                  <a:lnTo>
                    <a:pt x="1028" y="289"/>
                  </a:lnTo>
                  <a:lnTo>
                    <a:pt x="1040" y="266"/>
                  </a:lnTo>
                  <a:lnTo>
                    <a:pt x="1028" y="259"/>
                  </a:lnTo>
                  <a:lnTo>
                    <a:pt x="1024" y="213"/>
                  </a:lnTo>
                  <a:lnTo>
                    <a:pt x="1033" y="198"/>
                  </a:lnTo>
                  <a:lnTo>
                    <a:pt x="1015" y="179"/>
                  </a:lnTo>
                  <a:lnTo>
                    <a:pt x="987" y="161"/>
                  </a:lnTo>
                  <a:lnTo>
                    <a:pt x="975" y="141"/>
                  </a:lnTo>
                  <a:lnTo>
                    <a:pt x="922" y="115"/>
                  </a:lnTo>
                  <a:lnTo>
                    <a:pt x="887" y="115"/>
                  </a:lnTo>
                  <a:lnTo>
                    <a:pt x="838" y="85"/>
                  </a:lnTo>
                  <a:lnTo>
                    <a:pt x="777" y="40"/>
                  </a:lnTo>
                  <a:lnTo>
                    <a:pt x="768" y="20"/>
                  </a:lnTo>
                  <a:lnTo>
                    <a:pt x="732" y="5"/>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190" name="Freeform 13"/>
            <p:cNvSpPr>
              <a:spLocks/>
            </p:cNvSpPr>
            <p:nvPr/>
          </p:nvSpPr>
          <p:spPr bwMode="auto">
            <a:xfrm>
              <a:off x="4624387" y="922338"/>
              <a:ext cx="44450" cy="41275"/>
            </a:xfrm>
            <a:custGeom>
              <a:avLst/>
              <a:gdLst>
                <a:gd name="T0" fmla="*/ 2147483647 w 60"/>
                <a:gd name="T1" fmla="*/ 0 h 60"/>
                <a:gd name="T2" fmla="*/ 2147483647 w 60"/>
                <a:gd name="T3" fmla="*/ 2147483647 h 60"/>
                <a:gd name="T4" fmla="*/ 0 w 60"/>
                <a:gd name="T5" fmla="*/ 2147483647 h 60"/>
                <a:gd name="T6" fmla="*/ 2147483647 w 60"/>
                <a:gd name="T7" fmla="*/ 2147483647 h 60"/>
                <a:gd name="T8" fmla="*/ 2147483647 w 60"/>
                <a:gd name="T9" fmla="*/ 2147483647 h 60"/>
                <a:gd name="T10" fmla="*/ 2147483647 w 60"/>
                <a:gd name="T11" fmla="*/ 2147483647 h 60"/>
                <a:gd name="T12" fmla="*/ 2147483647 w 60"/>
                <a:gd name="T13" fmla="*/ 0 h 60"/>
                <a:gd name="T14" fmla="*/ 0 60000 65536"/>
                <a:gd name="T15" fmla="*/ 0 60000 65536"/>
                <a:gd name="T16" fmla="*/ 0 60000 65536"/>
                <a:gd name="T17" fmla="*/ 0 60000 65536"/>
                <a:gd name="T18" fmla="*/ 0 60000 65536"/>
                <a:gd name="T19" fmla="*/ 0 60000 65536"/>
                <a:gd name="T20" fmla="*/ 0 60000 65536"/>
                <a:gd name="T21" fmla="*/ 0 w 60"/>
                <a:gd name="T22" fmla="*/ 0 h 60"/>
                <a:gd name="T23" fmla="*/ 60 w 60"/>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60">
                  <a:moveTo>
                    <a:pt x="60" y="0"/>
                  </a:moveTo>
                  <a:lnTo>
                    <a:pt x="16" y="16"/>
                  </a:lnTo>
                  <a:lnTo>
                    <a:pt x="0" y="40"/>
                  </a:lnTo>
                  <a:lnTo>
                    <a:pt x="21" y="60"/>
                  </a:lnTo>
                  <a:lnTo>
                    <a:pt x="40" y="49"/>
                  </a:lnTo>
                  <a:lnTo>
                    <a:pt x="60" y="35"/>
                  </a:lnTo>
                  <a:lnTo>
                    <a:pt x="60"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1" name="Freeform 14"/>
            <p:cNvSpPr>
              <a:spLocks/>
            </p:cNvSpPr>
            <p:nvPr/>
          </p:nvSpPr>
          <p:spPr bwMode="auto">
            <a:xfrm>
              <a:off x="4575175" y="900113"/>
              <a:ext cx="66675" cy="50800"/>
            </a:xfrm>
            <a:custGeom>
              <a:avLst/>
              <a:gdLst>
                <a:gd name="T0" fmla="*/ 2147483647 w 89"/>
                <a:gd name="T1" fmla="*/ 2147483647 h 75"/>
                <a:gd name="T2" fmla="*/ 2147483647 w 89"/>
                <a:gd name="T3" fmla="*/ 2147483647 h 75"/>
                <a:gd name="T4" fmla="*/ 0 w 89"/>
                <a:gd name="T5" fmla="*/ 2147483647 h 75"/>
                <a:gd name="T6" fmla="*/ 2147483647 w 89"/>
                <a:gd name="T7" fmla="*/ 2147483647 h 75"/>
                <a:gd name="T8" fmla="*/ 2147483647 w 89"/>
                <a:gd name="T9" fmla="*/ 2147483647 h 75"/>
                <a:gd name="T10" fmla="*/ 2147483647 w 89"/>
                <a:gd name="T11" fmla="*/ 2147483647 h 75"/>
                <a:gd name="T12" fmla="*/ 2147483647 w 89"/>
                <a:gd name="T13" fmla="*/ 0 h 75"/>
                <a:gd name="T14" fmla="*/ 2147483647 w 89"/>
                <a:gd name="T15" fmla="*/ 2147483647 h 75"/>
                <a:gd name="T16" fmla="*/ 2147483647 w 89"/>
                <a:gd name="T17" fmla="*/ 2147483647 h 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75"/>
                <a:gd name="T29" fmla="*/ 89 w 89"/>
                <a:gd name="T30" fmla="*/ 75 h 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75">
                  <a:moveTo>
                    <a:pt x="39" y="16"/>
                  </a:moveTo>
                  <a:lnTo>
                    <a:pt x="44" y="16"/>
                  </a:lnTo>
                  <a:lnTo>
                    <a:pt x="0" y="46"/>
                  </a:lnTo>
                  <a:lnTo>
                    <a:pt x="19" y="75"/>
                  </a:lnTo>
                  <a:lnTo>
                    <a:pt x="49" y="56"/>
                  </a:lnTo>
                  <a:lnTo>
                    <a:pt x="69" y="46"/>
                  </a:lnTo>
                  <a:lnTo>
                    <a:pt x="89" y="0"/>
                  </a:lnTo>
                  <a:lnTo>
                    <a:pt x="54" y="30"/>
                  </a:lnTo>
                  <a:lnTo>
                    <a:pt x="39" y="16"/>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2" name="Freeform 15"/>
            <p:cNvSpPr>
              <a:spLocks/>
            </p:cNvSpPr>
            <p:nvPr/>
          </p:nvSpPr>
          <p:spPr bwMode="auto">
            <a:xfrm>
              <a:off x="4486275" y="993775"/>
              <a:ext cx="39687" cy="44450"/>
            </a:xfrm>
            <a:custGeom>
              <a:avLst/>
              <a:gdLst>
                <a:gd name="T0" fmla="*/ 2147483647 w 54"/>
                <a:gd name="T1" fmla="*/ 0 h 64"/>
                <a:gd name="T2" fmla="*/ 0 w 54"/>
                <a:gd name="T3" fmla="*/ 2147483647 h 64"/>
                <a:gd name="T4" fmla="*/ 2147483647 w 54"/>
                <a:gd name="T5" fmla="*/ 2147483647 h 64"/>
                <a:gd name="T6" fmla="*/ 2147483647 w 54"/>
                <a:gd name="T7" fmla="*/ 2147483647 h 64"/>
                <a:gd name="T8" fmla="*/ 2147483647 w 54"/>
                <a:gd name="T9" fmla="*/ 2147483647 h 64"/>
                <a:gd name="T10" fmla="*/ 2147483647 w 54"/>
                <a:gd name="T11" fmla="*/ 0 h 64"/>
                <a:gd name="T12" fmla="*/ 0 60000 65536"/>
                <a:gd name="T13" fmla="*/ 0 60000 65536"/>
                <a:gd name="T14" fmla="*/ 0 60000 65536"/>
                <a:gd name="T15" fmla="*/ 0 60000 65536"/>
                <a:gd name="T16" fmla="*/ 0 60000 65536"/>
                <a:gd name="T17" fmla="*/ 0 60000 65536"/>
                <a:gd name="T18" fmla="*/ 0 w 54"/>
                <a:gd name="T19" fmla="*/ 0 h 64"/>
                <a:gd name="T20" fmla="*/ 54 w 5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54" h="64">
                  <a:moveTo>
                    <a:pt x="25" y="0"/>
                  </a:moveTo>
                  <a:lnTo>
                    <a:pt x="0" y="35"/>
                  </a:lnTo>
                  <a:lnTo>
                    <a:pt x="19" y="64"/>
                  </a:lnTo>
                  <a:lnTo>
                    <a:pt x="54" y="59"/>
                  </a:lnTo>
                  <a:lnTo>
                    <a:pt x="44" y="30"/>
                  </a:lnTo>
                  <a:lnTo>
                    <a:pt x="25"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3" name="Freeform 16"/>
            <p:cNvSpPr>
              <a:spLocks/>
            </p:cNvSpPr>
            <p:nvPr/>
          </p:nvSpPr>
          <p:spPr bwMode="auto">
            <a:xfrm>
              <a:off x="4398962" y="1038225"/>
              <a:ext cx="50800" cy="33338"/>
            </a:xfrm>
            <a:custGeom>
              <a:avLst/>
              <a:gdLst>
                <a:gd name="T0" fmla="*/ 2147483647 w 65"/>
                <a:gd name="T1" fmla="*/ 2147483647 h 50"/>
                <a:gd name="T2" fmla="*/ 2147483647 w 65"/>
                <a:gd name="T3" fmla="*/ 2147483647 h 50"/>
                <a:gd name="T4" fmla="*/ 2147483647 w 65"/>
                <a:gd name="T5" fmla="*/ 2147483647 h 50"/>
                <a:gd name="T6" fmla="*/ 2147483647 w 65"/>
                <a:gd name="T7" fmla="*/ 2147483647 h 50"/>
                <a:gd name="T8" fmla="*/ 0 w 65"/>
                <a:gd name="T9" fmla="*/ 2147483647 h 50"/>
                <a:gd name="T10" fmla="*/ 2147483647 w 65"/>
                <a:gd name="T11" fmla="*/ 2147483647 h 50"/>
                <a:gd name="T12" fmla="*/ 2147483647 w 65"/>
                <a:gd name="T13" fmla="*/ 0 h 50"/>
                <a:gd name="T14" fmla="*/ 2147483647 w 65"/>
                <a:gd name="T15" fmla="*/ 2147483647 h 50"/>
                <a:gd name="T16" fmla="*/ 0 60000 65536"/>
                <a:gd name="T17" fmla="*/ 0 60000 65536"/>
                <a:gd name="T18" fmla="*/ 0 60000 65536"/>
                <a:gd name="T19" fmla="*/ 0 60000 65536"/>
                <a:gd name="T20" fmla="*/ 0 60000 65536"/>
                <a:gd name="T21" fmla="*/ 0 60000 65536"/>
                <a:gd name="T22" fmla="*/ 0 60000 65536"/>
                <a:gd name="T23" fmla="*/ 0 60000 65536"/>
                <a:gd name="T24" fmla="*/ 0 w 65"/>
                <a:gd name="T25" fmla="*/ 0 h 50"/>
                <a:gd name="T26" fmla="*/ 65 w 65"/>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5" h="50">
                  <a:moveTo>
                    <a:pt x="65" y="11"/>
                  </a:moveTo>
                  <a:lnTo>
                    <a:pt x="65" y="16"/>
                  </a:lnTo>
                  <a:lnTo>
                    <a:pt x="44" y="50"/>
                  </a:lnTo>
                  <a:lnTo>
                    <a:pt x="9" y="44"/>
                  </a:lnTo>
                  <a:lnTo>
                    <a:pt x="0" y="20"/>
                  </a:lnTo>
                  <a:lnTo>
                    <a:pt x="30" y="11"/>
                  </a:lnTo>
                  <a:lnTo>
                    <a:pt x="49" y="0"/>
                  </a:lnTo>
                  <a:lnTo>
                    <a:pt x="65" y="11"/>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4" name="Freeform 17"/>
            <p:cNvSpPr>
              <a:spLocks/>
            </p:cNvSpPr>
            <p:nvPr/>
          </p:nvSpPr>
          <p:spPr bwMode="auto">
            <a:xfrm>
              <a:off x="4367212" y="1082675"/>
              <a:ext cx="49213" cy="47625"/>
            </a:xfrm>
            <a:custGeom>
              <a:avLst/>
              <a:gdLst>
                <a:gd name="T0" fmla="*/ 2147483647 w 65"/>
                <a:gd name="T1" fmla="*/ 0 h 69"/>
                <a:gd name="T2" fmla="*/ 2147483647 w 65"/>
                <a:gd name="T3" fmla="*/ 2147483647 h 69"/>
                <a:gd name="T4" fmla="*/ 2147483647 w 65"/>
                <a:gd name="T5" fmla="*/ 2147483647 h 69"/>
                <a:gd name="T6" fmla="*/ 2147483647 w 65"/>
                <a:gd name="T7" fmla="*/ 2147483647 h 69"/>
                <a:gd name="T8" fmla="*/ 0 w 65"/>
                <a:gd name="T9" fmla="*/ 2147483647 h 69"/>
                <a:gd name="T10" fmla="*/ 2147483647 w 65"/>
                <a:gd name="T11" fmla="*/ 2147483647 h 69"/>
                <a:gd name="T12" fmla="*/ 2147483647 w 65"/>
                <a:gd name="T13" fmla="*/ 2147483647 h 69"/>
                <a:gd name="T14" fmla="*/ 2147483647 w 65"/>
                <a:gd name="T15" fmla="*/ 2147483647 h 69"/>
                <a:gd name="T16" fmla="*/ 2147483647 w 65"/>
                <a:gd name="T17" fmla="*/ 0 h 69"/>
                <a:gd name="T18" fmla="*/ 2147483647 w 65"/>
                <a:gd name="T19" fmla="*/ 0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69"/>
                <a:gd name="T32" fmla="*/ 65 w 65"/>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69">
                  <a:moveTo>
                    <a:pt x="65" y="0"/>
                  </a:moveTo>
                  <a:lnTo>
                    <a:pt x="59" y="49"/>
                  </a:lnTo>
                  <a:lnTo>
                    <a:pt x="35" y="69"/>
                  </a:lnTo>
                  <a:lnTo>
                    <a:pt x="10" y="63"/>
                  </a:lnTo>
                  <a:lnTo>
                    <a:pt x="0" y="44"/>
                  </a:lnTo>
                  <a:lnTo>
                    <a:pt x="20" y="35"/>
                  </a:lnTo>
                  <a:lnTo>
                    <a:pt x="20" y="14"/>
                  </a:lnTo>
                  <a:lnTo>
                    <a:pt x="50" y="19"/>
                  </a:lnTo>
                  <a:lnTo>
                    <a:pt x="45" y="0"/>
                  </a:lnTo>
                  <a:lnTo>
                    <a:pt x="65"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5" name="Freeform 18"/>
            <p:cNvSpPr>
              <a:spLocks/>
            </p:cNvSpPr>
            <p:nvPr/>
          </p:nvSpPr>
          <p:spPr bwMode="auto">
            <a:xfrm>
              <a:off x="4295775" y="1130300"/>
              <a:ext cx="71437" cy="92075"/>
            </a:xfrm>
            <a:custGeom>
              <a:avLst/>
              <a:gdLst>
                <a:gd name="T0" fmla="*/ 2147483647 w 93"/>
                <a:gd name="T1" fmla="*/ 2147483647 h 133"/>
                <a:gd name="T2" fmla="*/ 2147483647 w 93"/>
                <a:gd name="T3" fmla="*/ 2147483647 h 133"/>
                <a:gd name="T4" fmla="*/ 0 w 93"/>
                <a:gd name="T5" fmla="*/ 2147483647 h 133"/>
                <a:gd name="T6" fmla="*/ 2147483647 w 93"/>
                <a:gd name="T7" fmla="*/ 2147483647 h 133"/>
                <a:gd name="T8" fmla="*/ 2147483647 w 93"/>
                <a:gd name="T9" fmla="*/ 2147483647 h 133"/>
                <a:gd name="T10" fmla="*/ 2147483647 w 93"/>
                <a:gd name="T11" fmla="*/ 2147483647 h 133"/>
                <a:gd name="T12" fmla="*/ 2147483647 w 93"/>
                <a:gd name="T13" fmla="*/ 2147483647 h 133"/>
                <a:gd name="T14" fmla="*/ 2147483647 w 93"/>
                <a:gd name="T15" fmla="*/ 2147483647 h 133"/>
                <a:gd name="T16" fmla="*/ 2147483647 w 93"/>
                <a:gd name="T17" fmla="*/ 0 h 133"/>
                <a:gd name="T18" fmla="*/ 2147483647 w 93"/>
                <a:gd name="T19" fmla="*/ 2147483647 h 133"/>
                <a:gd name="T20" fmla="*/ 2147483647 w 93"/>
                <a:gd name="T21" fmla="*/ 2147483647 h 133"/>
                <a:gd name="T22" fmla="*/ 2147483647 w 93"/>
                <a:gd name="T23" fmla="*/ 2147483647 h 133"/>
                <a:gd name="T24" fmla="*/ 2147483647 w 93"/>
                <a:gd name="T25" fmla="*/ 2147483647 h 133"/>
                <a:gd name="T26" fmla="*/ 2147483647 w 93"/>
                <a:gd name="T27" fmla="*/ 2147483647 h 133"/>
                <a:gd name="T28" fmla="*/ 2147483647 w 93"/>
                <a:gd name="T29" fmla="*/ 2147483647 h 1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133"/>
                <a:gd name="T47" fmla="*/ 93 w 93"/>
                <a:gd name="T48" fmla="*/ 133 h 1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133">
                  <a:moveTo>
                    <a:pt x="49" y="89"/>
                  </a:moveTo>
                  <a:lnTo>
                    <a:pt x="39" y="133"/>
                  </a:lnTo>
                  <a:lnTo>
                    <a:pt x="0" y="118"/>
                  </a:lnTo>
                  <a:lnTo>
                    <a:pt x="19" y="94"/>
                  </a:lnTo>
                  <a:lnTo>
                    <a:pt x="28" y="73"/>
                  </a:lnTo>
                  <a:lnTo>
                    <a:pt x="4" y="49"/>
                  </a:lnTo>
                  <a:lnTo>
                    <a:pt x="33" y="34"/>
                  </a:lnTo>
                  <a:lnTo>
                    <a:pt x="39" y="10"/>
                  </a:lnTo>
                  <a:lnTo>
                    <a:pt x="73" y="0"/>
                  </a:lnTo>
                  <a:lnTo>
                    <a:pt x="73" y="29"/>
                  </a:lnTo>
                  <a:lnTo>
                    <a:pt x="88" y="34"/>
                  </a:lnTo>
                  <a:lnTo>
                    <a:pt x="93" y="64"/>
                  </a:lnTo>
                  <a:lnTo>
                    <a:pt x="88" y="89"/>
                  </a:lnTo>
                  <a:lnTo>
                    <a:pt x="63" y="89"/>
                  </a:lnTo>
                  <a:lnTo>
                    <a:pt x="49" y="89"/>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6" name="Freeform 19"/>
            <p:cNvSpPr>
              <a:spLocks/>
            </p:cNvSpPr>
            <p:nvPr/>
          </p:nvSpPr>
          <p:spPr bwMode="auto">
            <a:xfrm>
              <a:off x="4068762" y="1227138"/>
              <a:ext cx="222250" cy="188912"/>
            </a:xfrm>
            <a:custGeom>
              <a:avLst/>
              <a:gdLst>
                <a:gd name="T0" fmla="*/ 2147483647 w 297"/>
                <a:gd name="T1" fmla="*/ 2147483647 h 272"/>
                <a:gd name="T2" fmla="*/ 2147483647 w 297"/>
                <a:gd name="T3" fmla="*/ 2147483647 h 272"/>
                <a:gd name="T4" fmla="*/ 2147483647 w 297"/>
                <a:gd name="T5" fmla="*/ 2147483647 h 272"/>
                <a:gd name="T6" fmla="*/ 2147483647 w 297"/>
                <a:gd name="T7" fmla="*/ 2147483647 h 272"/>
                <a:gd name="T8" fmla="*/ 2147483647 w 297"/>
                <a:gd name="T9" fmla="*/ 2147483647 h 272"/>
                <a:gd name="T10" fmla="*/ 2147483647 w 297"/>
                <a:gd name="T11" fmla="*/ 2147483647 h 272"/>
                <a:gd name="T12" fmla="*/ 2147483647 w 297"/>
                <a:gd name="T13" fmla="*/ 2147483647 h 272"/>
                <a:gd name="T14" fmla="*/ 2147483647 w 297"/>
                <a:gd name="T15" fmla="*/ 2147483647 h 272"/>
                <a:gd name="T16" fmla="*/ 2147483647 w 297"/>
                <a:gd name="T17" fmla="*/ 2147483647 h 272"/>
                <a:gd name="T18" fmla="*/ 2147483647 w 297"/>
                <a:gd name="T19" fmla="*/ 2147483647 h 272"/>
                <a:gd name="T20" fmla="*/ 2147483647 w 297"/>
                <a:gd name="T21" fmla="*/ 2147483647 h 272"/>
                <a:gd name="T22" fmla="*/ 2147483647 w 297"/>
                <a:gd name="T23" fmla="*/ 2147483647 h 272"/>
                <a:gd name="T24" fmla="*/ 2147483647 w 297"/>
                <a:gd name="T25" fmla="*/ 2147483647 h 272"/>
                <a:gd name="T26" fmla="*/ 0 w 297"/>
                <a:gd name="T27" fmla="*/ 2147483647 h 272"/>
                <a:gd name="T28" fmla="*/ 2147483647 w 297"/>
                <a:gd name="T29" fmla="*/ 2147483647 h 272"/>
                <a:gd name="T30" fmla="*/ 2147483647 w 297"/>
                <a:gd name="T31" fmla="*/ 2147483647 h 272"/>
                <a:gd name="T32" fmla="*/ 2147483647 w 297"/>
                <a:gd name="T33" fmla="*/ 2147483647 h 272"/>
                <a:gd name="T34" fmla="*/ 2147483647 w 297"/>
                <a:gd name="T35" fmla="*/ 2147483647 h 272"/>
                <a:gd name="T36" fmla="*/ 2147483647 w 297"/>
                <a:gd name="T37" fmla="*/ 2147483647 h 272"/>
                <a:gd name="T38" fmla="*/ 2147483647 w 297"/>
                <a:gd name="T39" fmla="*/ 2147483647 h 272"/>
                <a:gd name="T40" fmla="*/ 2147483647 w 297"/>
                <a:gd name="T41" fmla="*/ 2147483647 h 272"/>
                <a:gd name="T42" fmla="*/ 2147483647 w 297"/>
                <a:gd name="T43" fmla="*/ 2147483647 h 272"/>
                <a:gd name="T44" fmla="*/ 2147483647 w 297"/>
                <a:gd name="T45" fmla="*/ 0 h 272"/>
                <a:gd name="T46" fmla="*/ 2147483647 w 297"/>
                <a:gd name="T47" fmla="*/ 2147483647 h 272"/>
                <a:gd name="T48" fmla="*/ 2147483647 w 297"/>
                <a:gd name="T49" fmla="*/ 2147483647 h 272"/>
                <a:gd name="T50" fmla="*/ 2147483647 w 297"/>
                <a:gd name="T51" fmla="*/ 2147483647 h 272"/>
                <a:gd name="T52" fmla="*/ 2147483647 w 297"/>
                <a:gd name="T53" fmla="*/ 2147483647 h 272"/>
                <a:gd name="T54" fmla="*/ 2147483647 w 297"/>
                <a:gd name="T55" fmla="*/ 2147483647 h 272"/>
                <a:gd name="T56" fmla="*/ 2147483647 w 297"/>
                <a:gd name="T57" fmla="*/ 2147483647 h 2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7"/>
                <a:gd name="T88" fmla="*/ 0 h 272"/>
                <a:gd name="T89" fmla="*/ 297 w 297"/>
                <a:gd name="T90" fmla="*/ 272 h 2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7" h="272">
                  <a:moveTo>
                    <a:pt x="273" y="30"/>
                  </a:moveTo>
                  <a:lnTo>
                    <a:pt x="297" y="30"/>
                  </a:lnTo>
                  <a:lnTo>
                    <a:pt x="297" y="65"/>
                  </a:lnTo>
                  <a:lnTo>
                    <a:pt x="287" y="93"/>
                  </a:lnTo>
                  <a:lnTo>
                    <a:pt x="257" y="123"/>
                  </a:lnTo>
                  <a:lnTo>
                    <a:pt x="234" y="141"/>
                  </a:lnTo>
                  <a:lnTo>
                    <a:pt x="208" y="153"/>
                  </a:lnTo>
                  <a:lnTo>
                    <a:pt x="193" y="133"/>
                  </a:lnTo>
                  <a:lnTo>
                    <a:pt x="163" y="163"/>
                  </a:lnTo>
                  <a:lnTo>
                    <a:pt x="145" y="185"/>
                  </a:lnTo>
                  <a:lnTo>
                    <a:pt x="124" y="203"/>
                  </a:lnTo>
                  <a:lnTo>
                    <a:pt x="109" y="177"/>
                  </a:lnTo>
                  <a:lnTo>
                    <a:pt x="70" y="203"/>
                  </a:lnTo>
                  <a:lnTo>
                    <a:pt x="0" y="272"/>
                  </a:lnTo>
                  <a:lnTo>
                    <a:pt x="14" y="222"/>
                  </a:lnTo>
                  <a:lnTo>
                    <a:pt x="65" y="163"/>
                  </a:lnTo>
                  <a:lnTo>
                    <a:pt x="109" y="153"/>
                  </a:lnTo>
                  <a:lnTo>
                    <a:pt x="149" y="128"/>
                  </a:lnTo>
                  <a:lnTo>
                    <a:pt x="184" y="123"/>
                  </a:lnTo>
                  <a:lnTo>
                    <a:pt x="193" y="93"/>
                  </a:lnTo>
                  <a:lnTo>
                    <a:pt x="213" y="84"/>
                  </a:lnTo>
                  <a:lnTo>
                    <a:pt x="213" y="40"/>
                  </a:lnTo>
                  <a:lnTo>
                    <a:pt x="233" y="0"/>
                  </a:lnTo>
                  <a:lnTo>
                    <a:pt x="247" y="40"/>
                  </a:lnTo>
                  <a:lnTo>
                    <a:pt x="241" y="68"/>
                  </a:lnTo>
                  <a:lnTo>
                    <a:pt x="238" y="93"/>
                  </a:lnTo>
                  <a:lnTo>
                    <a:pt x="257" y="79"/>
                  </a:lnTo>
                  <a:lnTo>
                    <a:pt x="263" y="49"/>
                  </a:lnTo>
                  <a:lnTo>
                    <a:pt x="273" y="3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7" name="Freeform 20"/>
            <p:cNvSpPr>
              <a:spLocks/>
            </p:cNvSpPr>
            <p:nvPr/>
          </p:nvSpPr>
          <p:spPr bwMode="auto">
            <a:xfrm>
              <a:off x="4217987" y="1171575"/>
              <a:ext cx="36513" cy="66675"/>
            </a:xfrm>
            <a:custGeom>
              <a:avLst/>
              <a:gdLst>
                <a:gd name="T0" fmla="*/ 2147483647 w 49"/>
                <a:gd name="T1" fmla="*/ 0 h 98"/>
                <a:gd name="T2" fmla="*/ 2147483647 w 49"/>
                <a:gd name="T3" fmla="*/ 2147483647 h 98"/>
                <a:gd name="T4" fmla="*/ 2147483647 w 49"/>
                <a:gd name="T5" fmla="*/ 2147483647 h 98"/>
                <a:gd name="T6" fmla="*/ 2147483647 w 49"/>
                <a:gd name="T7" fmla="*/ 2147483647 h 98"/>
                <a:gd name="T8" fmla="*/ 0 w 49"/>
                <a:gd name="T9" fmla="*/ 2147483647 h 98"/>
                <a:gd name="T10" fmla="*/ 2147483647 w 49"/>
                <a:gd name="T11" fmla="*/ 2147483647 h 98"/>
                <a:gd name="T12" fmla="*/ 2147483647 w 49"/>
                <a:gd name="T13" fmla="*/ 2147483647 h 98"/>
                <a:gd name="T14" fmla="*/ 2147483647 w 49"/>
                <a:gd name="T15" fmla="*/ 0 h 98"/>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98"/>
                <a:gd name="T26" fmla="*/ 49 w 49"/>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98">
                  <a:moveTo>
                    <a:pt x="45" y="0"/>
                  </a:moveTo>
                  <a:lnTo>
                    <a:pt x="49" y="35"/>
                  </a:lnTo>
                  <a:lnTo>
                    <a:pt x="40" y="70"/>
                  </a:lnTo>
                  <a:lnTo>
                    <a:pt x="15" y="98"/>
                  </a:lnTo>
                  <a:lnTo>
                    <a:pt x="0" y="89"/>
                  </a:lnTo>
                  <a:lnTo>
                    <a:pt x="10" y="54"/>
                  </a:lnTo>
                  <a:lnTo>
                    <a:pt x="35" y="35"/>
                  </a:lnTo>
                  <a:lnTo>
                    <a:pt x="45"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8" name="Freeform 21"/>
            <p:cNvSpPr>
              <a:spLocks/>
            </p:cNvSpPr>
            <p:nvPr/>
          </p:nvSpPr>
          <p:spPr bwMode="auto">
            <a:xfrm>
              <a:off x="4187825" y="1258888"/>
              <a:ext cx="26987" cy="36512"/>
            </a:xfrm>
            <a:custGeom>
              <a:avLst/>
              <a:gdLst>
                <a:gd name="T0" fmla="*/ 2147483647 w 35"/>
                <a:gd name="T1" fmla="*/ 2147483647 h 54"/>
                <a:gd name="T2" fmla="*/ 2147483647 w 35"/>
                <a:gd name="T3" fmla="*/ 2147483647 h 54"/>
                <a:gd name="T4" fmla="*/ 0 w 35"/>
                <a:gd name="T5" fmla="*/ 2147483647 h 54"/>
                <a:gd name="T6" fmla="*/ 0 w 35"/>
                <a:gd name="T7" fmla="*/ 2147483647 h 54"/>
                <a:gd name="T8" fmla="*/ 2147483647 w 35"/>
                <a:gd name="T9" fmla="*/ 0 h 54"/>
                <a:gd name="T10" fmla="*/ 2147483647 w 35"/>
                <a:gd name="T11" fmla="*/ 2147483647 h 54"/>
                <a:gd name="T12" fmla="*/ 0 60000 65536"/>
                <a:gd name="T13" fmla="*/ 0 60000 65536"/>
                <a:gd name="T14" fmla="*/ 0 60000 65536"/>
                <a:gd name="T15" fmla="*/ 0 60000 65536"/>
                <a:gd name="T16" fmla="*/ 0 60000 65536"/>
                <a:gd name="T17" fmla="*/ 0 60000 65536"/>
                <a:gd name="T18" fmla="*/ 0 w 35"/>
                <a:gd name="T19" fmla="*/ 0 h 54"/>
                <a:gd name="T20" fmla="*/ 35 w 35"/>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35" h="54">
                  <a:moveTo>
                    <a:pt x="26" y="5"/>
                  </a:moveTo>
                  <a:lnTo>
                    <a:pt x="35" y="35"/>
                  </a:lnTo>
                  <a:lnTo>
                    <a:pt x="0" y="54"/>
                  </a:lnTo>
                  <a:lnTo>
                    <a:pt x="0" y="30"/>
                  </a:lnTo>
                  <a:lnTo>
                    <a:pt x="15" y="0"/>
                  </a:lnTo>
                  <a:lnTo>
                    <a:pt x="26" y="5"/>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199" name="Freeform 22"/>
            <p:cNvSpPr>
              <a:spLocks/>
            </p:cNvSpPr>
            <p:nvPr/>
          </p:nvSpPr>
          <p:spPr bwMode="auto">
            <a:xfrm>
              <a:off x="4151312" y="1262063"/>
              <a:ext cx="20638" cy="38100"/>
            </a:xfrm>
            <a:custGeom>
              <a:avLst/>
              <a:gdLst>
                <a:gd name="T0" fmla="*/ 2147483647 w 29"/>
                <a:gd name="T1" fmla="*/ 0 h 55"/>
                <a:gd name="T2" fmla="*/ 0 w 29"/>
                <a:gd name="T3" fmla="*/ 2147483647 h 55"/>
                <a:gd name="T4" fmla="*/ 2147483647 w 29"/>
                <a:gd name="T5" fmla="*/ 2147483647 h 55"/>
                <a:gd name="T6" fmla="*/ 2147483647 w 29"/>
                <a:gd name="T7" fmla="*/ 2147483647 h 55"/>
                <a:gd name="T8" fmla="*/ 2147483647 w 29"/>
                <a:gd name="T9" fmla="*/ 2147483647 h 55"/>
                <a:gd name="T10" fmla="*/ 2147483647 w 29"/>
                <a:gd name="T11" fmla="*/ 0 h 55"/>
                <a:gd name="T12" fmla="*/ 0 60000 65536"/>
                <a:gd name="T13" fmla="*/ 0 60000 65536"/>
                <a:gd name="T14" fmla="*/ 0 60000 65536"/>
                <a:gd name="T15" fmla="*/ 0 60000 65536"/>
                <a:gd name="T16" fmla="*/ 0 60000 65536"/>
                <a:gd name="T17" fmla="*/ 0 60000 65536"/>
                <a:gd name="T18" fmla="*/ 0 w 29"/>
                <a:gd name="T19" fmla="*/ 0 h 55"/>
                <a:gd name="T20" fmla="*/ 29 w 29"/>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29" h="55">
                  <a:moveTo>
                    <a:pt x="19" y="0"/>
                  </a:moveTo>
                  <a:lnTo>
                    <a:pt x="0" y="25"/>
                  </a:lnTo>
                  <a:lnTo>
                    <a:pt x="5" y="55"/>
                  </a:lnTo>
                  <a:lnTo>
                    <a:pt x="24" y="44"/>
                  </a:lnTo>
                  <a:lnTo>
                    <a:pt x="29" y="20"/>
                  </a:lnTo>
                  <a:lnTo>
                    <a:pt x="19"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00" name="Freeform 23"/>
            <p:cNvSpPr>
              <a:spLocks/>
            </p:cNvSpPr>
            <p:nvPr/>
          </p:nvSpPr>
          <p:spPr bwMode="auto">
            <a:xfrm>
              <a:off x="3748088" y="2078038"/>
              <a:ext cx="63500" cy="38100"/>
            </a:xfrm>
            <a:custGeom>
              <a:avLst/>
              <a:gdLst>
                <a:gd name="T0" fmla="*/ 2147483647 w 85"/>
                <a:gd name="T1" fmla="*/ 0 h 55"/>
                <a:gd name="T2" fmla="*/ 2147483647 w 85"/>
                <a:gd name="T3" fmla="*/ 0 h 55"/>
                <a:gd name="T4" fmla="*/ 2147483647 w 85"/>
                <a:gd name="T5" fmla="*/ 2147483647 h 55"/>
                <a:gd name="T6" fmla="*/ 2147483647 w 85"/>
                <a:gd name="T7" fmla="*/ 2147483647 h 55"/>
                <a:gd name="T8" fmla="*/ 2147483647 w 85"/>
                <a:gd name="T9" fmla="*/ 2147483647 h 55"/>
                <a:gd name="T10" fmla="*/ 0 w 85"/>
                <a:gd name="T11" fmla="*/ 2147483647 h 55"/>
                <a:gd name="T12" fmla="*/ 2147483647 w 85"/>
                <a:gd name="T13" fmla="*/ 2147483647 h 55"/>
                <a:gd name="T14" fmla="*/ 2147483647 w 85"/>
                <a:gd name="T15" fmla="*/ 2147483647 h 55"/>
                <a:gd name="T16" fmla="*/ 2147483647 w 85"/>
                <a:gd name="T17" fmla="*/ 0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5"/>
                <a:gd name="T28" fmla="*/ 0 h 55"/>
                <a:gd name="T29" fmla="*/ 85 w 85"/>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5" h="55">
                  <a:moveTo>
                    <a:pt x="80" y="0"/>
                  </a:moveTo>
                  <a:lnTo>
                    <a:pt x="85" y="0"/>
                  </a:lnTo>
                  <a:lnTo>
                    <a:pt x="85" y="39"/>
                  </a:lnTo>
                  <a:lnTo>
                    <a:pt x="61" y="44"/>
                  </a:lnTo>
                  <a:lnTo>
                    <a:pt x="26" y="55"/>
                  </a:lnTo>
                  <a:lnTo>
                    <a:pt x="0" y="34"/>
                  </a:lnTo>
                  <a:lnTo>
                    <a:pt x="35" y="25"/>
                  </a:lnTo>
                  <a:lnTo>
                    <a:pt x="56" y="4"/>
                  </a:lnTo>
                  <a:lnTo>
                    <a:pt x="80"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01" name="Freeform 24"/>
            <p:cNvSpPr>
              <a:spLocks/>
            </p:cNvSpPr>
            <p:nvPr/>
          </p:nvSpPr>
          <p:spPr bwMode="auto">
            <a:xfrm>
              <a:off x="3714751" y="2108200"/>
              <a:ext cx="25400" cy="23813"/>
            </a:xfrm>
            <a:custGeom>
              <a:avLst/>
              <a:gdLst>
                <a:gd name="T0" fmla="*/ 2147483647 w 35"/>
                <a:gd name="T1" fmla="*/ 2147483647 h 35"/>
                <a:gd name="T2" fmla="*/ 0 w 35"/>
                <a:gd name="T3" fmla="*/ 0 h 35"/>
                <a:gd name="T4" fmla="*/ 2147483647 w 35"/>
                <a:gd name="T5" fmla="*/ 2147483647 h 35"/>
                <a:gd name="T6" fmla="*/ 2147483647 w 35"/>
                <a:gd name="T7" fmla="*/ 2147483647 h 35"/>
                <a:gd name="T8" fmla="*/ 2147483647 w 35"/>
                <a:gd name="T9" fmla="*/ 2147483647 h 35"/>
                <a:gd name="T10" fmla="*/ 2147483647 w 35"/>
                <a:gd name="T11" fmla="*/ 2147483647 h 35"/>
                <a:gd name="T12" fmla="*/ 0 60000 65536"/>
                <a:gd name="T13" fmla="*/ 0 60000 65536"/>
                <a:gd name="T14" fmla="*/ 0 60000 65536"/>
                <a:gd name="T15" fmla="*/ 0 60000 65536"/>
                <a:gd name="T16" fmla="*/ 0 60000 65536"/>
                <a:gd name="T17" fmla="*/ 0 60000 65536"/>
                <a:gd name="T18" fmla="*/ 0 w 35"/>
                <a:gd name="T19" fmla="*/ 0 h 35"/>
                <a:gd name="T20" fmla="*/ 35 w 35"/>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35" h="35">
                  <a:moveTo>
                    <a:pt x="30" y="5"/>
                  </a:moveTo>
                  <a:lnTo>
                    <a:pt x="0" y="0"/>
                  </a:lnTo>
                  <a:lnTo>
                    <a:pt x="5" y="25"/>
                  </a:lnTo>
                  <a:lnTo>
                    <a:pt x="30" y="35"/>
                  </a:lnTo>
                  <a:lnTo>
                    <a:pt x="35" y="10"/>
                  </a:lnTo>
                  <a:lnTo>
                    <a:pt x="30" y="5"/>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02" name="Freeform 25"/>
            <p:cNvSpPr>
              <a:spLocks/>
            </p:cNvSpPr>
            <p:nvPr/>
          </p:nvSpPr>
          <p:spPr bwMode="auto">
            <a:xfrm>
              <a:off x="3725863" y="2143125"/>
              <a:ext cx="22225" cy="17463"/>
            </a:xfrm>
            <a:custGeom>
              <a:avLst/>
              <a:gdLst>
                <a:gd name="T0" fmla="*/ 2147483647 w 28"/>
                <a:gd name="T1" fmla="*/ 0 h 25"/>
                <a:gd name="T2" fmla="*/ 0 w 28"/>
                <a:gd name="T3" fmla="*/ 0 h 25"/>
                <a:gd name="T4" fmla="*/ 2147483647 w 28"/>
                <a:gd name="T5" fmla="*/ 2147483647 h 25"/>
                <a:gd name="T6" fmla="*/ 2147483647 w 28"/>
                <a:gd name="T7" fmla="*/ 2147483647 h 25"/>
                <a:gd name="T8" fmla="*/ 2147483647 w 28"/>
                <a:gd name="T9" fmla="*/ 2147483647 h 25"/>
                <a:gd name="T10" fmla="*/ 2147483647 w 28"/>
                <a:gd name="T11" fmla="*/ 0 h 25"/>
                <a:gd name="T12" fmla="*/ 0 60000 65536"/>
                <a:gd name="T13" fmla="*/ 0 60000 65536"/>
                <a:gd name="T14" fmla="*/ 0 60000 65536"/>
                <a:gd name="T15" fmla="*/ 0 60000 65536"/>
                <a:gd name="T16" fmla="*/ 0 60000 65536"/>
                <a:gd name="T17" fmla="*/ 0 60000 65536"/>
                <a:gd name="T18" fmla="*/ 0 w 28"/>
                <a:gd name="T19" fmla="*/ 0 h 25"/>
                <a:gd name="T20" fmla="*/ 28 w 28"/>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8" h="25">
                  <a:moveTo>
                    <a:pt x="28" y="0"/>
                  </a:moveTo>
                  <a:lnTo>
                    <a:pt x="0" y="0"/>
                  </a:lnTo>
                  <a:lnTo>
                    <a:pt x="9" y="20"/>
                  </a:lnTo>
                  <a:lnTo>
                    <a:pt x="24" y="25"/>
                  </a:lnTo>
                  <a:lnTo>
                    <a:pt x="28" y="11"/>
                  </a:lnTo>
                  <a:lnTo>
                    <a:pt x="28"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03" name="Freeform 26"/>
            <p:cNvSpPr>
              <a:spLocks/>
            </p:cNvSpPr>
            <p:nvPr/>
          </p:nvSpPr>
          <p:spPr bwMode="auto">
            <a:xfrm>
              <a:off x="3475038" y="2617788"/>
              <a:ext cx="42863" cy="60325"/>
            </a:xfrm>
            <a:custGeom>
              <a:avLst/>
              <a:gdLst>
                <a:gd name="T0" fmla="*/ 2147483647 w 55"/>
                <a:gd name="T1" fmla="*/ 2147483647 h 89"/>
                <a:gd name="T2" fmla="*/ 2147483647 w 55"/>
                <a:gd name="T3" fmla="*/ 2147483647 h 89"/>
                <a:gd name="T4" fmla="*/ 2147483647 w 55"/>
                <a:gd name="T5" fmla="*/ 2147483647 h 89"/>
                <a:gd name="T6" fmla="*/ 2147483647 w 55"/>
                <a:gd name="T7" fmla="*/ 2147483647 h 89"/>
                <a:gd name="T8" fmla="*/ 2147483647 w 55"/>
                <a:gd name="T9" fmla="*/ 2147483647 h 89"/>
                <a:gd name="T10" fmla="*/ 0 w 55"/>
                <a:gd name="T11" fmla="*/ 2147483647 h 89"/>
                <a:gd name="T12" fmla="*/ 2147483647 w 55"/>
                <a:gd name="T13" fmla="*/ 2147483647 h 89"/>
                <a:gd name="T14" fmla="*/ 2147483647 w 55"/>
                <a:gd name="T15" fmla="*/ 0 h 89"/>
                <a:gd name="T16" fmla="*/ 2147483647 w 55"/>
                <a:gd name="T17" fmla="*/ 2147483647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89"/>
                <a:gd name="T29" fmla="*/ 55 w 55"/>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89">
                  <a:moveTo>
                    <a:pt x="44" y="25"/>
                  </a:moveTo>
                  <a:lnTo>
                    <a:pt x="40" y="30"/>
                  </a:lnTo>
                  <a:lnTo>
                    <a:pt x="55" y="60"/>
                  </a:lnTo>
                  <a:lnTo>
                    <a:pt x="25" y="69"/>
                  </a:lnTo>
                  <a:lnTo>
                    <a:pt x="5" y="89"/>
                  </a:lnTo>
                  <a:lnTo>
                    <a:pt x="0" y="49"/>
                  </a:lnTo>
                  <a:lnTo>
                    <a:pt x="10" y="20"/>
                  </a:lnTo>
                  <a:lnTo>
                    <a:pt x="20" y="0"/>
                  </a:lnTo>
                  <a:lnTo>
                    <a:pt x="44" y="25"/>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04" name="Freeform 27"/>
            <p:cNvSpPr>
              <a:spLocks/>
            </p:cNvSpPr>
            <p:nvPr/>
          </p:nvSpPr>
          <p:spPr bwMode="auto">
            <a:xfrm>
              <a:off x="3471863" y="2717800"/>
              <a:ext cx="19050" cy="38100"/>
            </a:xfrm>
            <a:custGeom>
              <a:avLst/>
              <a:gdLst>
                <a:gd name="T0" fmla="*/ 0 w 25"/>
                <a:gd name="T1" fmla="*/ 0 h 53"/>
                <a:gd name="T2" fmla="*/ 2147483647 w 25"/>
                <a:gd name="T3" fmla="*/ 2147483647 h 53"/>
                <a:gd name="T4" fmla="*/ 2147483647 w 25"/>
                <a:gd name="T5" fmla="*/ 2147483647 h 53"/>
                <a:gd name="T6" fmla="*/ 0 w 25"/>
                <a:gd name="T7" fmla="*/ 2147483647 h 53"/>
                <a:gd name="T8" fmla="*/ 0 w 25"/>
                <a:gd name="T9" fmla="*/ 2147483647 h 53"/>
                <a:gd name="T10" fmla="*/ 0 w 25"/>
                <a:gd name="T11" fmla="*/ 0 h 53"/>
                <a:gd name="T12" fmla="*/ 0 60000 65536"/>
                <a:gd name="T13" fmla="*/ 0 60000 65536"/>
                <a:gd name="T14" fmla="*/ 0 60000 65536"/>
                <a:gd name="T15" fmla="*/ 0 60000 65536"/>
                <a:gd name="T16" fmla="*/ 0 60000 65536"/>
                <a:gd name="T17" fmla="*/ 0 60000 65536"/>
                <a:gd name="T18" fmla="*/ 0 w 25"/>
                <a:gd name="T19" fmla="*/ 0 h 53"/>
                <a:gd name="T20" fmla="*/ 25 w 25"/>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25" h="53">
                  <a:moveTo>
                    <a:pt x="0" y="0"/>
                  </a:moveTo>
                  <a:lnTo>
                    <a:pt x="25" y="19"/>
                  </a:lnTo>
                  <a:lnTo>
                    <a:pt x="15" y="53"/>
                  </a:lnTo>
                  <a:lnTo>
                    <a:pt x="0" y="39"/>
                  </a:lnTo>
                  <a:lnTo>
                    <a:pt x="0" y="19"/>
                  </a:lnTo>
                  <a:lnTo>
                    <a:pt x="0"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05" name="Freeform 28"/>
            <p:cNvSpPr>
              <a:spLocks/>
            </p:cNvSpPr>
            <p:nvPr/>
          </p:nvSpPr>
          <p:spPr bwMode="auto">
            <a:xfrm>
              <a:off x="5027612" y="2528888"/>
              <a:ext cx="414338" cy="319087"/>
            </a:xfrm>
            <a:custGeom>
              <a:avLst/>
              <a:gdLst/>
              <a:ahLst/>
              <a:cxnLst>
                <a:cxn ang="0">
                  <a:pos x="481" y="0"/>
                </a:cxn>
                <a:cxn ang="0">
                  <a:pos x="511" y="20"/>
                </a:cxn>
                <a:cxn ang="0">
                  <a:pos x="511" y="34"/>
                </a:cxn>
                <a:cxn ang="0">
                  <a:pos x="495" y="54"/>
                </a:cxn>
                <a:cxn ang="0">
                  <a:pos x="476" y="60"/>
                </a:cxn>
                <a:cxn ang="0">
                  <a:pos x="475" y="72"/>
                </a:cxn>
                <a:cxn ang="0">
                  <a:pos x="477" y="89"/>
                </a:cxn>
                <a:cxn ang="0">
                  <a:pos x="481" y="123"/>
                </a:cxn>
                <a:cxn ang="0">
                  <a:pos x="451" y="158"/>
                </a:cxn>
                <a:cxn ang="0">
                  <a:pos x="455" y="188"/>
                </a:cxn>
                <a:cxn ang="0">
                  <a:pos x="476" y="227"/>
                </a:cxn>
                <a:cxn ang="0">
                  <a:pos x="485" y="242"/>
                </a:cxn>
                <a:cxn ang="0">
                  <a:pos x="483" y="268"/>
                </a:cxn>
                <a:cxn ang="0">
                  <a:pos x="481" y="296"/>
                </a:cxn>
                <a:cxn ang="0">
                  <a:pos x="515" y="326"/>
                </a:cxn>
                <a:cxn ang="0">
                  <a:pos x="536" y="345"/>
                </a:cxn>
                <a:cxn ang="0">
                  <a:pos x="550" y="370"/>
                </a:cxn>
                <a:cxn ang="0">
                  <a:pos x="520" y="395"/>
                </a:cxn>
                <a:cxn ang="0">
                  <a:pos x="520" y="444"/>
                </a:cxn>
                <a:cxn ang="0">
                  <a:pos x="490" y="449"/>
                </a:cxn>
                <a:cxn ang="0">
                  <a:pos x="460" y="440"/>
                </a:cxn>
                <a:cxn ang="0">
                  <a:pos x="437" y="450"/>
                </a:cxn>
                <a:cxn ang="0">
                  <a:pos x="411" y="464"/>
                </a:cxn>
                <a:cxn ang="0">
                  <a:pos x="371" y="449"/>
                </a:cxn>
                <a:cxn ang="0">
                  <a:pos x="347" y="429"/>
                </a:cxn>
                <a:cxn ang="0">
                  <a:pos x="347" y="410"/>
                </a:cxn>
                <a:cxn ang="0">
                  <a:pos x="297" y="405"/>
                </a:cxn>
                <a:cxn ang="0">
                  <a:pos x="257" y="390"/>
                </a:cxn>
                <a:cxn ang="0">
                  <a:pos x="218" y="399"/>
                </a:cxn>
                <a:cxn ang="0">
                  <a:pos x="188" y="419"/>
                </a:cxn>
                <a:cxn ang="0">
                  <a:pos x="144" y="449"/>
                </a:cxn>
                <a:cxn ang="0">
                  <a:pos x="154" y="400"/>
                </a:cxn>
                <a:cxn ang="0">
                  <a:pos x="163" y="360"/>
                </a:cxn>
                <a:cxn ang="0">
                  <a:pos x="159" y="335"/>
                </a:cxn>
                <a:cxn ang="0">
                  <a:pos x="133" y="335"/>
                </a:cxn>
                <a:cxn ang="0">
                  <a:pos x="124" y="370"/>
                </a:cxn>
                <a:cxn ang="0">
                  <a:pos x="105" y="380"/>
                </a:cxn>
                <a:cxn ang="0">
                  <a:pos x="65" y="360"/>
                </a:cxn>
                <a:cxn ang="0">
                  <a:pos x="54" y="330"/>
                </a:cxn>
                <a:cxn ang="0">
                  <a:pos x="25" y="311"/>
                </a:cxn>
                <a:cxn ang="0">
                  <a:pos x="19" y="291"/>
                </a:cxn>
                <a:cxn ang="0">
                  <a:pos x="45" y="281"/>
                </a:cxn>
                <a:cxn ang="0">
                  <a:pos x="19" y="261"/>
                </a:cxn>
                <a:cxn ang="0">
                  <a:pos x="5" y="227"/>
                </a:cxn>
                <a:cxn ang="0">
                  <a:pos x="0" y="172"/>
                </a:cxn>
                <a:cxn ang="0">
                  <a:pos x="25" y="153"/>
                </a:cxn>
                <a:cxn ang="0">
                  <a:pos x="54" y="143"/>
                </a:cxn>
                <a:cxn ang="0">
                  <a:pos x="59" y="123"/>
                </a:cxn>
                <a:cxn ang="0">
                  <a:pos x="99" y="113"/>
                </a:cxn>
                <a:cxn ang="0">
                  <a:pos x="154" y="93"/>
                </a:cxn>
                <a:cxn ang="0">
                  <a:pos x="184" y="69"/>
                </a:cxn>
                <a:cxn ang="0">
                  <a:pos x="213" y="34"/>
                </a:cxn>
                <a:cxn ang="0">
                  <a:pos x="249" y="30"/>
                </a:cxn>
                <a:cxn ang="0">
                  <a:pos x="269" y="31"/>
                </a:cxn>
                <a:cxn ang="0">
                  <a:pos x="287" y="34"/>
                </a:cxn>
                <a:cxn ang="0">
                  <a:pos x="317" y="49"/>
                </a:cxn>
                <a:cxn ang="0">
                  <a:pos x="336" y="30"/>
                </a:cxn>
                <a:cxn ang="0">
                  <a:pos x="366" y="44"/>
                </a:cxn>
                <a:cxn ang="0">
                  <a:pos x="392" y="49"/>
                </a:cxn>
                <a:cxn ang="0">
                  <a:pos x="427" y="34"/>
                </a:cxn>
                <a:cxn ang="0">
                  <a:pos x="466" y="34"/>
                </a:cxn>
                <a:cxn ang="0">
                  <a:pos x="481" y="25"/>
                </a:cxn>
                <a:cxn ang="0">
                  <a:pos x="481" y="0"/>
                </a:cxn>
              </a:cxnLst>
              <a:rect l="0" t="0" r="r" b="b"/>
              <a:pathLst>
                <a:path w="550" h="464">
                  <a:moveTo>
                    <a:pt x="481" y="0"/>
                  </a:moveTo>
                  <a:lnTo>
                    <a:pt x="511" y="20"/>
                  </a:lnTo>
                  <a:lnTo>
                    <a:pt x="511" y="34"/>
                  </a:lnTo>
                  <a:lnTo>
                    <a:pt x="495" y="54"/>
                  </a:lnTo>
                  <a:lnTo>
                    <a:pt x="476" y="60"/>
                  </a:lnTo>
                  <a:lnTo>
                    <a:pt x="475" y="72"/>
                  </a:lnTo>
                  <a:lnTo>
                    <a:pt x="477" y="89"/>
                  </a:lnTo>
                  <a:lnTo>
                    <a:pt x="481" y="123"/>
                  </a:lnTo>
                  <a:lnTo>
                    <a:pt x="451" y="158"/>
                  </a:lnTo>
                  <a:lnTo>
                    <a:pt x="455" y="188"/>
                  </a:lnTo>
                  <a:lnTo>
                    <a:pt x="476" y="227"/>
                  </a:lnTo>
                  <a:lnTo>
                    <a:pt x="485" y="242"/>
                  </a:lnTo>
                  <a:lnTo>
                    <a:pt x="483" y="268"/>
                  </a:lnTo>
                  <a:lnTo>
                    <a:pt x="481" y="296"/>
                  </a:lnTo>
                  <a:lnTo>
                    <a:pt x="515" y="326"/>
                  </a:lnTo>
                  <a:lnTo>
                    <a:pt x="536" y="345"/>
                  </a:lnTo>
                  <a:lnTo>
                    <a:pt x="550" y="370"/>
                  </a:lnTo>
                  <a:lnTo>
                    <a:pt x="520" y="395"/>
                  </a:lnTo>
                  <a:lnTo>
                    <a:pt x="520" y="444"/>
                  </a:lnTo>
                  <a:lnTo>
                    <a:pt x="490" y="449"/>
                  </a:lnTo>
                  <a:lnTo>
                    <a:pt x="460" y="440"/>
                  </a:lnTo>
                  <a:lnTo>
                    <a:pt x="437" y="450"/>
                  </a:lnTo>
                  <a:lnTo>
                    <a:pt x="411" y="464"/>
                  </a:lnTo>
                  <a:lnTo>
                    <a:pt x="371" y="449"/>
                  </a:lnTo>
                  <a:lnTo>
                    <a:pt x="347" y="429"/>
                  </a:lnTo>
                  <a:lnTo>
                    <a:pt x="347" y="410"/>
                  </a:lnTo>
                  <a:lnTo>
                    <a:pt x="297" y="405"/>
                  </a:lnTo>
                  <a:lnTo>
                    <a:pt x="257" y="390"/>
                  </a:lnTo>
                  <a:lnTo>
                    <a:pt x="218" y="399"/>
                  </a:lnTo>
                  <a:lnTo>
                    <a:pt x="188" y="419"/>
                  </a:lnTo>
                  <a:lnTo>
                    <a:pt x="144" y="449"/>
                  </a:lnTo>
                  <a:lnTo>
                    <a:pt x="154" y="400"/>
                  </a:lnTo>
                  <a:lnTo>
                    <a:pt x="163" y="360"/>
                  </a:lnTo>
                  <a:lnTo>
                    <a:pt x="159" y="335"/>
                  </a:lnTo>
                  <a:lnTo>
                    <a:pt x="133" y="335"/>
                  </a:lnTo>
                  <a:lnTo>
                    <a:pt x="124" y="370"/>
                  </a:lnTo>
                  <a:lnTo>
                    <a:pt x="105" y="380"/>
                  </a:lnTo>
                  <a:lnTo>
                    <a:pt x="65" y="360"/>
                  </a:lnTo>
                  <a:lnTo>
                    <a:pt x="54" y="330"/>
                  </a:lnTo>
                  <a:lnTo>
                    <a:pt x="25" y="311"/>
                  </a:lnTo>
                  <a:lnTo>
                    <a:pt x="19" y="291"/>
                  </a:lnTo>
                  <a:lnTo>
                    <a:pt x="45" y="281"/>
                  </a:lnTo>
                  <a:lnTo>
                    <a:pt x="19" y="261"/>
                  </a:lnTo>
                  <a:lnTo>
                    <a:pt x="5" y="227"/>
                  </a:lnTo>
                  <a:lnTo>
                    <a:pt x="0" y="172"/>
                  </a:lnTo>
                  <a:lnTo>
                    <a:pt x="25" y="153"/>
                  </a:lnTo>
                  <a:lnTo>
                    <a:pt x="54" y="143"/>
                  </a:lnTo>
                  <a:lnTo>
                    <a:pt x="59" y="123"/>
                  </a:lnTo>
                  <a:lnTo>
                    <a:pt x="99" y="113"/>
                  </a:lnTo>
                  <a:lnTo>
                    <a:pt x="154" y="93"/>
                  </a:lnTo>
                  <a:lnTo>
                    <a:pt x="184" y="69"/>
                  </a:lnTo>
                  <a:lnTo>
                    <a:pt x="213" y="34"/>
                  </a:lnTo>
                  <a:lnTo>
                    <a:pt x="249" y="30"/>
                  </a:lnTo>
                  <a:lnTo>
                    <a:pt x="269" y="31"/>
                  </a:lnTo>
                  <a:lnTo>
                    <a:pt x="287" y="34"/>
                  </a:lnTo>
                  <a:lnTo>
                    <a:pt x="317" y="49"/>
                  </a:lnTo>
                  <a:lnTo>
                    <a:pt x="336" y="30"/>
                  </a:lnTo>
                  <a:lnTo>
                    <a:pt x="366" y="44"/>
                  </a:lnTo>
                  <a:lnTo>
                    <a:pt x="392" y="49"/>
                  </a:lnTo>
                  <a:lnTo>
                    <a:pt x="427" y="34"/>
                  </a:lnTo>
                  <a:lnTo>
                    <a:pt x="466" y="34"/>
                  </a:lnTo>
                  <a:lnTo>
                    <a:pt x="481" y="25"/>
                  </a:lnTo>
                  <a:lnTo>
                    <a:pt x="481" y="0"/>
                  </a:lnTo>
                  <a:close/>
                </a:path>
              </a:pathLst>
            </a:custGeom>
            <a:grpFill/>
            <a:ln w="11113" cap="flat" cmpd="sng">
              <a:noFill/>
              <a:prstDash val="solid"/>
              <a:round/>
              <a:headEnd type="none" w="med" len="med"/>
              <a:tailEnd type="none" w="med" len="med"/>
            </a:ln>
            <a:effectLst/>
          </p:spPr>
          <p:txBody>
            <a:bodyPr/>
            <a:lstStyle/>
            <a:p>
              <a:pPr>
                <a:defRPr/>
              </a:pPr>
              <a:endParaRPr lang="en-US" sz="2400">
                <a:solidFill>
                  <a:srgbClr val="000000"/>
                </a:solidFill>
              </a:endParaRPr>
            </a:p>
          </p:txBody>
        </p:sp>
        <p:sp>
          <p:nvSpPr>
            <p:cNvPr id="206" name="Freeform 29"/>
            <p:cNvSpPr>
              <a:spLocks/>
            </p:cNvSpPr>
            <p:nvPr/>
          </p:nvSpPr>
          <p:spPr bwMode="auto">
            <a:xfrm>
              <a:off x="4884737" y="2797175"/>
              <a:ext cx="655638" cy="355600"/>
            </a:xfrm>
            <a:custGeom>
              <a:avLst/>
              <a:gdLst/>
              <a:ahLst/>
              <a:cxnLst>
                <a:cxn ang="0">
                  <a:pos x="748" y="74"/>
                </a:cxn>
                <a:cxn ang="0">
                  <a:pos x="787" y="118"/>
                </a:cxn>
                <a:cxn ang="0">
                  <a:pos x="778" y="148"/>
                </a:cxn>
                <a:cxn ang="0">
                  <a:pos x="802" y="183"/>
                </a:cxn>
                <a:cxn ang="0">
                  <a:pos x="867" y="271"/>
                </a:cxn>
                <a:cxn ang="0">
                  <a:pos x="837" y="341"/>
                </a:cxn>
                <a:cxn ang="0">
                  <a:pos x="827" y="420"/>
                </a:cxn>
                <a:cxn ang="0">
                  <a:pos x="753" y="425"/>
                </a:cxn>
                <a:cxn ang="0">
                  <a:pos x="708" y="469"/>
                </a:cxn>
                <a:cxn ang="0">
                  <a:pos x="639" y="434"/>
                </a:cxn>
                <a:cxn ang="0">
                  <a:pos x="589" y="400"/>
                </a:cxn>
                <a:cxn ang="0">
                  <a:pos x="540" y="395"/>
                </a:cxn>
                <a:cxn ang="0">
                  <a:pos x="485" y="371"/>
                </a:cxn>
                <a:cxn ang="0">
                  <a:pos x="445" y="376"/>
                </a:cxn>
                <a:cxn ang="0">
                  <a:pos x="401" y="395"/>
                </a:cxn>
                <a:cxn ang="0">
                  <a:pos x="372" y="400"/>
                </a:cxn>
                <a:cxn ang="0">
                  <a:pos x="325" y="396"/>
                </a:cxn>
                <a:cxn ang="0">
                  <a:pos x="302" y="415"/>
                </a:cxn>
                <a:cxn ang="0">
                  <a:pos x="247" y="425"/>
                </a:cxn>
                <a:cxn ang="0">
                  <a:pos x="218" y="425"/>
                </a:cxn>
                <a:cxn ang="0">
                  <a:pos x="174" y="420"/>
                </a:cxn>
                <a:cxn ang="0">
                  <a:pos x="49" y="488"/>
                </a:cxn>
                <a:cxn ang="0">
                  <a:pos x="1" y="472"/>
                </a:cxn>
                <a:cxn ang="0">
                  <a:pos x="0" y="409"/>
                </a:cxn>
                <a:cxn ang="0">
                  <a:pos x="0" y="360"/>
                </a:cxn>
                <a:cxn ang="0">
                  <a:pos x="34" y="286"/>
                </a:cxn>
                <a:cxn ang="0">
                  <a:pos x="25" y="237"/>
                </a:cxn>
                <a:cxn ang="0">
                  <a:pos x="88" y="168"/>
                </a:cxn>
                <a:cxn ang="0">
                  <a:pos x="139" y="124"/>
                </a:cxn>
                <a:cxn ang="0">
                  <a:pos x="218" y="187"/>
                </a:cxn>
                <a:cxn ang="0">
                  <a:pos x="267" y="267"/>
                </a:cxn>
                <a:cxn ang="0">
                  <a:pos x="342" y="241"/>
                </a:cxn>
                <a:cxn ang="0">
                  <a:pos x="361" y="151"/>
                </a:cxn>
                <a:cxn ang="0">
                  <a:pos x="332" y="59"/>
                </a:cxn>
                <a:cxn ang="0">
                  <a:pos x="406" y="9"/>
                </a:cxn>
                <a:cxn ang="0">
                  <a:pos x="485" y="15"/>
                </a:cxn>
                <a:cxn ang="0">
                  <a:pos x="535" y="39"/>
                </a:cxn>
                <a:cxn ang="0">
                  <a:pos x="599" y="74"/>
                </a:cxn>
                <a:cxn ang="0">
                  <a:pos x="678" y="59"/>
                </a:cxn>
                <a:cxn ang="0">
                  <a:pos x="718" y="54"/>
                </a:cxn>
              </a:cxnLst>
              <a:rect l="0" t="0" r="r" b="b"/>
              <a:pathLst>
                <a:path w="872" h="518">
                  <a:moveTo>
                    <a:pt x="718" y="54"/>
                  </a:moveTo>
                  <a:lnTo>
                    <a:pt x="748" y="74"/>
                  </a:lnTo>
                  <a:lnTo>
                    <a:pt x="778" y="84"/>
                  </a:lnTo>
                  <a:lnTo>
                    <a:pt x="787" y="118"/>
                  </a:lnTo>
                  <a:lnTo>
                    <a:pt x="762" y="133"/>
                  </a:lnTo>
                  <a:lnTo>
                    <a:pt x="778" y="148"/>
                  </a:lnTo>
                  <a:lnTo>
                    <a:pt x="783" y="183"/>
                  </a:lnTo>
                  <a:lnTo>
                    <a:pt x="802" y="183"/>
                  </a:lnTo>
                  <a:lnTo>
                    <a:pt x="827" y="227"/>
                  </a:lnTo>
                  <a:lnTo>
                    <a:pt x="867" y="271"/>
                  </a:lnTo>
                  <a:lnTo>
                    <a:pt x="872" y="316"/>
                  </a:lnTo>
                  <a:lnTo>
                    <a:pt x="837" y="341"/>
                  </a:lnTo>
                  <a:lnTo>
                    <a:pt x="822" y="380"/>
                  </a:lnTo>
                  <a:lnTo>
                    <a:pt x="827" y="420"/>
                  </a:lnTo>
                  <a:lnTo>
                    <a:pt x="778" y="425"/>
                  </a:lnTo>
                  <a:lnTo>
                    <a:pt x="753" y="425"/>
                  </a:lnTo>
                  <a:lnTo>
                    <a:pt x="738" y="455"/>
                  </a:lnTo>
                  <a:lnTo>
                    <a:pt x="708" y="469"/>
                  </a:lnTo>
                  <a:lnTo>
                    <a:pt x="669" y="464"/>
                  </a:lnTo>
                  <a:lnTo>
                    <a:pt x="639" y="434"/>
                  </a:lnTo>
                  <a:lnTo>
                    <a:pt x="604" y="425"/>
                  </a:lnTo>
                  <a:lnTo>
                    <a:pt x="589" y="400"/>
                  </a:lnTo>
                  <a:lnTo>
                    <a:pt x="550" y="390"/>
                  </a:lnTo>
                  <a:lnTo>
                    <a:pt x="540" y="395"/>
                  </a:lnTo>
                  <a:lnTo>
                    <a:pt x="500" y="395"/>
                  </a:lnTo>
                  <a:lnTo>
                    <a:pt x="485" y="371"/>
                  </a:lnTo>
                  <a:lnTo>
                    <a:pt x="466" y="350"/>
                  </a:lnTo>
                  <a:lnTo>
                    <a:pt x="445" y="376"/>
                  </a:lnTo>
                  <a:lnTo>
                    <a:pt x="436" y="400"/>
                  </a:lnTo>
                  <a:lnTo>
                    <a:pt x="401" y="395"/>
                  </a:lnTo>
                  <a:lnTo>
                    <a:pt x="386" y="415"/>
                  </a:lnTo>
                  <a:lnTo>
                    <a:pt x="372" y="400"/>
                  </a:lnTo>
                  <a:lnTo>
                    <a:pt x="342" y="396"/>
                  </a:lnTo>
                  <a:lnTo>
                    <a:pt x="325" y="396"/>
                  </a:lnTo>
                  <a:lnTo>
                    <a:pt x="312" y="400"/>
                  </a:lnTo>
                  <a:lnTo>
                    <a:pt x="302" y="415"/>
                  </a:lnTo>
                  <a:lnTo>
                    <a:pt x="272" y="400"/>
                  </a:lnTo>
                  <a:lnTo>
                    <a:pt x="247" y="425"/>
                  </a:lnTo>
                  <a:lnTo>
                    <a:pt x="237" y="404"/>
                  </a:lnTo>
                  <a:lnTo>
                    <a:pt x="218" y="425"/>
                  </a:lnTo>
                  <a:lnTo>
                    <a:pt x="193" y="415"/>
                  </a:lnTo>
                  <a:lnTo>
                    <a:pt x="174" y="420"/>
                  </a:lnTo>
                  <a:lnTo>
                    <a:pt x="114" y="439"/>
                  </a:lnTo>
                  <a:lnTo>
                    <a:pt x="49" y="488"/>
                  </a:lnTo>
                  <a:lnTo>
                    <a:pt x="15" y="518"/>
                  </a:lnTo>
                  <a:lnTo>
                    <a:pt x="1" y="472"/>
                  </a:lnTo>
                  <a:lnTo>
                    <a:pt x="0" y="437"/>
                  </a:lnTo>
                  <a:lnTo>
                    <a:pt x="0" y="409"/>
                  </a:lnTo>
                  <a:lnTo>
                    <a:pt x="0" y="378"/>
                  </a:lnTo>
                  <a:lnTo>
                    <a:pt x="0" y="360"/>
                  </a:lnTo>
                  <a:lnTo>
                    <a:pt x="0" y="346"/>
                  </a:lnTo>
                  <a:lnTo>
                    <a:pt x="34" y="286"/>
                  </a:lnTo>
                  <a:lnTo>
                    <a:pt x="31" y="262"/>
                  </a:lnTo>
                  <a:lnTo>
                    <a:pt x="25" y="237"/>
                  </a:lnTo>
                  <a:lnTo>
                    <a:pt x="44" y="187"/>
                  </a:lnTo>
                  <a:lnTo>
                    <a:pt x="88" y="168"/>
                  </a:lnTo>
                  <a:lnTo>
                    <a:pt x="104" y="143"/>
                  </a:lnTo>
                  <a:lnTo>
                    <a:pt x="139" y="124"/>
                  </a:lnTo>
                  <a:lnTo>
                    <a:pt x="163" y="162"/>
                  </a:lnTo>
                  <a:lnTo>
                    <a:pt x="218" y="187"/>
                  </a:lnTo>
                  <a:lnTo>
                    <a:pt x="253" y="247"/>
                  </a:lnTo>
                  <a:lnTo>
                    <a:pt x="267" y="267"/>
                  </a:lnTo>
                  <a:lnTo>
                    <a:pt x="302" y="267"/>
                  </a:lnTo>
                  <a:lnTo>
                    <a:pt x="342" y="241"/>
                  </a:lnTo>
                  <a:lnTo>
                    <a:pt x="366" y="178"/>
                  </a:lnTo>
                  <a:lnTo>
                    <a:pt x="361" y="151"/>
                  </a:lnTo>
                  <a:lnTo>
                    <a:pt x="351" y="124"/>
                  </a:lnTo>
                  <a:lnTo>
                    <a:pt x="332" y="59"/>
                  </a:lnTo>
                  <a:lnTo>
                    <a:pt x="376" y="29"/>
                  </a:lnTo>
                  <a:lnTo>
                    <a:pt x="406" y="9"/>
                  </a:lnTo>
                  <a:lnTo>
                    <a:pt x="445" y="0"/>
                  </a:lnTo>
                  <a:lnTo>
                    <a:pt x="485" y="15"/>
                  </a:lnTo>
                  <a:lnTo>
                    <a:pt x="535" y="20"/>
                  </a:lnTo>
                  <a:lnTo>
                    <a:pt x="535" y="39"/>
                  </a:lnTo>
                  <a:lnTo>
                    <a:pt x="559" y="59"/>
                  </a:lnTo>
                  <a:lnTo>
                    <a:pt x="599" y="74"/>
                  </a:lnTo>
                  <a:lnTo>
                    <a:pt x="648" y="50"/>
                  </a:lnTo>
                  <a:lnTo>
                    <a:pt x="678" y="59"/>
                  </a:lnTo>
                  <a:lnTo>
                    <a:pt x="708" y="54"/>
                  </a:lnTo>
                  <a:lnTo>
                    <a:pt x="718" y="54"/>
                  </a:lnTo>
                  <a:close/>
                </a:path>
              </a:pathLst>
            </a:custGeom>
            <a:grpFill/>
            <a:ln w="11113" cap="flat" cmpd="sng">
              <a:noFill/>
              <a:prstDash val="solid"/>
              <a:round/>
              <a:headEnd type="none" w="med" len="med"/>
              <a:tailEnd type="none" w="med" len="med"/>
            </a:ln>
            <a:effectLst/>
          </p:spPr>
          <p:txBody>
            <a:bodyPr/>
            <a:lstStyle/>
            <a:p>
              <a:pPr>
                <a:defRPr/>
              </a:pPr>
              <a:endParaRPr lang="en-US" sz="2400">
                <a:solidFill>
                  <a:srgbClr val="000000"/>
                </a:solidFill>
              </a:endParaRPr>
            </a:p>
          </p:txBody>
        </p:sp>
        <p:sp>
          <p:nvSpPr>
            <p:cNvPr id="207" name="Freeform 30"/>
            <p:cNvSpPr>
              <a:spLocks/>
            </p:cNvSpPr>
            <p:nvPr/>
          </p:nvSpPr>
          <p:spPr bwMode="auto">
            <a:xfrm>
              <a:off x="4914900" y="2687638"/>
              <a:ext cx="82550" cy="55562"/>
            </a:xfrm>
            <a:custGeom>
              <a:avLst/>
              <a:gdLst/>
              <a:ahLst/>
              <a:cxnLst>
                <a:cxn ang="0">
                  <a:pos x="75" y="54"/>
                </a:cxn>
                <a:cxn ang="0">
                  <a:pos x="75" y="68"/>
                </a:cxn>
                <a:cxn ang="0">
                  <a:pos x="49" y="79"/>
                </a:cxn>
                <a:cxn ang="0">
                  <a:pos x="45" y="49"/>
                </a:cxn>
                <a:cxn ang="0">
                  <a:pos x="0" y="45"/>
                </a:cxn>
                <a:cxn ang="0">
                  <a:pos x="5" y="29"/>
                </a:cxn>
                <a:cxn ang="0">
                  <a:pos x="30" y="24"/>
                </a:cxn>
                <a:cxn ang="0">
                  <a:pos x="55" y="0"/>
                </a:cxn>
                <a:cxn ang="0">
                  <a:pos x="70" y="5"/>
                </a:cxn>
                <a:cxn ang="0">
                  <a:pos x="89" y="10"/>
                </a:cxn>
                <a:cxn ang="0">
                  <a:pos x="109" y="29"/>
                </a:cxn>
                <a:cxn ang="0">
                  <a:pos x="100" y="45"/>
                </a:cxn>
                <a:cxn ang="0">
                  <a:pos x="70" y="64"/>
                </a:cxn>
                <a:cxn ang="0">
                  <a:pos x="70" y="73"/>
                </a:cxn>
                <a:cxn ang="0">
                  <a:pos x="75" y="54"/>
                </a:cxn>
              </a:cxnLst>
              <a:rect l="0" t="0" r="r" b="b"/>
              <a:pathLst>
                <a:path w="109" h="79">
                  <a:moveTo>
                    <a:pt x="75" y="54"/>
                  </a:moveTo>
                  <a:lnTo>
                    <a:pt x="75" y="68"/>
                  </a:lnTo>
                  <a:lnTo>
                    <a:pt x="49" y="79"/>
                  </a:lnTo>
                  <a:lnTo>
                    <a:pt x="45" y="49"/>
                  </a:lnTo>
                  <a:lnTo>
                    <a:pt x="0" y="45"/>
                  </a:lnTo>
                  <a:lnTo>
                    <a:pt x="5" y="29"/>
                  </a:lnTo>
                  <a:lnTo>
                    <a:pt x="30" y="24"/>
                  </a:lnTo>
                  <a:lnTo>
                    <a:pt x="55" y="0"/>
                  </a:lnTo>
                  <a:lnTo>
                    <a:pt x="70" y="5"/>
                  </a:lnTo>
                  <a:lnTo>
                    <a:pt x="89" y="10"/>
                  </a:lnTo>
                  <a:lnTo>
                    <a:pt x="109" y="29"/>
                  </a:lnTo>
                  <a:lnTo>
                    <a:pt x="100" y="45"/>
                  </a:lnTo>
                  <a:lnTo>
                    <a:pt x="70" y="64"/>
                  </a:lnTo>
                  <a:lnTo>
                    <a:pt x="70" y="73"/>
                  </a:lnTo>
                  <a:lnTo>
                    <a:pt x="75" y="54"/>
                  </a:lnTo>
                  <a:close/>
                </a:path>
              </a:pathLst>
            </a:custGeom>
            <a:grpFill/>
            <a:ln w="11176" cap="flat" cmpd="sng">
              <a:noFill/>
              <a:prstDash val="solid"/>
              <a:round/>
              <a:headEnd type="none" w="med" len="med"/>
              <a:tailEnd type="none" w="med" len="med"/>
            </a:ln>
            <a:effectLst/>
          </p:spPr>
          <p:txBody>
            <a:bodyPr/>
            <a:lstStyle/>
            <a:p>
              <a:pPr>
                <a:defRPr/>
              </a:pPr>
              <a:endParaRPr lang="en-US" sz="2400">
                <a:solidFill>
                  <a:srgbClr val="000000"/>
                </a:solidFill>
              </a:endParaRPr>
            </a:p>
          </p:txBody>
        </p:sp>
        <p:sp>
          <p:nvSpPr>
            <p:cNvPr id="208" name="Freeform 31"/>
            <p:cNvSpPr>
              <a:spLocks/>
            </p:cNvSpPr>
            <p:nvPr/>
          </p:nvSpPr>
          <p:spPr bwMode="auto">
            <a:xfrm>
              <a:off x="4906962" y="2738438"/>
              <a:ext cx="120650" cy="122237"/>
            </a:xfrm>
            <a:custGeom>
              <a:avLst/>
              <a:gdLst/>
              <a:ahLst/>
              <a:cxnLst>
                <a:cxn ang="0">
                  <a:pos x="138" y="0"/>
                </a:cxn>
                <a:cxn ang="0">
                  <a:pos x="158" y="6"/>
                </a:cxn>
                <a:cxn ang="0">
                  <a:pos x="158" y="35"/>
                </a:cxn>
                <a:cxn ang="0">
                  <a:pos x="144" y="40"/>
                </a:cxn>
                <a:cxn ang="0">
                  <a:pos x="128" y="70"/>
                </a:cxn>
                <a:cxn ang="0">
                  <a:pos x="109" y="105"/>
                </a:cxn>
                <a:cxn ang="0">
                  <a:pos x="79" y="105"/>
                </a:cxn>
                <a:cxn ang="0">
                  <a:pos x="54" y="114"/>
                </a:cxn>
                <a:cxn ang="0">
                  <a:pos x="64" y="135"/>
                </a:cxn>
                <a:cxn ang="0">
                  <a:pos x="54" y="179"/>
                </a:cxn>
                <a:cxn ang="0">
                  <a:pos x="34" y="174"/>
                </a:cxn>
                <a:cxn ang="0">
                  <a:pos x="44" y="135"/>
                </a:cxn>
                <a:cxn ang="0">
                  <a:pos x="19" y="109"/>
                </a:cxn>
                <a:cxn ang="0">
                  <a:pos x="25" y="85"/>
                </a:cxn>
                <a:cxn ang="0">
                  <a:pos x="0" y="60"/>
                </a:cxn>
                <a:cxn ang="0">
                  <a:pos x="30" y="55"/>
                </a:cxn>
                <a:cxn ang="0">
                  <a:pos x="74" y="25"/>
                </a:cxn>
                <a:cxn ang="0">
                  <a:pos x="88" y="30"/>
                </a:cxn>
                <a:cxn ang="0">
                  <a:pos x="109" y="16"/>
                </a:cxn>
                <a:cxn ang="0">
                  <a:pos x="128" y="30"/>
                </a:cxn>
                <a:cxn ang="0">
                  <a:pos x="138" y="0"/>
                </a:cxn>
              </a:cxnLst>
              <a:rect l="0" t="0" r="r" b="b"/>
              <a:pathLst>
                <a:path w="158" h="179">
                  <a:moveTo>
                    <a:pt x="138" y="0"/>
                  </a:moveTo>
                  <a:lnTo>
                    <a:pt x="158" y="6"/>
                  </a:lnTo>
                  <a:lnTo>
                    <a:pt x="158" y="35"/>
                  </a:lnTo>
                  <a:lnTo>
                    <a:pt x="144" y="40"/>
                  </a:lnTo>
                  <a:lnTo>
                    <a:pt x="128" y="70"/>
                  </a:lnTo>
                  <a:lnTo>
                    <a:pt x="109" y="105"/>
                  </a:lnTo>
                  <a:lnTo>
                    <a:pt x="79" y="105"/>
                  </a:lnTo>
                  <a:lnTo>
                    <a:pt x="54" y="114"/>
                  </a:lnTo>
                  <a:lnTo>
                    <a:pt x="64" y="135"/>
                  </a:lnTo>
                  <a:lnTo>
                    <a:pt x="54" y="179"/>
                  </a:lnTo>
                  <a:lnTo>
                    <a:pt x="34" y="174"/>
                  </a:lnTo>
                  <a:lnTo>
                    <a:pt x="44" y="135"/>
                  </a:lnTo>
                  <a:lnTo>
                    <a:pt x="19" y="109"/>
                  </a:lnTo>
                  <a:lnTo>
                    <a:pt x="25" y="85"/>
                  </a:lnTo>
                  <a:lnTo>
                    <a:pt x="0" y="60"/>
                  </a:lnTo>
                  <a:lnTo>
                    <a:pt x="30" y="55"/>
                  </a:lnTo>
                  <a:lnTo>
                    <a:pt x="74" y="25"/>
                  </a:lnTo>
                  <a:lnTo>
                    <a:pt x="88" y="30"/>
                  </a:lnTo>
                  <a:lnTo>
                    <a:pt x="109" y="16"/>
                  </a:lnTo>
                  <a:lnTo>
                    <a:pt x="128" y="30"/>
                  </a:lnTo>
                  <a:lnTo>
                    <a:pt x="138" y="0"/>
                  </a:lnTo>
                  <a:close/>
                </a:path>
              </a:pathLst>
            </a:custGeom>
            <a:grpFill/>
            <a:ln w="11176" cap="flat" cmpd="sng">
              <a:noFill/>
              <a:prstDash val="solid"/>
              <a:round/>
              <a:headEnd type="none" w="med" len="med"/>
              <a:tailEnd type="none" w="med" len="med"/>
            </a:ln>
            <a:effectLst/>
          </p:spPr>
          <p:txBody>
            <a:bodyPr/>
            <a:lstStyle/>
            <a:p>
              <a:pPr>
                <a:defRPr/>
              </a:pPr>
              <a:endParaRPr lang="en-US" sz="2400">
                <a:solidFill>
                  <a:srgbClr val="000000"/>
                </a:solidFill>
              </a:endParaRPr>
            </a:p>
          </p:txBody>
        </p:sp>
        <p:sp>
          <p:nvSpPr>
            <p:cNvPr id="209" name="Freeform 32"/>
            <p:cNvSpPr>
              <a:spLocks/>
            </p:cNvSpPr>
            <p:nvPr/>
          </p:nvSpPr>
          <p:spPr bwMode="auto">
            <a:xfrm>
              <a:off x="4895850" y="3036888"/>
              <a:ext cx="563562" cy="393700"/>
            </a:xfrm>
            <a:custGeom>
              <a:avLst/>
              <a:gdLst/>
              <a:ahLst/>
              <a:cxnLst>
                <a:cxn ang="0">
                  <a:pos x="10" y="194"/>
                </a:cxn>
                <a:cxn ang="0">
                  <a:pos x="10" y="228"/>
                </a:cxn>
                <a:cxn ang="0">
                  <a:pos x="45" y="277"/>
                </a:cxn>
                <a:cxn ang="0">
                  <a:pos x="49" y="331"/>
                </a:cxn>
                <a:cxn ang="0">
                  <a:pos x="129" y="352"/>
                </a:cxn>
                <a:cxn ang="0">
                  <a:pos x="198" y="357"/>
                </a:cxn>
                <a:cxn ang="0">
                  <a:pos x="272" y="385"/>
                </a:cxn>
                <a:cxn ang="0">
                  <a:pos x="262" y="436"/>
                </a:cxn>
                <a:cxn ang="0">
                  <a:pos x="302" y="485"/>
                </a:cxn>
                <a:cxn ang="0">
                  <a:pos x="351" y="504"/>
                </a:cxn>
                <a:cxn ang="0">
                  <a:pos x="401" y="574"/>
                </a:cxn>
                <a:cxn ang="0">
                  <a:pos x="481" y="544"/>
                </a:cxn>
                <a:cxn ang="0">
                  <a:pos x="525" y="529"/>
                </a:cxn>
                <a:cxn ang="0">
                  <a:pos x="544" y="490"/>
                </a:cxn>
                <a:cxn ang="0">
                  <a:pos x="619" y="450"/>
                </a:cxn>
                <a:cxn ang="0">
                  <a:pos x="668" y="469"/>
                </a:cxn>
                <a:cxn ang="0">
                  <a:pos x="639" y="425"/>
                </a:cxn>
                <a:cxn ang="0">
                  <a:pos x="644" y="357"/>
                </a:cxn>
                <a:cxn ang="0">
                  <a:pos x="684" y="277"/>
                </a:cxn>
                <a:cxn ang="0">
                  <a:pos x="728" y="233"/>
                </a:cxn>
                <a:cxn ang="0">
                  <a:pos x="723" y="189"/>
                </a:cxn>
                <a:cxn ang="0">
                  <a:pos x="693" y="159"/>
                </a:cxn>
                <a:cxn ang="0">
                  <a:pos x="693" y="119"/>
                </a:cxn>
                <a:cxn ang="0">
                  <a:pos x="624" y="84"/>
                </a:cxn>
                <a:cxn ang="0">
                  <a:pos x="574" y="50"/>
                </a:cxn>
                <a:cxn ang="0">
                  <a:pos x="525" y="45"/>
                </a:cxn>
                <a:cxn ang="0">
                  <a:pos x="470" y="21"/>
                </a:cxn>
                <a:cxn ang="0">
                  <a:pos x="430" y="26"/>
                </a:cxn>
                <a:cxn ang="0">
                  <a:pos x="386" y="45"/>
                </a:cxn>
                <a:cxn ang="0">
                  <a:pos x="357" y="50"/>
                </a:cxn>
                <a:cxn ang="0">
                  <a:pos x="310" y="46"/>
                </a:cxn>
                <a:cxn ang="0">
                  <a:pos x="287" y="65"/>
                </a:cxn>
                <a:cxn ang="0">
                  <a:pos x="232" y="75"/>
                </a:cxn>
                <a:cxn ang="0">
                  <a:pos x="203" y="75"/>
                </a:cxn>
                <a:cxn ang="0">
                  <a:pos x="159" y="70"/>
                </a:cxn>
                <a:cxn ang="0">
                  <a:pos x="34" y="138"/>
                </a:cxn>
                <a:cxn ang="0">
                  <a:pos x="10" y="159"/>
                </a:cxn>
              </a:cxnLst>
              <a:rect l="0" t="0" r="r" b="b"/>
              <a:pathLst>
                <a:path w="747" h="574">
                  <a:moveTo>
                    <a:pt x="10" y="159"/>
                  </a:moveTo>
                  <a:lnTo>
                    <a:pt x="10" y="194"/>
                  </a:lnTo>
                  <a:lnTo>
                    <a:pt x="15" y="203"/>
                  </a:lnTo>
                  <a:lnTo>
                    <a:pt x="10" y="228"/>
                  </a:lnTo>
                  <a:lnTo>
                    <a:pt x="29" y="247"/>
                  </a:lnTo>
                  <a:lnTo>
                    <a:pt x="45" y="277"/>
                  </a:lnTo>
                  <a:lnTo>
                    <a:pt x="54" y="297"/>
                  </a:lnTo>
                  <a:lnTo>
                    <a:pt x="49" y="331"/>
                  </a:lnTo>
                  <a:lnTo>
                    <a:pt x="79" y="336"/>
                  </a:lnTo>
                  <a:lnTo>
                    <a:pt x="129" y="352"/>
                  </a:lnTo>
                  <a:lnTo>
                    <a:pt x="159" y="376"/>
                  </a:lnTo>
                  <a:lnTo>
                    <a:pt x="198" y="357"/>
                  </a:lnTo>
                  <a:lnTo>
                    <a:pt x="243" y="371"/>
                  </a:lnTo>
                  <a:lnTo>
                    <a:pt x="272" y="385"/>
                  </a:lnTo>
                  <a:lnTo>
                    <a:pt x="267" y="406"/>
                  </a:lnTo>
                  <a:lnTo>
                    <a:pt x="262" y="436"/>
                  </a:lnTo>
                  <a:lnTo>
                    <a:pt x="267" y="494"/>
                  </a:lnTo>
                  <a:lnTo>
                    <a:pt x="302" y="485"/>
                  </a:lnTo>
                  <a:lnTo>
                    <a:pt x="317" y="499"/>
                  </a:lnTo>
                  <a:lnTo>
                    <a:pt x="351" y="504"/>
                  </a:lnTo>
                  <a:lnTo>
                    <a:pt x="386" y="524"/>
                  </a:lnTo>
                  <a:lnTo>
                    <a:pt x="401" y="574"/>
                  </a:lnTo>
                  <a:lnTo>
                    <a:pt x="451" y="564"/>
                  </a:lnTo>
                  <a:lnTo>
                    <a:pt x="481" y="544"/>
                  </a:lnTo>
                  <a:lnTo>
                    <a:pt x="495" y="569"/>
                  </a:lnTo>
                  <a:lnTo>
                    <a:pt x="525" y="529"/>
                  </a:lnTo>
                  <a:lnTo>
                    <a:pt x="555" y="529"/>
                  </a:lnTo>
                  <a:lnTo>
                    <a:pt x="544" y="490"/>
                  </a:lnTo>
                  <a:lnTo>
                    <a:pt x="584" y="485"/>
                  </a:lnTo>
                  <a:lnTo>
                    <a:pt x="619" y="450"/>
                  </a:lnTo>
                  <a:lnTo>
                    <a:pt x="633" y="480"/>
                  </a:lnTo>
                  <a:lnTo>
                    <a:pt x="668" y="469"/>
                  </a:lnTo>
                  <a:lnTo>
                    <a:pt x="668" y="436"/>
                  </a:lnTo>
                  <a:lnTo>
                    <a:pt x="639" y="425"/>
                  </a:lnTo>
                  <a:lnTo>
                    <a:pt x="633" y="391"/>
                  </a:lnTo>
                  <a:lnTo>
                    <a:pt x="644" y="357"/>
                  </a:lnTo>
                  <a:lnTo>
                    <a:pt x="633" y="312"/>
                  </a:lnTo>
                  <a:lnTo>
                    <a:pt x="684" y="277"/>
                  </a:lnTo>
                  <a:lnTo>
                    <a:pt x="688" y="233"/>
                  </a:lnTo>
                  <a:lnTo>
                    <a:pt x="728" y="233"/>
                  </a:lnTo>
                  <a:lnTo>
                    <a:pt x="747" y="194"/>
                  </a:lnTo>
                  <a:lnTo>
                    <a:pt x="723" y="189"/>
                  </a:lnTo>
                  <a:lnTo>
                    <a:pt x="693" y="194"/>
                  </a:lnTo>
                  <a:lnTo>
                    <a:pt x="693" y="159"/>
                  </a:lnTo>
                  <a:lnTo>
                    <a:pt x="698" y="124"/>
                  </a:lnTo>
                  <a:lnTo>
                    <a:pt x="693" y="119"/>
                  </a:lnTo>
                  <a:lnTo>
                    <a:pt x="654" y="114"/>
                  </a:lnTo>
                  <a:lnTo>
                    <a:pt x="624" y="84"/>
                  </a:lnTo>
                  <a:lnTo>
                    <a:pt x="589" y="75"/>
                  </a:lnTo>
                  <a:lnTo>
                    <a:pt x="574" y="50"/>
                  </a:lnTo>
                  <a:lnTo>
                    <a:pt x="535" y="40"/>
                  </a:lnTo>
                  <a:lnTo>
                    <a:pt x="525" y="45"/>
                  </a:lnTo>
                  <a:lnTo>
                    <a:pt x="485" y="45"/>
                  </a:lnTo>
                  <a:lnTo>
                    <a:pt x="470" y="21"/>
                  </a:lnTo>
                  <a:lnTo>
                    <a:pt x="451" y="0"/>
                  </a:lnTo>
                  <a:lnTo>
                    <a:pt x="430" y="26"/>
                  </a:lnTo>
                  <a:lnTo>
                    <a:pt x="421" y="50"/>
                  </a:lnTo>
                  <a:lnTo>
                    <a:pt x="386" y="45"/>
                  </a:lnTo>
                  <a:lnTo>
                    <a:pt x="371" y="65"/>
                  </a:lnTo>
                  <a:lnTo>
                    <a:pt x="357" y="50"/>
                  </a:lnTo>
                  <a:lnTo>
                    <a:pt x="327" y="46"/>
                  </a:lnTo>
                  <a:lnTo>
                    <a:pt x="310" y="46"/>
                  </a:lnTo>
                  <a:lnTo>
                    <a:pt x="297" y="50"/>
                  </a:lnTo>
                  <a:lnTo>
                    <a:pt x="287" y="65"/>
                  </a:lnTo>
                  <a:lnTo>
                    <a:pt x="257" y="50"/>
                  </a:lnTo>
                  <a:lnTo>
                    <a:pt x="232" y="75"/>
                  </a:lnTo>
                  <a:lnTo>
                    <a:pt x="222" y="54"/>
                  </a:lnTo>
                  <a:lnTo>
                    <a:pt x="203" y="75"/>
                  </a:lnTo>
                  <a:lnTo>
                    <a:pt x="178" y="65"/>
                  </a:lnTo>
                  <a:lnTo>
                    <a:pt x="159" y="70"/>
                  </a:lnTo>
                  <a:lnTo>
                    <a:pt x="99" y="89"/>
                  </a:lnTo>
                  <a:lnTo>
                    <a:pt x="34" y="138"/>
                  </a:lnTo>
                  <a:lnTo>
                    <a:pt x="0" y="168"/>
                  </a:lnTo>
                  <a:lnTo>
                    <a:pt x="10" y="159"/>
                  </a:lnTo>
                  <a:close/>
                </a:path>
              </a:pathLst>
            </a:custGeom>
            <a:grpFill/>
            <a:ln w="11113" cap="flat" cmpd="sng">
              <a:noFill/>
              <a:prstDash val="solid"/>
              <a:round/>
              <a:headEnd type="none" w="med" len="med"/>
              <a:tailEnd type="none" w="med" len="med"/>
            </a:ln>
            <a:effectLst/>
          </p:spPr>
          <p:txBody>
            <a:bodyPr/>
            <a:lstStyle/>
            <a:p>
              <a:pPr>
                <a:defRPr/>
              </a:pPr>
              <a:endParaRPr lang="en-US" sz="2400">
                <a:solidFill>
                  <a:srgbClr val="000000"/>
                </a:solidFill>
              </a:endParaRPr>
            </a:p>
          </p:txBody>
        </p:sp>
        <p:sp>
          <p:nvSpPr>
            <p:cNvPr id="210" name="Freeform 34"/>
            <p:cNvSpPr>
              <a:spLocks/>
            </p:cNvSpPr>
            <p:nvPr/>
          </p:nvSpPr>
          <p:spPr bwMode="auto">
            <a:xfrm>
              <a:off x="4300537" y="3368675"/>
              <a:ext cx="1055688" cy="820738"/>
            </a:xfrm>
            <a:custGeom>
              <a:avLst/>
              <a:gdLst>
                <a:gd name="T0" fmla="*/ 2147483647 w 1402"/>
                <a:gd name="T1" fmla="*/ 2147483647 h 1195"/>
                <a:gd name="T2" fmla="*/ 2147483647 w 1402"/>
                <a:gd name="T3" fmla="*/ 2147483647 h 1195"/>
                <a:gd name="T4" fmla="*/ 2147483647 w 1402"/>
                <a:gd name="T5" fmla="*/ 2147483647 h 1195"/>
                <a:gd name="T6" fmla="*/ 2147483647 w 1402"/>
                <a:gd name="T7" fmla="*/ 2147483647 h 1195"/>
                <a:gd name="T8" fmla="*/ 2147483647 w 1402"/>
                <a:gd name="T9" fmla="*/ 2147483647 h 1195"/>
                <a:gd name="T10" fmla="*/ 2147483647 w 1402"/>
                <a:gd name="T11" fmla="*/ 0 h 1195"/>
                <a:gd name="T12" fmla="*/ 2147483647 w 1402"/>
                <a:gd name="T13" fmla="*/ 2147483647 h 1195"/>
                <a:gd name="T14" fmla="*/ 2147483647 w 1402"/>
                <a:gd name="T15" fmla="*/ 2147483647 h 1195"/>
                <a:gd name="T16" fmla="*/ 2147483647 w 1402"/>
                <a:gd name="T17" fmla="*/ 2147483647 h 1195"/>
                <a:gd name="T18" fmla="*/ 2147483647 w 1402"/>
                <a:gd name="T19" fmla="*/ 2147483647 h 1195"/>
                <a:gd name="T20" fmla="*/ 2147483647 w 1402"/>
                <a:gd name="T21" fmla="*/ 2147483647 h 1195"/>
                <a:gd name="T22" fmla="*/ 0 w 1402"/>
                <a:gd name="T23" fmla="*/ 2147483647 h 1195"/>
                <a:gd name="T24" fmla="*/ 2147483647 w 1402"/>
                <a:gd name="T25" fmla="*/ 2147483647 h 1195"/>
                <a:gd name="T26" fmla="*/ 2147483647 w 1402"/>
                <a:gd name="T27" fmla="*/ 2147483647 h 1195"/>
                <a:gd name="T28" fmla="*/ 2147483647 w 1402"/>
                <a:gd name="T29" fmla="*/ 2147483647 h 1195"/>
                <a:gd name="T30" fmla="*/ 2147483647 w 1402"/>
                <a:gd name="T31" fmla="*/ 2147483647 h 1195"/>
                <a:gd name="T32" fmla="*/ 2147483647 w 1402"/>
                <a:gd name="T33" fmla="*/ 2147483647 h 1195"/>
                <a:gd name="T34" fmla="*/ 2147483647 w 1402"/>
                <a:gd name="T35" fmla="*/ 2147483647 h 1195"/>
                <a:gd name="T36" fmla="*/ 2147483647 w 1402"/>
                <a:gd name="T37" fmla="*/ 2147483647 h 1195"/>
                <a:gd name="T38" fmla="*/ 2147483647 w 1402"/>
                <a:gd name="T39" fmla="*/ 2147483647 h 1195"/>
                <a:gd name="T40" fmla="*/ 2147483647 w 1402"/>
                <a:gd name="T41" fmla="*/ 2147483647 h 1195"/>
                <a:gd name="T42" fmla="*/ 2147483647 w 1402"/>
                <a:gd name="T43" fmla="*/ 2147483647 h 1195"/>
                <a:gd name="T44" fmla="*/ 2147483647 w 1402"/>
                <a:gd name="T45" fmla="*/ 2147483647 h 1195"/>
                <a:gd name="T46" fmla="*/ 2147483647 w 1402"/>
                <a:gd name="T47" fmla="*/ 2147483647 h 1195"/>
                <a:gd name="T48" fmla="*/ 2147483647 w 1402"/>
                <a:gd name="T49" fmla="*/ 2147483647 h 1195"/>
                <a:gd name="T50" fmla="*/ 2147483647 w 1402"/>
                <a:gd name="T51" fmla="*/ 2147483647 h 1195"/>
                <a:gd name="T52" fmla="*/ 2147483647 w 1402"/>
                <a:gd name="T53" fmla="*/ 2147483647 h 1195"/>
                <a:gd name="T54" fmla="*/ 2147483647 w 1402"/>
                <a:gd name="T55" fmla="*/ 2147483647 h 1195"/>
                <a:gd name="T56" fmla="*/ 2147483647 w 1402"/>
                <a:gd name="T57" fmla="*/ 2147483647 h 1195"/>
                <a:gd name="T58" fmla="*/ 2147483647 w 1402"/>
                <a:gd name="T59" fmla="*/ 2147483647 h 1195"/>
                <a:gd name="T60" fmla="*/ 2147483647 w 1402"/>
                <a:gd name="T61" fmla="*/ 2147483647 h 1195"/>
                <a:gd name="T62" fmla="*/ 2147483647 w 1402"/>
                <a:gd name="T63" fmla="*/ 2147483647 h 1195"/>
                <a:gd name="T64" fmla="*/ 2147483647 w 1402"/>
                <a:gd name="T65" fmla="*/ 2147483647 h 1195"/>
                <a:gd name="T66" fmla="*/ 2147483647 w 1402"/>
                <a:gd name="T67" fmla="*/ 2147483647 h 1195"/>
                <a:gd name="T68" fmla="*/ 2147483647 w 1402"/>
                <a:gd name="T69" fmla="*/ 2147483647 h 1195"/>
                <a:gd name="T70" fmla="*/ 2147483647 w 1402"/>
                <a:gd name="T71" fmla="*/ 2147483647 h 1195"/>
                <a:gd name="T72" fmla="*/ 2147483647 w 1402"/>
                <a:gd name="T73" fmla="*/ 2147483647 h 1195"/>
                <a:gd name="T74" fmla="*/ 2147483647 w 1402"/>
                <a:gd name="T75" fmla="*/ 2147483647 h 1195"/>
                <a:gd name="T76" fmla="*/ 2147483647 w 1402"/>
                <a:gd name="T77" fmla="*/ 2147483647 h 1195"/>
                <a:gd name="T78" fmla="*/ 2147483647 w 1402"/>
                <a:gd name="T79" fmla="*/ 2147483647 h 1195"/>
                <a:gd name="T80" fmla="*/ 2147483647 w 1402"/>
                <a:gd name="T81" fmla="*/ 2147483647 h 1195"/>
                <a:gd name="T82" fmla="*/ 2147483647 w 1402"/>
                <a:gd name="T83" fmla="*/ 2147483647 h 1195"/>
                <a:gd name="T84" fmla="*/ 2147483647 w 1402"/>
                <a:gd name="T85" fmla="*/ 2147483647 h 1195"/>
                <a:gd name="T86" fmla="*/ 2147483647 w 1402"/>
                <a:gd name="T87" fmla="*/ 2147483647 h 1195"/>
                <a:gd name="T88" fmla="*/ 2147483647 w 1402"/>
                <a:gd name="T89" fmla="*/ 2147483647 h 1195"/>
                <a:gd name="T90" fmla="*/ 2147483647 w 1402"/>
                <a:gd name="T91" fmla="*/ 2147483647 h 1195"/>
                <a:gd name="T92" fmla="*/ 2147483647 w 1402"/>
                <a:gd name="T93" fmla="*/ 2147483647 h 1195"/>
                <a:gd name="T94" fmla="*/ 2147483647 w 1402"/>
                <a:gd name="T95" fmla="*/ 2147483647 h 1195"/>
                <a:gd name="T96" fmla="*/ 2147483647 w 1402"/>
                <a:gd name="T97" fmla="*/ 2147483647 h 11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02"/>
                <a:gd name="T148" fmla="*/ 0 h 1195"/>
                <a:gd name="T149" fmla="*/ 1402 w 1402"/>
                <a:gd name="T150" fmla="*/ 1195 h 11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02" h="1195">
                  <a:moveTo>
                    <a:pt x="1194" y="89"/>
                  </a:moveTo>
                  <a:lnTo>
                    <a:pt x="1179" y="39"/>
                  </a:lnTo>
                  <a:lnTo>
                    <a:pt x="1144" y="19"/>
                  </a:lnTo>
                  <a:lnTo>
                    <a:pt x="1110" y="14"/>
                  </a:lnTo>
                  <a:lnTo>
                    <a:pt x="1095" y="0"/>
                  </a:lnTo>
                  <a:lnTo>
                    <a:pt x="1060" y="9"/>
                  </a:lnTo>
                  <a:lnTo>
                    <a:pt x="1060" y="19"/>
                  </a:lnTo>
                  <a:lnTo>
                    <a:pt x="995" y="36"/>
                  </a:lnTo>
                  <a:lnTo>
                    <a:pt x="862" y="59"/>
                  </a:lnTo>
                  <a:lnTo>
                    <a:pt x="779" y="57"/>
                  </a:lnTo>
                  <a:lnTo>
                    <a:pt x="728" y="57"/>
                  </a:lnTo>
                  <a:lnTo>
                    <a:pt x="705" y="59"/>
                  </a:lnTo>
                  <a:lnTo>
                    <a:pt x="684" y="63"/>
                  </a:lnTo>
                  <a:lnTo>
                    <a:pt x="638" y="98"/>
                  </a:lnTo>
                  <a:lnTo>
                    <a:pt x="601" y="97"/>
                  </a:lnTo>
                  <a:lnTo>
                    <a:pt x="560" y="89"/>
                  </a:lnTo>
                  <a:lnTo>
                    <a:pt x="520" y="39"/>
                  </a:lnTo>
                  <a:lnTo>
                    <a:pt x="516" y="0"/>
                  </a:lnTo>
                  <a:lnTo>
                    <a:pt x="470" y="5"/>
                  </a:lnTo>
                  <a:lnTo>
                    <a:pt x="376" y="24"/>
                  </a:lnTo>
                  <a:lnTo>
                    <a:pt x="342" y="59"/>
                  </a:lnTo>
                  <a:lnTo>
                    <a:pt x="310" y="61"/>
                  </a:lnTo>
                  <a:lnTo>
                    <a:pt x="278" y="68"/>
                  </a:lnTo>
                  <a:lnTo>
                    <a:pt x="248" y="142"/>
                  </a:lnTo>
                  <a:lnTo>
                    <a:pt x="190" y="165"/>
                  </a:lnTo>
                  <a:lnTo>
                    <a:pt x="124" y="182"/>
                  </a:lnTo>
                  <a:lnTo>
                    <a:pt x="45" y="217"/>
                  </a:lnTo>
                  <a:lnTo>
                    <a:pt x="20" y="237"/>
                  </a:lnTo>
                  <a:lnTo>
                    <a:pt x="54" y="256"/>
                  </a:lnTo>
                  <a:lnTo>
                    <a:pt x="40" y="282"/>
                  </a:lnTo>
                  <a:lnTo>
                    <a:pt x="54" y="301"/>
                  </a:lnTo>
                  <a:lnTo>
                    <a:pt x="10" y="291"/>
                  </a:lnTo>
                  <a:lnTo>
                    <a:pt x="5" y="296"/>
                  </a:lnTo>
                  <a:lnTo>
                    <a:pt x="30" y="375"/>
                  </a:lnTo>
                  <a:lnTo>
                    <a:pt x="24" y="424"/>
                  </a:lnTo>
                  <a:lnTo>
                    <a:pt x="0" y="459"/>
                  </a:lnTo>
                  <a:lnTo>
                    <a:pt x="10" y="484"/>
                  </a:lnTo>
                  <a:lnTo>
                    <a:pt x="35" y="503"/>
                  </a:lnTo>
                  <a:lnTo>
                    <a:pt x="74" y="533"/>
                  </a:lnTo>
                  <a:lnTo>
                    <a:pt x="66" y="557"/>
                  </a:lnTo>
                  <a:lnTo>
                    <a:pt x="59" y="582"/>
                  </a:lnTo>
                  <a:lnTo>
                    <a:pt x="84" y="602"/>
                  </a:lnTo>
                  <a:lnTo>
                    <a:pt x="84" y="622"/>
                  </a:lnTo>
                  <a:lnTo>
                    <a:pt x="99" y="646"/>
                  </a:lnTo>
                  <a:lnTo>
                    <a:pt x="75" y="686"/>
                  </a:lnTo>
                  <a:lnTo>
                    <a:pt x="99" y="736"/>
                  </a:lnTo>
                  <a:lnTo>
                    <a:pt x="104" y="765"/>
                  </a:lnTo>
                  <a:lnTo>
                    <a:pt x="129" y="770"/>
                  </a:lnTo>
                  <a:lnTo>
                    <a:pt x="143" y="820"/>
                  </a:lnTo>
                  <a:lnTo>
                    <a:pt x="143" y="864"/>
                  </a:lnTo>
                  <a:lnTo>
                    <a:pt x="143" y="869"/>
                  </a:lnTo>
                  <a:lnTo>
                    <a:pt x="178" y="874"/>
                  </a:lnTo>
                  <a:lnTo>
                    <a:pt x="203" y="913"/>
                  </a:lnTo>
                  <a:lnTo>
                    <a:pt x="262" y="923"/>
                  </a:lnTo>
                  <a:lnTo>
                    <a:pt x="297" y="937"/>
                  </a:lnTo>
                  <a:lnTo>
                    <a:pt x="337" y="933"/>
                  </a:lnTo>
                  <a:lnTo>
                    <a:pt x="346" y="963"/>
                  </a:lnTo>
                  <a:lnTo>
                    <a:pt x="322" y="972"/>
                  </a:lnTo>
                  <a:lnTo>
                    <a:pt x="322" y="988"/>
                  </a:lnTo>
                  <a:lnTo>
                    <a:pt x="352" y="1002"/>
                  </a:lnTo>
                  <a:lnTo>
                    <a:pt x="367" y="1022"/>
                  </a:lnTo>
                  <a:lnTo>
                    <a:pt x="386" y="1046"/>
                  </a:lnTo>
                  <a:lnTo>
                    <a:pt x="416" y="1033"/>
                  </a:lnTo>
                  <a:lnTo>
                    <a:pt x="435" y="1007"/>
                  </a:lnTo>
                  <a:lnTo>
                    <a:pt x="411" y="972"/>
                  </a:lnTo>
                  <a:lnTo>
                    <a:pt x="490" y="997"/>
                  </a:lnTo>
                  <a:lnTo>
                    <a:pt x="519" y="994"/>
                  </a:lnTo>
                  <a:lnTo>
                    <a:pt x="545" y="997"/>
                  </a:lnTo>
                  <a:lnTo>
                    <a:pt x="545" y="1016"/>
                  </a:lnTo>
                  <a:lnTo>
                    <a:pt x="520" y="1032"/>
                  </a:lnTo>
                  <a:lnTo>
                    <a:pt x="545" y="1032"/>
                  </a:lnTo>
                  <a:lnTo>
                    <a:pt x="560" y="1051"/>
                  </a:lnTo>
                  <a:lnTo>
                    <a:pt x="579" y="1051"/>
                  </a:lnTo>
                  <a:lnTo>
                    <a:pt x="614" y="1051"/>
                  </a:lnTo>
                  <a:lnTo>
                    <a:pt x="619" y="1062"/>
                  </a:lnTo>
                  <a:lnTo>
                    <a:pt x="668" y="1067"/>
                  </a:lnTo>
                  <a:lnTo>
                    <a:pt x="674" y="1111"/>
                  </a:lnTo>
                  <a:lnTo>
                    <a:pt x="703" y="1116"/>
                  </a:lnTo>
                  <a:lnTo>
                    <a:pt x="719" y="1146"/>
                  </a:lnTo>
                  <a:lnTo>
                    <a:pt x="719" y="1151"/>
                  </a:lnTo>
                  <a:lnTo>
                    <a:pt x="714" y="1140"/>
                  </a:lnTo>
                  <a:lnTo>
                    <a:pt x="748" y="1165"/>
                  </a:lnTo>
                  <a:lnTo>
                    <a:pt x="773" y="1138"/>
                  </a:lnTo>
                  <a:lnTo>
                    <a:pt x="798" y="1111"/>
                  </a:lnTo>
                  <a:lnTo>
                    <a:pt x="823" y="1140"/>
                  </a:lnTo>
                  <a:lnTo>
                    <a:pt x="857" y="1165"/>
                  </a:lnTo>
                  <a:lnTo>
                    <a:pt x="857" y="1195"/>
                  </a:lnTo>
                  <a:lnTo>
                    <a:pt x="882" y="1180"/>
                  </a:lnTo>
                  <a:lnTo>
                    <a:pt x="901" y="1190"/>
                  </a:lnTo>
                  <a:lnTo>
                    <a:pt x="906" y="1160"/>
                  </a:lnTo>
                  <a:lnTo>
                    <a:pt x="926" y="1135"/>
                  </a:lnTo>
                  <a:lnTo>
                    <a:pt x="961" y="1135"/>
                  </a:lnTo>
                  <a:lnTo>
                    <a:pt x="981" y="1126"/>
                  </a:lnTo>
                  <a:lnTo>
                    <a:pt x="991" y="1146"/>
                  </a:lnTo>
                  <a:lnTo>
                    <a:pt x="1011" y="1146"/>
                  </a:lnTo>
                  <a:lnTo>
                    <a:pt x="1025" y="1130"/>
                  </a:lnTo>
                  <a:lnTo>
                    <a:pt x="1025" y="1111"/>
                  </a:lnTo>
                  <a:lnTo>
                    <a:pt x="1060" y="1108"/>
                  </a:lnTo>
                  <a:lnTo>
                    <a:pt x="1077" y="1106"/>
                  </a:lnTo>
                  <a:lnTo>
                    <a:pt x="1090" y="1111"/>
                  </a:lnTo>
                  <a:lnTo>
                    <a:pt x="1095" y="1096"/>
                  </a:lnTo>
                  <a:lnTo>
                    <a:pt x="1110" y="1096"/>
                  </a:lnTo>
                  <a:lnTo>
                    <a:pt x="1125" y="1111"/>
                  </a:lnTo>
                  <a:lnTo>
                    <a:pt x="1155" y="1116"/>
                  </a:lnTo>
                  <a:lnTo>
                    <a:pt x="1174" y="1146"/>
                  </a:lnTo>
                  <a:lnTo>
                    <a:pt x="1218" y="1146"/>
                  </a:lnTo>
                  <a:lnTo>
                    <a:pt x="1248" y="1156"/>
                  </a:lnTo>
                  <a:lnTo>
                    <a:pt x="1239" y="1160"/>
                  </a:lnTo>
                  <a:lnTo>
                    <a:pt x="1293" y="1160"/>
                  </a:lnTo>
                  <a:lnTo>
                    <a:pt x="1298" y="1146"/>
                  </a:lnTo>
                  <a:lnTo>
                    <a:pt x="1274" y="1126"/>
                  </a:lnTo>
                  <a:lnTo>
                    <a:pt x="1269" y="1102"/>
                  </a:lnTo>
                  <a:lnTo>
                    <a:pt x="1248" y="1076"/>
                  </a:lnTo>
                  <a:lnTo>
                    <a:pt x="1253" y="1042"/>
                  </a:lnTo>
                  <a:lnTo>
                    <a:pt x="1308" y="928"/>
                  </a:lnTo>
                  <a:lnTo>
                    <a:pt x="1377" y="839"/>
                  </a:lnTo>
                  <a:lnTo>
                    <a:pt x="1402" y="795"/>
                  </a:lnTo>
                  <a:lnTo>
                    <a:pt x="1388" y="771"/>
                  </a:lnTo>
                  <a:lnTo>
                    <a:pt x="1372" y="746"/>
                  </a:lnTo>
                  <a:lnTo>
                    <a:pt x="1397" y="725"/>
                  </a:lnTo>
                  <a:lnTo>
                    <a:pt x="1377" y="720"/>
                  </a:lnTo>
                  <a:lnTo>
                    <a:pt x="1367" y="711"/>
                  </a:lnTo>
                  <a:lnTo>
                    <a:pt x="1348" y="676"/>
                  </a:lnTo>
                  <a:lnTo>
                    <a:pt x="1328" y="662"/>
                  </a:lnTo>
                  <a:lnTo>
                    <a:pt x="1308" y="646"/>
                  </a:lnTo>
                  <a:lnTo>
                    <a:pt x="1308" y="612"/>
                  </a:lnTo>
                  <a:lnTo>
                    <a:pt x="1298" y="602"/>
                  </a:lnTo>
                  <a:lnTo>
                    <a:pt x="1288" y="587"/>
                  </a:lnTo>
                  <a:lnTo>
                    <a:pt x="1288" y="582"/>
                  </a:lnTo>
                  <a:lnTo>
                    <a:pt x="1283" y="548"/>
                  </a:lnTo>
                  <a:lnTo>
                    <a:pt x="1284" y="519"/>
                  </a:lnTo>
                  <a:lnTo>
                    <a:pt x="1284" y="502"/>
                  </a:lnTo>
                  <a:lnTo>
                    <a:pt x="1283" y="489"/>
                  </a:lnTo>
                  <a:lnTo>
                    <a:pt x="1248" y="470"/>
                  </a:lnTo>
                  <a:lnTo>
                    <a:pt x="1214" y="449"/>
                  </a:lnTo>
                  <a:lnTo>
                    <a:pt x="1212" y="436"/>
                  </a:lnTo>
                  <a:lnTo>
                    <a:pt x="1216" y="417"/>
                  </a:lnTo>
                  <a:lnTo>
                    <a:pt x="1229" y="385"/>
                  </a:lnTo>
                  <a:lnTo>
                    <a:pt x="1274" y="355"/>
                  </a:lnTo>
                  <a:lnTo>
                    <a:pt x="1293" y="336"/>
                  </a:lnTo>
                  <a:lnTo>
                    <a:pt x="1294" y="319"/>
                  </a:lnTo>
                  <a:lnTo>
                    <a:pt x="1288" y="297"/>
                  </a:lnTo>
                  <a:lnTo>
                    <a:pt x="1274" y="256"/>
                  </a:lnTo>
                  <a:lnTo>
                    <a:pt x="1244" y="207"/>
                  </a:lnTo>
                  <a:lnTo>
                    <a:pt x="1223" y="178"/>
                  </a:lnTo>
                  <a:lnTo>
                    <a:pt x="1194" y="123"/>
                  </a:lnTo>
                  <a:lnTo>
                    <a:pt x="1184" y="84"/>
                  </a:lnTo>
                  <a:lnTo>
                    <a:pt x="1194" y="89"/>
                  </a:lnTo>
                  <a:close/>
                </a:path>
              </a:pathLst>
            </a:custGeom>
            <a:grpFill/>
            <a:ln w="11176" cap="flat" cmpd="sng">
              <a:noFill/>
              <a:prstDash val="solid"/>
              <a:round/>
              <a:headEnd type="none" w="med" len="med"/>
              <a:tailEnd type="none" w="med" len="med"/>
            </a:ln>
          </p:spPr>
          <p:txBody>
            <a:bodyPr/>
            <a:lstStyle/>
            <a:p>
              <a:pPr>
                <a:defRPr/>
              </a:pPr>
              <a:endParaRPr lang="fr-FR" sz="2400">
                <a:solidFill>
                  <a:srgbClr val="000000"/>
                </a:solidFill>
              </a:endParaRPr>
            </a:p>
          </p:txBody>
        </p:sp>
        <p:sp>
          <p:nvSpPr>
            <p:cNvPr id="211" name="Freeform 36"/>
            <p:cNvSpPr>
              <a:spLocks/>
            </p:cNvSpPr>
            <p:nvPr/>
          </p:nvSpPr>
          <p:spPr bwMode="auto">
            <a:xfrm>
              <a:off x="4102100" y="3965575"/>
              <a:ext cx="738187" cy="368300"/>
            </a:xfrm>
            <a:custGeom>
              <a:avLst/>
              <a:gdLst>
                <a:gd name="T0" fmla="*/ 2147483647 w 982"/>
                <a:gd name="T1" fmla="*/ 2147483647 h 538"/>
                <a:gd name="T2" fmla="*/ 2147483647 w 982"/>
                <a:gd name="T3" fmla="*/ 2147483647 h 538"/>
                <a:gd name="T4" fmla="*/ 2147483647 w 982"/>
                <a:gd name="T5" fmla="*/ 2147483647 h 538"/>
                <a:gd name="T6" fmla="*/ 2147483647 w 982"/>
                <a:gd name="T7" fmla="*/ 2147483647 h 538"/>
                <a:gd name="T8" fmla="*/ 2147483647 w 982"/>
                <a:gd name="T9" fmla="*/ 2147483647 h 538"/>
                <a:gd name="T10" fmla="*/ 2147483647 w 982"/>
                <a:gd name="T11" fmla="*/ 2147483647 h 538"/>
                <a:gd name="T12" fmla="*/ 2147483647 w 982"/>
                <a:gd name="T13" fmla="*/ 2147483647 h 538"/>
                <a:gd name="T14" fmla="*/ 2147483647 w 982"/>
                <a:gd name="T15" fmla="*/ 2147483647 h 538"/>
                <a:gd name="T16" fmla="*/ 2147483647 w 982"/>
                <a:gd name="T17" fmla="*/ 2147483647 h 538"/>
                <a:gd name="T18" fmla="*/ 2147483647 w 982"/>
                <a:gd name="T19" fmla="*/ 2147483647 h 538"/>
                <a:gd name="T20" fmla="*/ 2147483647 w 982"/>
                <a:gd name="T21" fmla="*/ 2147483647 h 538"/>
                <a:gd name="T22" fmla="*/ 2147483647 w 982"/>
                <a:gd name="T23" fmla="*/ 2147483647 h 538"/>
                <a:gd name="T24" fmla="*/ 2147483647 w 982"/>
                <a:gd name="T25" fmla="*/ 2147483647 h 538"/>
                <a:gd name="T26" fmla="*/ 2147483647 w 982"/>
                <a:gd name="T27" fmla="*/ 2147483647 h 538"/>
                <a:gd name="T28" fmla="*/ 2147483647 w 982"/>
                <a:gd name="T29" fmla="*/ 2147483647 h 538"/>
                <a:gd name="T30" fmla="*/ 2147483647 w 982"/>
                <a:gd name="T31" fmla="*/ 2147483647 h 538"/>
                <a:gd name="T32" fmla="*/ 0 w 982"/>
                <a:gd name="T33" fmla="*/ 2147483647 h 538"/>
                <a:gd name="T34" fmla="*/ 2147483647 w 982"/>
                <a:gd name="T35" fmla="*/ 2147483647 h 538"/>
                <a:gd name="T36" fmla="*/ 2147483647 w 982"/>
                <a:gd name="T37" fmla="*/ 2147483647 h 538"/>
                <a:gd name="T38" fmla="*/ 2147483647 w 982"/>
                <a:gd name="T39" fmla="*/ 2147483647 h 538"/>
                <a:gd name="T40" fmla="*/ 2147483647 w 982"/>
                <a:gd name="T41" fmla="*/ 2147483647 h 538"/>
                <a:gd name="T42" fmla="*/ 2147483647 w 982"/>
                <a:gd name="T43" fmla="*/ 2147483647 h 538"/>
                <a:gd name="T44" fmla="*/ 2147483647 w 982"/>
                <a:gd name="T45" fmla="*/ 2147483647 h 538"/>
                <a:gd name="T46" fmla="*/ 2147483647 w 982"/>
                <a:gd name="T47" fmla="*/ 2147483647 h 538"/>
                <a:gd name="T48" fmla="*/ 2147483647 w 982"/>
                <a:gd name="T49" fmla="*/ 0 h 538"/>
                <a:gd name="T50" fmla="*/ 2147483647 w 982"/>
                <a:gd name="T51" fmla="*/ 2147483647 h 538"/>
                <a:gd name="T52" fmla="*/ 2147483647 w 982"/>
                <a:gd name="T53" fmla="*/ 2147483647 h 538"/>
                <a:gd name="T54" fmla="*/ 2147483647 w 982"/>
                <a:gd name="T55" fmla="*/ 0 h 538"/>
                <a:gd name="T56" fmla="*/ 2147483647 w 982"/>
                <a:gd name="T57" fmla="*/ 0 h 538"/>
                <a:gd name="T58" fmla="*/ 2147483647 w 982"/>
                <a:gd name="T59" fmla="*/ 2147483647 h 538"/>
                <a:gd name="T60" fmla="*/ 2147483647 w 982"/>
                <a:gd name="T61" fmla="*/ 2147483647 h 538"/>
                <a:gd name="T62" fmla="*/ 2147483647 w 982"/>
                <a:gd name="T63" fmla="*/ 2147483647 h 538"/>
                <a:gd name="T64" fmla="*/ 2147483647 w 982"/>
                <a:gd name="T65" fmla="*/ 2147483647 h 538"/>
                <a:gd name="T66" fmla="*/ 2147483647 w 982"/>
                <a:gd name="T67" fmla="*/ 2147483647 h 538"/>
                <a:gd name="T68" fmla="*/ 2147483647 w 982"/>
                <a:gd name="T69" fmla="*/ 2147483647 h 538"/>
                <a:gd name="T70" fmla="*/ 2147483647 w 982"/>
                <a:gd name="T71" fmla="*/ 2147483647 h 538"/>
                <a:gd name="T72" fmla="*/ 2147483647 w 982"/>
                <a:gd name="T73" fmla="*/ 2147483647 h 538"/>
                <a:gd name="T74" fmla="*/ 2147483647 w 982"/>
                <a:gd name="T75" fmla="*/ 2147483647 h 538"/>
                <a:gd name="T76" fmla="*/ 2147483647 w 982"/>
                <a:gd name="T77" fmla="*/ 2147483647 h 538"/>
                <a:gd name="T78" fmla="*/ 2147483647 w 982"/>
                <a:gd name="T79" fmla="*/ 2147483647 h 538"/>
                <a:gd name="T80" fmla="*/ 2147483647 w 982"/>
                <a:gd name="T81" fmla="*/ 2147483647 h 538"/>
                <a:gd name="T82" fmla="*/ 2147483647 w 982"/>
                <a:gd name="T83" fmla="*/ 2147483647 h 538"/>
                <a:gd name="T84" fmla="*/ 2147483647 w 982"/>
                <a:gd name="T85" fmla="*/ 2147483647 h 538"/>
                <a:gd name="T86" fmla="*/ 2147483647 w 982"/>
                <a:gd name="T87" fmla="*/ 2147483647 h 538"/>
                <a:gd name="T88" fmla="*/ 2147483647 w 982"/>
                <a:gd name="T89" fmla="*/ 2147483647 h 538"/>
                <a:gd name="T90" fmla="*/ 2147483647 w 982"/>
                <a:gd name="T91" fmla="*/ 2147483647 h 538"/>
                <a:gd name="T92" fmla="*/ 2147483647 w 982"/>
                <a:gd name="T93" fmla="*/ 2147483647 h 538"/>
                <a:gd name="T94" fmla="*/ 2147483647 w 982"/>
                <a:gd name="T95" fmla="*/ 2147483647 h 538"/>
                <a:gd name="T96" fmla="*/ 2147483647 w 982"/>
                <a:gd name="T97" fmla="*/ 2147483647 h 538"/>
                <a:gd name="T98" fmla="*/ 2147483647 w 982"/>
                <a:gd name="T99" fmla="*/ 2147483647 h 53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2"/>
                <a:gd name="T151" fmla="*/ 0 h 538"/>
                <a:gd name="T152" fmla="*/ 982 w 982"/>
                <a:gd name="T153" fmla="*/ 538 h 53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2" h="538">
                  <a:moveTo>
                    <a:pt x="719" y="478"/>
                  </a:moveTo>
                  <a:lnTo>
                    <a:pt x="696" y="474"/>
                  </a:lnTo>
                  <a:lnTo>
                    <a:pt x="660" y="469"/>
                  </a:lnTo>
                  <a:lnTo>
                    <a:pt x="644" y="478"/>
                  </a:lnTo>
                  <a:lnTo>
                    <a:pt x="595" y="484"/>
                  </a:lnTo>
                  <a:lnTo>
                    <a:pt x="585" y="469"/>
                  </a:lnTo>
                  <a:lnTo>
                    <a:pt x="550" y="459"/>
                  </a:lnTo>
                  <a:lnTo>
                    <a:pt x="511" y="459"/>
                  </a:lnTo>
                  <a:lnTo>
                    <a:pt x="501" y="450"/>
                  </a:lnTo>
                  <a:lnTo>
                    <a:pt x="486" y="445"/>
                  </a:lnTo>
                  <a:lnTo>
                    <a:pt x="462" y="450"/>
                  </a:lnTo>
                  <a:lnTo>
                    <a:pt x="436" y="429"/>
                  </a:lnTo>
                  <a:lnTo>
                    <a:pt x="427" y="489"/>
                  </a:lnTo>
                  <a:lnTo>
                    <a:pt x="411" y="494"/>
                  </a:lnTo>
                  <a:lnTo>
                    <a:pt x="397" y="534"/>
                  </a:lnTo>
                  <a:lnTo>
                    <a:pt x="378" y="518"/>
                  </a:lnTo>
                  <a:lnTo>
                    <a:pt x="357" y="523"/>
                  </a:lnTo>
                  <a:lnTo>
                    <a:pt x="352" y="538"/>
                  </a:lnTo>
                  <a:lnTo>
                    <a:pt x="308" y="534"/>
                  </a:lnTo>
                  <a:lnTo>
                    <a:pt x="298" y="513"/>
                  </a:lnTo>
                  <a:lnTo>
                    <a:pt x="287" y="513"/>
                  </a:lnTo>
                  <a:lnTo>
                    <a:pt x="248" y="470"/>
                  </a:lnTo>
                  <a:lnTo>
                    <a:pt x="208" y="459"/>
                  </a:lnTo>
                  <a:lnTo>
                    <a:pt x="203" y="440"/>
                  </a:lnTo>
                  <a:lnTo>
                    <a:pt x="169" y="429"/>
                  </a:lnTo>
                  <a:lnTo>
                    <a:pt x="149" y="390"/>
                  </a:lnTo>
                  <a:lnTo>
                    <a:pt x="114" y="380"/>
                  </a:lnTo>
                  <a:lnTo>
                    <a:pt x="84" y="346"/>
                  </a:lnTo>
                  <a:lnTo>
                    <a:pt x="80" y="321"/>
                  </a:lnTo>
                  <a:lnTo>
                    <a:pt x="60" y="301"/>
                  </a:lnTo>
                  <a:lnTo>
                    <a:pt x="75" y="257"/>
                  </a:lnTo>
                  <a:lnTo>
                    <a:pt x="45" y="233"/>
                  </a:lnTo>
                  <a:lnTo>
                    <a:pt x="21" y="207"/>
                  </a:lnTo>
                  <a:lnTo>
                    <a:pt x="0" y="177"/>
                  </a:lnTo>
                  <a:lnTo>
                    <a:pt x="35" y="173"/>
                  </a:lnTo>
                  <a:lnTo>
                    <a:pt x="45" y="187"/>
                  </a:lnTo>
                  <a:lnTo>
                    <a:pt x="60" y="158"/>
                  </a:lnTo>
                  <a:lnTo>
                    <a:pt x="105" y="143"/>
                  </a:lnTo>
                  <a:lnTo>
                    <a:pt x="134" y="147"/>
                  </a:lnTo>
                  <a:lnTo>
                    <a:pt x="149" y="119"/>
                  </a:lnTo>
                  <a:lnTo>
                    <a:pt x="164" y="124"/>
                  </a:lnTo>
                  <a:lnTo>
                    <a:pt x="179" y="98"/>
                  </a:lnTo>
                  <a:lnTo>
                    <a:pt x="208" y="94"/>
                  </a:lnTo>
                  <a:lnTo>
                    <a:pt x="213" y="74"/>
                  </a:lnTo>
                  <a:lnTo>
                    <a:pt x="253" y="70"/>
                  </a:lnTo>
                  <a:lnTo>
                    <a:pt x="259" y="59"/>
                  </a:lnTo>
                  <a:lnTo>
                    <a:pt x="298" y="40"/>
                  </a:lnTo>
                  <a:lnTo>
                    <a:pt x="303" y="35"/>
                  </a:lnTo>
                  <a:lnTo>
                    <a:pt x="317" y="40"/>
                  </a:lnTo>
                  <a:lnTo>
                    <a:pt x="308" y="0"/>
                  </a:lnTo>
                  <a:lnTo>
                    <a:pt x="338" y="5"/>
                  </a:lnTo>
                  <a:lnTo>
                    <a:pt x="357" y="44"/>
                  </a:lnTo>
                  <a:lnTo>
                    <a:pt x="382" y="44"/>
                  </a:lnTo>
                  <a:lnTo>
                    <a:pt x="382" y="14"/>
                  </a:lnTo>
                  <a:lnTo>
                    <a:pt x="402" y="35"/>
                  </a:lnTo>
                  <a:lnTo>
                    <a:pt x="402" y="0"/>
                  </a:lnTo>
                  <a:lnTo>
                    <a:pt x="397" y="0"/>
                  </a:lnTo>
                  <a:lnTo>
                    <a:pt x="406" y="0"/>
                  </a:lnTo>
                  <a:lnTo>
                    <a:pt x="441" y="5"/>
                  </a:lnTo>
                  <a:lnTo>
                    <a:pt x="466" y="44"/>
                  </a:lnTo>
                  <a:lnTo>
                    <a:pt x="525" y="54"/>
                  </a:lnTo>
                  <a:lnTo>
                    <a:pt x="560" y="68"/>
                  </a:lnTo>
                  <a:lnTo>
                    <a:pt x="600" y="64"/>
                  </a:lnTo>
                  <a:lnTo>
                    <a:pt x="609" y="94"/>
                  </a:lnTo>
                  <a:lnTo>
                    <a:pt x="585" y="103"/>
                  </a:lnTo>
                  <a:lnTo>
                    <a:pt x="585" y="119"/>
                  </a:lnTo>
                  <a:lnTo>
                    <a:pt x="615" y="133"/>
                  </a:lnTo>
                  <a:lnTo>
                    <a:pt x="630" y="153"/>
                  </a:lnTo>
                  <a:lnTo>
                    <a:pt x="649" y="177"/>
                  </a:lnTo>
                  <a:lnTo>
                    <a:pt x="679" y="164"/>
                  </a:lnTo>
                  <a:lnTo>
                    <a:pt x="698" y="138"/>
                  </a:lnTo>
                  <a:lnTo>
                    <a:pt x="674" y="103"/>
                  </a:lnTo>
                  <a:lnTo>
                    <a:pt x="753" y="128"/>
                  </a:lnTo>
                  <a:lnTo>
                    <a:pt x="782" y="125"/>
                  </a:lnTo>
                  <a:lnTo>
                    <a:pt x="808" y="128"/>
                  </a:lnTo>
                  <a:lnTo>
                    <a:pt x="808" y="147"/>
                  </a:lnTo>
                  <a:lnTo>
                    <a:pt x="783" y="163"/>
                  </a:lnTo>
                  <a:lnTo>
                    <a:pt x="808" y="163"/>
                  </a:lnTo>
                  <a:lnTo>
                    <a:pt x="823" y="182"/>
                  </a:lnTo>
                  <a:lnTo>
                    <a:pt x="842" y="182"/>
                  </a:lnTo>
                  <a:lnTo>
                    <a:pt x="877" y="182"/>
                  </a:lnTo>
                  <a:lnTo>
                    <a:pt x="882" y="193"/>
                  </a:lnTo>
                  <a:lnTo>
                    <a:pt x="931" y="198"/>
                  </a:lnTo>
                  <a:lnTo>
                    <a:pt x="937" y="242"/>
                  </a:lnTo>
                  <a:lnTo>
                    <a:pt x="966" y="247"/>
                  </a:lnTo>
                  <a:lnTo>
                    <a:pt x="982" y="277"/>
                  </a:lnTo>
                  <a:lnTo>
                    <a:pt x="982" y="282"/>
                  </a:lnTo>
                  <a:lnTo>
                    <a:pt x="977" y="271"/>
                  </a:lnTo>
                  <a:lnTo>
                    <a:pt x="937" y="277"/>
                  </a:lnTo>
                  <a:lnTo>
                    <a:pt x="931" y="291"/>
                  </a:lnTo>
                  <a:lnTo>
                    <a:pt x="922" y="296"/>
                  </a:lnTo>
                  <a:lnTo>
                    <a:pt x="912" y="317"/>
                  </a:lnTo>
                  <a:lnTo>
                    <a:pt x="887" y="331"/>
                  </a:lnTo>
                  <a:lnTo>
                    <a:pt x="882" y="375"/>
                  </a:lnTo>
                  <a:lnTo>
                    <a:pt x="858" y="400"/>
                  </a:lnTo>
                  <a:lnTo>
                    <a:pt x="828" y="434"/>
                  </a:lnTo>
                  <a:lnTo>
                    <a:pt x="783" y="445"/>
                  </a:lnTo>
                  <a:lnTo>
                    <a:pt x="749" y="434"/>
                  </a:lnTo>
                  <a:lnTo>
                    <a:pt x="728" y="469"/>
                  </a:lnTo>
                  <a:lnTo>
                    <a:pt x="719" y="478"/>
                  </a:lnTo>
                  <a:close/>
                </a:path>
              </a:pathLst>
            </a:custGeom>
            <a:grpFill/>
            <a:ln w="11113" cap="flat" cmpd="sng">
              <a:noFill/>
              <a:prstDash val="solid"/>
              <a:round/>
              <a:headEnd type="none" w="med" len="med"/>
              <a:tailEnd type="none" w="med" len="med"/>
            </a:ln>
          </p:spPr>
          <p:txBody>
            <a:bodyPr/>
            <a:lstStyle/>
            <a:p>
              <a:pPr>
                <a:defRPr/>
              </a:pPr>
              <a:endParaRPr lang="fr-FR" sz="2400">
                <a:solidFill>
                  <a:srgbClr val="000000"/>
                </a:solidFill>
              </a:endParaRPr>
            </a:p>
          </p:txBody>
        </p:sp>
        <p:sp>
          <p:nvSpPr>
            <p:cNvPr id="212" name="Freeform 38"/>
            <p:cNvSpPr>
              <a:spLocks/>
            </p:cNvSpPr>
            <p:nvPr/>
          </p:nvSpPr>
          <p:spPr bwMode="auto">
            <a:xfrm>
              <a:off x="5064125" y="4195763"/>
              <a:ext cx="1111250" cy="738187"/>
            </a:xfrm>
            <a:custGeom>
              <a:avLst/>
              <a:gdLst/>
              <a:ahLst/>
              <a:cxnLst>
                <a:cxn ang="0">
                  <a:pos x="348" y="168"/>
                </a:cxn>
                <a:cxn ang="0">
                  <a:pos x="406" y="158"/>
                </a:cxn>
                <a:cxn ang="0">
                  <a:pos x="476" y="158"/>
                </a:cxn>
                <a:cxn ang="0">
                  <a:pos x="546" y="147"/>
                </a:cxn>
                <a:cxn ang="0">
                  <a:pos x="615" y="172"/>
                </a:cxn>
                <a:cxn ang="0">
                  <a:pos x="665" y="123"/>
                </a:cxn>
                <a:cxn ang="0">
                  <a:pos x="793" y="79"/>
                </a:cxn>
                <a:cxn ang="0">
                  <a:pos x="863" y="0"/>
                </a:cxn>
                <a:cxn ang="0">
                  <a:pos x="977" y="118"/>
                </a:cxn>
                <a:cxn ang="0">
                  <a:pos x="1175" y="316"/>
                </a:cxn>
                <a:cxn ang="0">
                  <a:pos x="1176" y="403"/>
                </a:cxn>
                <a:cxn ang="0">
                  <a:pos x="1210" y="503"/>
                </a:cxn>
                <a:cxn ang="0">
                  <a:pos x="1269" y="563"/>
                </a:cxn>
                <a:cxn ang="0">
                  <a:pos x="1348" y="548"/>
                </a:cxn>
                <a:cxn ang="0">
                  <a:pos x="1432" y="506"/>
                </a:cxn>
                <a:cxn ang="0">
                  <a:pos x="1467" y="552"/>
                </a:cxn>
                <a:cxn ang="0">
                  <a:pos x="1472" y="617"/>
                </a:cxn>
                <a:cxn ang="0">
                  <a:pos x="1393" y="632"/>
                </a:cxn>
                <a:cxn ang="0">
                  <a:pos x="1358" y="612"/>
                </a:cxn>
                <a:cxn ang="0">
                  <a:pos x="1348" y="682"/>
                </a:cxn>
                <a:cxn ang="0">
                  <a:pos x="1353" y="750"/>
                </a:cxn>
                <a:cxn ang="0">
                  <a:pos x="1371" y="853"/>
                </a:cxn>
                <a:cxn ang="0">
                  <a:pos x="1259" y="874"/>
                </a:cxn>
                <a:cxn ang="0">
                  <a:pos x="1155" y="864"/>
                </a:cxn>
                <a:cxn ang="0">
                  <a:pos x="996" y="929"/>
                </a:cxn>
                <a:cxn ang="0">
                  <a:pos x="859" y="1036"/>
                </a:cxn>
                <a:cxn ang="0">
                  <a:pos x="779" y="1046"/>
                </a:cxn>
                <a:cxn ang="0">
                  <a:pos x="708" y="1061"/>
                </a:cxn>
                <a:cxn ang="0">
                  <a:pos x="647" y="1055"/>
                </a:cxn>
                <a:cxn ang="0">
                  <a:pos x="576" y="1051"/>
                </a:cxn>
                <a:cxn ang="0">
                  <a:pos x="490" y="1076"/>
                </a:cxn>
                <a:cxn ang="0">
                  <a:pos x="496" y="1022"/>
                </a:cxn>
                <a:cxn ang="0">
                  <a:pos x="402" y="968"/>
                </a:cxn>
                <a:cxn ang="0">
                  <a:pos x="441" y="929"/>
                </a:cxn>
                <a:cxn ang="0">
                  <a:pos x="408" y="899"/>
                </a:cxn>
                <a:cxn ang="0">
                  <a:pos x="352" y="953"/>
                </a:cxn>
                <a:cxn ang="0">
                  <a:pos x="310" y="917"/>
                </a:cxn>
                <a:cxn ang="0">
                  <a:pos x="254" y="908"/>
                </a:cxn>
                <a:cxn ang="0">
                  <a:pos x="238" y="874"/>
                </a:cxn>
                <a:cxn ang="0">
                  <a:pos x="219" y="815"/>
                </a:cxn>
                <a:cxn ang="0">
                  <a:pos x="95" y="715"/>
                </a:cxn>
                <a:cxn ang="0">
                  <a:pos x="0" y="642"/>
                </a:cxn>
                <a:cxn ang="0">
                  <a:pos x="80" y="592"/>
                </a:cxn>
                <a:cxn ang="0">
                  <a:pos x="140" y="513"/>
                </a:cxn>
                <a:cxn ang="0">
                  <a:pos x="179" y="440"/>
                </a:cxn>
                <a:cxn ang="0">
                  <a:pos x="214" y="321"/>
                </a:cxn>
                <a:cxn ang="0">
                  <a:pos x="243" y="247"/>
                </a:cxn>
                <a:cxn ang="0">
                  <a:pos x="322" y="207"/>
                </a:cxn>
                <a:cxn ang="0">
                  <a:pos x="333" y="172"/>
                </a:cxn>
              </a:cxnLst>
              <a:rect l="0" t="0" r="r" b="b"/>
              <a:pathLst>
                <a:path w="1475" h="1076">
                  <a:moveTo>
                    <a:pt x="333" y="172"/>
                  </a:moveTo>
                  <a:lnTo>
                    <a:pt x="338" y="172"/>
                  </a:lnTo>
                  <a:lnTo>
                    <a:pt x="348" y="168"/>
                  </a:lnTo>
                  <a:lnTo>
                    <a:pt x="362" y="142"/>
                  </a:lnTo>
                  <a:lnTo>
                    <a:pt x="372" y="142"/>
                  </a:lnTo>
                  <a:lnTo>
                    <a:pt x="406" y="158"/>
                  </a:lnTo>
                  <a:lnTo>
                    <a:pt x="441" y="159"/>
                  </a:lnTo>
                  <a:lnTo>
                    <a:pt x="460" y="159"/>
                  </a:lnTo>
                  <a:lnTo>
                    <a:pt x="476" y="158"/>
                  </a:lnTo>
                  <a:lnTo>
                    <a:pt x="486" y="148"/>
                  </a:lnTo>
                  <a:lnTo>
                    <a:pt x="525" y="153"/>
                  </a:lnTo>
                  <a:lnTo>
                    <a:pt x="546" y="147"/>
                  </a:lnTo>
                  <a:lnTo>
                    <a:pt x="571" y="133"/>
                  </a:lnTo>
                  <a:lnTo>
                    <a:pt x="605" y="158"/>
                  </a:lnTo>
                  <a:lnTo>
                    <a:pt x="615" y="172"/>
                  </a:lnTo>
                  <a:lnTo>
                    <a:pt x="644" y="168"/>
                  </a:lnTo>
                  <a:lnTo>
                    <a:pt x="665" y="148"/>
                  </a:lnTo>
                  <a:lnTo>
                    <a:pt x="665" y="123"/>
                  </a:lnTo>
                  <a:lnTo>
                    <a:pt x="691" y="112"/>
                  </a:lnTo>
                  <a:lnTo>
                    <a:pt x="723" y="109"/>
                  </a:lnTo>
                  <a:lnTo>
                    <a:pt x="793" y="79"/>
                  </a:lnTo>
                  <a:lnTo>
                    <a:pt x="814" y="30"/>
                  </a:lnTo>
                  <a:lnTo>
                    <a:pt x="828" y="28"/>
                  </a:lnTo>
                  <a:lnTo>
                    <a:pt x="863" y="0"/>
                  </a:lnTo>
                  <a:lnTo>
                    <a:pt x="894" y="10"/>
                  </a:lnTo>
                  <a:lnTo>
                    <a:pt x="922" y="34"/>
                  </a:lnTo>
                  <a:lnTo>
                    <a:pt x="977" y="118"/>
                  </a:lnTo>
                  <a:lnTo>
                    <a:pt x="1096" y="207"/>
                  </a:lnTo>
                  <a:lnTo>
                    <a:pt x="1139" y="257"/>
                  </a:lnTo>
                  <a:lnTo>
                    <a:pt x="1175" y="316"/>
                  </a:lnTo>
                  <a:lnTo>
                    <a:pt x="1179" y="340"/>
                  </a:lnTo>
                  <a:lnTo>
                    <a:pt x="1179" y="371"/>
                  </a:lnTo>
                  <a:lnTo>
                    <a:pt x="1176" y="403"/>
                  </a:lnTo>
                  <a:lnTo>
                    <a:pt x="1175" y="429"/>
                  </a:lnTo>
                  <a:lnTo>
                    <a:pt x="1194" y="465"/>
                  </a:lnTo>
                  <a:lnTo>
                    <a:pt x="1210" y="503"/>
                  </a:lnTo>
                  <a:lnTo>
                    <a:pt x="1199" y="513"/>
                  </a:lnTo>
                  <a:lnTo>
                    <a:pt x="1224" y="538"/>
                  </a:lnTo>
                  <a:lnTo>
                    <a:pt x="1269" y="563"/>
                  </a:lnTo>
                  <a:lnTo>
                    <a:pt x="1313" y="573"/>
                  </a:lnTo>
                  <a:lnTo>
                    <a:pt x="1329" y="552"/>
                  </a:lnTo>
                  <a:lnTo>
                    <a:pt x="1348" y="548"/>
                  </a:lnTo>
                  <a:lnTo>
                    <a:pt x="1388" y="508"/>
                  </a:lnTo>
                  <a:lnTo>
                    <a:pt x="1415" y="506"/>
                  </a:lnTo>
                  <a:lnTo>
                    <a:pt x="1432" y="506"/>
                  </a:lnTo>
                  <a:lnTo>
                    <a:pt x="1447" y="508"/>
                  </a:lnTo>
                  <a:lnTo>
                    <a:pt x="1447" y="533"/>
                  </a:lnTo>
                  <a:lnTo>
                    <a:pt x="1467" y="552"/>
                  </a:lnTo>
                  <a:lnTo>
                    <a:pt x="1474" y="584"/>
                  </a:lnTo>
                  <a:lnTo>
                    <a:pt x="1475" y="602"/>
                  </a:lnTo>
                  <a:lnTo>
                    <a:pt x="1472" y="617"/>
                  </a:lnTo>
                  <a:lnTo>
                    <a:pt x="1442" y="639"/>
                  </a:lnTo>
                  <a:lnTo>
                    <a:pt x="1402" y="647"/>
                  </a:lnTo>
                  <a:lnTo>
                    <a:pt x="1393" y="632"/>
                  </a:lnTo>
                  <a:lnTo>
                    <a:pt x="1373" y="627"/>
                  </a:lnTo>
                  <a:lnTo>
                    <a:pt x="1373" y="608"/>
                  </a:lnTo>
                  <a:lnTo>
                    <a:pt x="1358" y="612"/>
                  </a:lnTo>
                  <a:lnTo>
                    <a:pt x="1353" y="627"/>
                  </a:lnTo>
                  <a:lnTo>
                    <a:pt x="1362" y="647"/>
                  </a:lnTo>
                  <a:lnTo>
                    <a:pt x="1348" y="682"/>
                  </a:lnTo>
                  <a:lnTo>
                    <a:pt x="1358" y="711"/>
                  </a:lnTo>
                  <a:lnTo>
                    <a:pt x="1373" y="721"/>
                  </a:lnTo>
                  <a:lnTo>
                    <a:pt x="1353" y="750"/>
                  </a:lnTo>
                  <a:lnTo>
                    <a:pt x="1353" y="785"/>
                  </a:lnTo>
                  <a:lnTo>
                    <a:pt x="1383" y="825"/>
                  </a:lnTo>
                  <a:lnTo>
                    <a:pt x="1371" y="853"/>
                  </a:lnTo>
                  <a:lnTo>
                    <a:pt x="1383" y="899"/>
                  </a:lnTo>
                  <a:lnTo>
                    <a:pt x="1299" y="899"/>
                  </a:lnTo>
                  <a:lnTo>
                    <a:pt x="1259" y="874"/>
                  </a:lnTo>
                  <a:lnTo>
                    <a:pt x="1224" y="874"/>
                  </a:lnTo>
                  <a:lnTo>
                    <a:pt x="1180" y="874"/>
                  </a:lnTo>
                  <a:lnTo>
                    <a:pt x="1155" y="864"/>
                  </a:lnTo>
                  <a:lnTo>
                    <a:pt x="1105" y="869"/>
                  </a:lnTo>
                  <a:lnTo>
                    <a:pt x="1071" y="899"/>
                  </a:lnTo>
                  <a:lnTo>
                    <a:pt x="996" y="929"/>
                  </a:lnTo>
                  <a:lnTo>
                    <a:pt x="954" y="997"/>
                  </a:lnTo>
                  <a:lnTo>
                    <a:pt x="907" y="1032"/>
                  </a:lnTo>
                  <a:lnTo>
                    <a:pt x="859" y="1036"/>
                  </a:lnTo>
                  <a:lnTo>
                    <a:pt x="832" y="1036"/>
                  </a:lnTo>
                  <a:lnTo>
                    <a:pt x="808" y="1037"/>
                  </a:lnTo>
                  <a:lnTo>
                    <a:pt x="779" y="1046"/>
                  </a:lnTo>
                  <a:lnTo>
                    <a:pt x="744" y="1027"/>
                  </a:lnTo>
                  <a:lnTo>
                    <a:pt x="733" y="1051"/>
                  </a:lnTo>
                  <a:lnTo>
                    <a:pt x="708" y="1061"/>
                  </a:lnTo>
                  <a:lnTo>
                    <a:pt x="679" y="1067"/>
                  </a:lnTo>
                  <a:lnTo>
                    <a:pt x="660" y="1056"/>
                  </a:lnTo>
                  <a:lnTo>
                    <a:pt x="647" y="1055"/>
                  </a:lnTo>
                  <a:lnTo>
                    <a:pt x="626" y="1056"/>
                  </a:lnTo>
                  <a:lnTo>
                    <a:pt x="590" y="1057"/>
                  </a:lnTo>
                  <a:lnTo>
                    <a:pt x="576" y="1051"/>
                  </a:lnTo>
                  <a:lnTo>
                    <a:pt x="541" y="1057"/>
                  </a:lnTo>
                  <a:lnTo>
                    <a:pt x="536" y="1072"/>
                  </a:lnTo>
                  <a:lnTo>
                    <a:pt x="490" y="1076"/>
                  </a:lnTo>
                  <a:lnTo>
                    <a:pt x="471" y="1057"/>
                  </a:lnTo>
                  <a:lnTo>
                    <a:pt x="481" y="1037"/>
                  </a:lnTo>
                  <a:lnTo>
                    <a:pt x="496" y="1022"/>
                  </a:lnTo>
                  <a:lnTo>
                    <a:pt x="496" y="1007"/>
                  </a:lnTo>
                  <a:lnTo>
                    <a:pt x="436" y="988"/>
                  </a:lnTo>
                  <a:lnTo>
                    <a:pt x="402" y="968"/>
                  </a:lnTo>
                  <a:lnTo>
                    <a:pt x="397" y="938"/>
                  </a:lnTo>
                  <a:lnTo>
                    <a:pt x="417" y="923"/>
                  </a:lnTo>
                  <a:lnTo>
                    <a:pt x="441" y="929"/>
                  </a:lnTo>
                  <a:lnTo>
                    <a:pt x="451" y="913"/>
                  </a:lnTo>
                  <a:lnTo>
                    <a:pt x="397" y="899"/>
                  </a:lnTo>
                  <a:lnTo>
                    <a:pt x="408" y="899"/>
                  </a:lnTo>
                  <a:lnTo>
                    <a:pt x="382" y="898"/>
                  </a:lnTo>
                  <a:lnTo>
                    <a:pt x="362" y="913"/>
                  </a:lnTo>
                  <a:lnTo>
                    <a:pt x="352" y="953"/>
                  </a:lnTo>
                  <a:lnTo>
                    <a:pt x="333" y="943"/>
                  </a:lnTo>
                  <a:lnTo>
                    <a:pt x="322" y="918"/>
                  </a:lnTo>
                  <a:lnTo>
                    <a:pt x="310" y="917"/>
                  </a:lnTo>
                  <a:lnTo>
                    <a:pt x="292" y="923"/>
                  </a:lnTo>
                  <a:lnTo>
                    <a:pt x="259" y="929"/>
                  </a:lnTo>
                  <a:lnTo>
                    <a:pt x="254" y="908"/>
                  </a:lnTo>
                  <a:lnTo>
                    <a:pt x="214" y="908"/>
                  </a:lnTo>
                  <a:lnTo>
                    <a:pt x="208" y="894"/>
                  </a:lnTo>
                  <a:lnTo>
                    <a:pt x="238" y="874"/>
                  </a:lnTo>
                  <a:lnTo>
                    <a:pt x="214" y="864"/>
                  </a:lnTo>
                  <a:lnTo>
                    <a:pt x="224" y="834"/>
                  </a:lnTo>
                  <a:lnTo>
                    <a:pt x="219" y="815"/>
                  </a:lnTo>
                  <a:lnTo>
                    <a:pt x="175" y="805"/>
                  </a:lnTo>
                  <a:lnTo>
                    <a:pt x="105" y="761"/>
                  </a:lnTo>
                  <a:lnTo>
                    <a:pt x="95" y="715"/>
                  </a:lnTo>
                  <a:lnTo>
                    <a:pt x="60" y="691"/>
                  </a:lnTo>
                  <a:lnTo>
                    <a:pt x="21" y="671"/>
                  </a:lnTo>
                  <a:lnTo>
                    <a:pt x="0" y="642"/>
                  </a:lnTo>
                  <a:lnTo>
                    <a:pt x="10" y="632"/>
                  </a:lnTo>
                  <a:lnTo>
                    <a:pt x="65" y="627"/>
                  </a:lnTo>
                  <a:lnTo>
                    <a:pt x="80" y="592"/>
                  </a:lnTo>
                  <a:lnTo>
                    <a:pt x="119" y="603"/>
                  </a:lnTo>
                  <a:lnTo>
                    <a:pt x="140" y="568"/>
                  </a:lnTo>
                  <a:lnTo>
                    <a:pt x="140" y="513"/>
                  </a:lnTo>
                  <a:lnTo>
                    <a:pt x="169" y="494"/>
                  </a:lnTo>
                  <a:lnTo>
                    <a:pt x="164" y="459"/>
                  </a:lnTo>
                  <a:lnTo>
                    <a:pt x="179" y="440"/>
                  </a:lnTo>
                  <a:lnTo>
                    <a:pt x="184" y="395"/>
                  </a:lnTo>
                  <a:lnTo>
                    <a:pt x="199" y="385"/>
                  </a:lnTo>
                  <a:lnTo>
                    <a:pt x="214" y="321"/>
                  </a:lnTo>
                  <a:lnTo>
                    <a:pt x="214" y="296"/>
                  </a:lnTo>
                  <a:lnTo>
                    <a:pt x="238" y="272"/>
                  </a:lnTo>
                  <a:lnTo>
                    <a:pt x="243" y="247"/>
                  </a:lnTo>
                  <a:lnTo>
                    <a:pt x="268" y="232"/>
                  </a:lnTo>
                  <a:lnTo>
                    <a:pt x="298" y="232"/>
                  </a:lnTo>
                  <a:lnTo>
                    <a:pt x="322" y="207"/>
                  </a:lnTo>
                  <a:lnTo>
                    <a:pt x="327" y="168"/>
                  </a:lnTo>
                  <a:lnTo>
                    <a:pt x="313" y="153"/>
                  </a:lnTo>
                  <a:lnTo>
                    <a:pt x="333" y="172"/>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13" name="Freeform 39"/>
            <p:cNvSpPr>
              <a:spLocks/>
            </p:cNvSpPr>
            <p:nvPr/>
          </p:nvSpPr>
          <p:spPr bwMode="auto">
            <a:xfrm>
              <a:off x="3841750" y="4260850"/>
              <a:ext cx="828675" cy="396875"/>
            </a:xfrm>
            <a:custGeom>
              <a:avLst/>
              <a:gdLst>
                <a:gd name="T0" fmla="*/ 2147483647 w 1103"/>
                <a:gd name="T1" fmla="*/ 2147483647 h 579"/>
                <a:gd name="T2" fmla="*/ 2147483647 w 1103"/>
                <a:gd name="T3" fmla="*/ 2147483647 h 579"/>
                <a:gd name="T4" fmla="*/ 2147483647 w 1103"/>
                <a:gd name="T5" fmla="*/ 2147483647 h 579"/>
                <a:gd name="T6" fmla="*/ 2147483647 w 1103"/>
                <a:gd name="T7" fmla="*/ 2147483647 h 579"/>
                <a:gd name="T8" fmla="*/ 2147483647 w 1103"/>
                <a:gd name="T9" fmla="*/ 2147483647 h 579"/>
                <a:gd name="T10" fmla="*/ 2147483647 w 1103"/>
                <a:gd name="T11" fmla="*/ 2147483647 h 579"/>
                <a:gd name="T12" fmla="*/ 2147483647 w 1103"/>
                <a:gd name="T13" fmla="*/ 2147483647 h 579"/>
                <a:gd name="T14" fmla="*/ 2147483647 w 1103"/>
                <a:gd name="T15" fmla="*/ 2147483647 h 579"/>
                <a:gd name="T16" fmla="*/ 2147483647 w 1103"/>
                <a:gd name="T17" fmla="*/ 2147483647 h 579"/>
                <a:gd name="T18" fmla="*/ 2147483647 w 1103"/>
                <a:gd name="T19" fmla="*/ 2147483647 h 579"/>
                <a:gd name="T20" fmla="*/ 2147483647 w 1103"/>
                <a:gd name="T21" fmla="*/ 2147483647 h 579"/>
                <a:gd name="T22" fmla="*/ 2147483647 w 1103"/>
                <a:gd name="T23" fmla="*/ 2147483647 h 579"/>
                <a:gd name="T24" fmla="*/ 2147483647 w 1103"/>
                <a:gd name="T25" fmla="*/ 2147483647 h 579"/>
                <a:gd name="T26" fmla="*/ 2147483647 w 1103"/>
                <a:gd name="T27" fmla="*/ 2147483647 h 579"/>
                <a:gd name="T28" fmla="*/ 2147483647 w 1103"/>
                <a:gd name="T29" fmla="*/ 2147483647 h 579"/>
                <a:gd name="T30" fmla="*/ 2147483647 w 1103"/>
                <a:gd name="T31" fmla="*/ 2147483647 h 579"/>
                <a:gd name="T32" fmla="*/ 2147483647 w 1103"/>
                <a:gd name="T33" fmla="*/ 2147483647 h 579"/>
                <a:gd name="T34" fmla="*/ 2147483647 w 1103"/>
                <a:gd name="T35" fmla="*/ 2147483647 h 579"/>
                <a:gd name="T36" fmla="*/ 2147483647 w 1103"/>
                <a:gd name="T37" fmla="*/ 2147483647 h 579"/>
                <a:gd name="T38" fmla="*/ 2147483647 w 1103"/>
                <a:gd name="T39" fmla="*/ 2147483647 h 579"/>
                <a:gd name="T40" fmla="*/ 2147483647 w 1103"/>
                <a:gd name="T41" fmla="*/ 2147483647 h 579"/>
                <a:gd name="T42" fmla="*/ 2147483647 w 1103"/>
                <a:gd name="T43" fmla="*/ 2147483647 h 579"/>
                <a:gd name="T44" fmla="*/ 2147483647 w 1103"/>
                <a:gd name="T45" fmla="*/ 2147483647 h 579"/>
                <a:gd name="T46" fmla="*/ 2147483647 w 1103"/>
                <a:gd name="T47" fmla="*/ 2147483647 h 579"/>
                <a:gd name="T48" fmla="*/ 2147483647 w 1103"/>
                <a:gd name="T49" fmla="*/ 2147483647 h 579"/>
                <a:gd name="T50" fmla="*/ 2147483647 w 1103"/>
                <a:gd name="T51" fmla="*/ 2147483647 h 579"/>
                <a:gd name="T52" fmla="*/ 2147483647 w 1103"/>
                <a:gd name="T53" fmla="*/ 2147483647 h 579"/>
                <a:gd name="T54" fmla="*/ 2147483647 w 1103"/>
                <a:gd name="T55" fmla="*/ 2147483647 h 579"/>
                <a:gd name="T56" fmla="*/ 2147483647 w 1103"/>
                <a:gd name="T57" fmla="*/ 2147483647 h 579"/>
                <a:gd name="T58" fmla="*/ 2147483647 w 1103"/>
                <a:gd name="T59" fmla="*/ 2147483647 h 579"/>
                <a:gd name="T60" fmla="*/ 2147483647 w 1103"/>
                <a:gd name="T61" fmla="*/ 2147483647 h 579"/>
                <a:gd name="T62" fmla="*/ 2147483647 w 1103"/>
                <a:gd name="T63" fmla="*/ 2147483647 h 579"/>
                <a:gd name="T64" fmla="*/ 2147483647 w 1103"/>
                <a:gd name="T65" fmla="*/ 2147483647 h 579"/>
                <a:gd name="T66" fmla="*/ 2147483647 w 1103"/>
                <a:gd name="T67" fmla="*/ 2147483647 h 579"/>
                <a:gd name="T68" fmla="*/ 2147483647 w 1103"/>
                <a:gd name="T69" fmla="*/ 2147483647 h 579"/>
                <a:gd name="T70" fmla="*/ 2147483647 w 1103"/>
                <a:gd name="T71" fmla="*/ 2147483647 h 579"/>
                <a:gd name="T72" fmla="*/ 2147483647 w 1103"/>
                <a:gd name="T73" fmla="*/ 2147483647 h 579"/>
                <a:gd name="T74" fmla="*/ 2147483647 w 1103"/>
                <a:gd name="T75" fmla="*/ 2147483647 h 579"/>
                <a:gd name="T76" fmla="*/ 2147483647 w 1103"/>
                <a:gd name="T77" fmla="*/ 2147483647 h 579"/>
                <a:gd name="T78" fmla="*/ 2147483647 w 1103"/>
                <a:gd name="T79" fmla="*/ 2147483647 h 579"/>
                <a:gd name="T80" fmla="*/ 2147483647 w 1103"/>
                <a:gd name="T81" fmla="*/ 2147483647 h 579"/>
                <a:gd name="T82" fmla="*/ 2147483647 w 1103"/>
                <a:gd name="T83" fmla="*/ 2147483647 h 579"/>
                <a:gd name="T84" fmla="*/ 2147483647 w 1103"/>
                <a:gd name="T85" fmla="*/ 2147483647 h 579"/>
                <a:gd name="T86" fmla="*/ 2147483647 w 1103"/>
                <a:gd name="T87" fmla="*/ 2147483647 h 579"/>
                <a:gd name="T88" fmla="*/ 2147483647 w 1103"/>
                <a:gd name="T89" fmla="*/ 2147483647 h 579"/>
                <a:gd name="T90" fmla="*/ 2147483647 w 1103"/>
                <a:gd name="T91" fmla="*/ 2147483647 h 579"/>
                <a:gd name="T92" fmla="*/ 2147483647 w 1103"/>
                <a:gd name="T93" fmla="*/ 2147483647 h 579"/>
                <a:gd name="T94" fmla="*/ 2147483647 w 1103"/>
                <a:gd name="T95" fmla="*/ 2147483647 h 579"/>
                <a:gd name="T96" fmla="*/ 2147483647 w 1103"/>
                <a:gd name="T97" fmla="*/ 2147483647 h 579"/>
                <a:gd name="T98" fmla="*/ 2147483647 w 1103"/>
                <a:gd name="T99" fmla="*/ 2147483647 h 579"/>
                <a:gd name="T100" fmla="*/ 2147483647 w 1103"/>
                <a:gd name="T101" fmla="*/ 2147483647 h 579"/>
                <a:gd name="T102" fmla="*/ 2147483647 w 1103"/>
                <a:gd name="T103" fmla="*/ 2147483647 h 579"/>
                <a:gd name="T104" fmla="*/ 2147483647 w 1103"/>
                <a:gd name="T105" fmla="*/ 2147483647 h 579"/>
                <a:gd name="T106" fmla="*/ 2147483647 w 1103"/>
                <a:gd name="T107" fmla="*/ 2147483647 h 579"/>
                <a:gd name="T108" fmla="*/ 2147483647 w 1103"/>
                <a:gd name="T109" fmla="*/ 2147483647 h 579"/>
                <a:gd name="T110" fmla="*/ 2147483647 w 1103"/>
                <a:gd name="T111" fmla="*/ 2147483647 h 579"/>
                <a:gd name="T112" fmla="*/ 2147483647 w 1103"/>
                <a:gd name="T113" fmla="*/ 2147483647 h 5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03"/>
                <a:gd name="T172" fmla="*/ 0 h 579"/>
                <a:gd name="T173" fmla="*/ 1103 w 1103"/>
                <a:gd name="T174" fmla="*/ 579 h 5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03" h="579">
                  <a:moveTo>
                    <a:pt x="1075" y="40"/>
                  </a:moveTo>
                  <a:lnTo>
                    <a:pt x="1075" y="64"/>
                  </a:lnTo>
                  <a:lnTo>
                    <a:pt x="1075" y="89"/>
                  </a:lnTo>
                  <a:lnTo>
                    <a:pt x="1061" y="114"/>
                  </a:lnTo>
                  <a:lnTo>
                    <a:pt x="1086" y="158"/>
                  </a:lnTo>
                  <a:lnTo>
                    <a:pt x="1096" y="198"/>
                  </a:lnTo>
                  <a:lnTo>
                    <a:pt x="1100" y="193"/>
                  </a:lnTo>
                  <a:lnTo>
                    <a:pt x="1103" y="226"/>
                  </a:lnTo>
                  <a:lnTo>
                    <a:pt x="1103" y="250"/>
                  </a:lnTo>
                  <a:lnTo>
                    <a:pt x="1096" y="268"/>
                  </a:lnTo>
                  <a:lnTo>
                    <a:pt x="1056" y="268"/>
                  </a:lnTo>
                  <a:lnTo>
                    <a:pt x="1031" y="252"/>
                  </a:lnTo>
                  <a:lnTo>
                    <a:pt x="1026" y="282"/>
                  </a:lnTo>
                  <a:lnTo>
                    <a:pt x="1056" y="296"/>
                  </a:lnTo>
                  <a:lnTo>
                    <a:pt x="1036" y="336"/>
                  </a:lnTo>
                  <a:lnTo>
                    <a:pt x="1031" y="375"/>
                  </a:lnTo>
                  <a:lnTo>
                    <a:pt x="1040" y="426"/>
                  </a:lnTo>
                  <a:lnTo>
                    <a:pt x="1002" y="439"/>
                  </a:lnTo>
                  <a:lnTo>
                    <a:pt x="982" y="455"/>
                  </a:lnTo>
                  <a:lnTo>
                    <a:pt x="977" y="459"/>
                  </a:lnTo>
                  <a:lnTo>
                    <a:pt x="972" y="499"/>
                  </a:lnTo>
                  <a:lnTo>
                    <a:pt x="946" y="501"/>
                  </a:lnTo>
                  <a:lnTo>
                    <a:pt x="917" y="504"/>
                  </a:lnTo>
                  <a:lnTo>
                    <a:pt x="902" y="519"/>
                  </a:lnTo>
                  <a:lnTo>
                    <a:pt x="858" y="525"/>
                  </a:lnTo>
                  <a:lnTo>
                    <a:pt x="830" y="525"/>
                  </a:lnTo>
                  <a:lnTo>
                    <a:pt x="809" y="529"/>
                  </a:lnTo>
                  <a:lnTo>
                    <a:pt x="774" y="578"/>
                  </a:lnTo>
                  <a:lnTo>
                    <a:pt x="761" y="579"/>
                  </a:lnTo>
                  <a:lnTo>
                    <a:pt x="740" y="578"/>
                  </a:lnTo>
                  <a:lnTo>
                    <a:pt x="704" y="573"/>
                  </a:lnTo>
                  <a:lnTo>
                    <a:pt x="634" y="559"/>
                  </a:lnTo>
                  <a:lnTo>
                    <a:pt x="537" y="555"/>
                  </a:lnTo>
                  <a:lnTo>
                    <a:pt x="441" y="539"/>
                  </a:lnTo>
                  <a:lnTo>
                    <a:pt x="407" y="505"/>
                  </a:lnTo>
                  <a:lnTo>
                    <a:pt x="392" y="489"/>
                  </a:lnTo>
                  <a:lnTo>
                    <a:pt x="392" y="455"/>
                  </a:lnTo>
                  <a:lnTo>
                    <a:pt x="343" y="470"/>
                  </a:lnTo>
                  <a:lnTo>
                    <a:pt x="307" y="470"/>
                  </a:lnTo>
                  <a:lnTo>
                    <a:pt x="286" y="470"/>
                  </a:lnTo>
                  <a:lnTo>
                    <a:pt x="268" y="470"/>
                  </a:lnTo>
                  <a:lnTo>
                    <a:pt x="238" y="485"/>
                  </a:lnTo>
                  <a:lnTo>
                    <a:pt x="233" y="519"/>
                  </a:lnTo>
                  <a:lnTo>
                    <a:pt x="189" y="524"/>
                  </a:lnTo>
                  <a:lnTo>
                    <a:pt x="170" y="505"/>
                  </a:lnTo>
                  <a:lnTo>
                    <a:pt x="154" y="505"/>
                  </a:lnTo>
                  <a:lnTo>
                    <a:pt x="140" y="510"/>
                  </a:lnTo>
                  <a:lnTo>
                    <a:pt x="140" y="494"/>
                  </a:lnTo>
                  <a:lnTo>
                    <a:pt x="130" y="480"/>
                  </a:lnTo>
                  <a:lnTo>
                    <a:pt x="110" y="485"/>
                  </a:lnTo>
                  <a:lnTo>
                    <a:pt x="90" y="505"/>
                  </a:lnTo>
                  <a:lnTo>
                    <a:pt x="84" y="510"/>
                  </a:lnTo>
                  <a:lnTo>
                    <a:pt x="35" y="470"/>
                  </a:lnTo>
                  <a:lnTo>
                    <a:pt x="6" y="445"/>
                  </a:lnTo>
                  <a:lnTo>
                    <a:pt x="0" y="410"/>
                  </a:lnTo>
                  <a:lnTo>
                    <a:pt x="16" y="381"/>
                  </a:lnTo>
                  <a:lnTo>
                    <a:pt x="0" y="361"/>
                  </a:lnTo>
                  <a:lnTo>
                    <a:pt x="45" y="355"/>
                  </a:lnTo>
                  <a:lnTo>
                    <a:pt x="60" y="361"/>
                  </a:lnTo>
                  <a:lnTo>
                    <a:pt x="75" y="396"/>
                  </a:lnTo>
                  <a:lnTo>
                    <a:pt x="100" y="391"/>
                  </a:lnTo>
                  <a:lnTo>
                    <a:pt x="105" y="410"/>
                  </a:lnTo>
                  <a:lnTo>
                    <a:pt x="134" y="386"/>
                  </a:lnTo>
                  <a:lnTo>
                    <a:pt x="144" y="347"/>
                  </a:lnTo>
                  <a:lnTo>
                    <a:pt x="166" y="349"/>
                  </a:lnTo>
                  <a:lnTo>
                    <a:pt x="189" y="361"/>
                  </a:lnTo>
                  <a:lnTo>
                    <a:pt x="219" y="381"/>
                  </a:lnTo>
                  <a:lnTo>
                    <a:pt x="258" y="380"/>
                  </a:lnTo>
                  <a:lnTo>
                    <a:pt x="313" y="347"/>
                  </a:lnTo>
                  <a:lnTo>
                    <a:pt x="382" y="331"/>
                  </a:lnTo>
                  <a:lnTo>
                    <a:pt x="392" y="317"/>
                  </a:lnTo>
                  <a:lnTo>
                    <a:pt x="427" y="322"/>
                  </a:lnTo>
                  <a:lnTo>
                    <a:pt x="447" y="326"/>
                  </a:lnTo>
                  <a:lnTo>
                    <a:pt x="452" y="326"/>
                  </a:lnTo>
                  <a:lnTo>
                    <a:pt x="461" y="312"/>
                  </a:lnTo>
                  <a:lnTo>
                    <a:pt x="487" y="326"/>
                  </a:lnTo>
                  <a:lnTo>
                    <a:pt x="491" y="351"/>
                  </a:lnTo>
                  <a:lnTo>
                    <a:pt x="516" y="356"/>
                  </a:lnTo>
                  <a:lnTo>
                    <a:pt x="520" y="322"/>
                  </a:lnTo>
                  <a:lnTo>
                    <a:pt x="506" y="302"/>
                  </a:lnTo>
                  <a:lnTo>
                    <a:pt x="503" y="284"/>
                  </a:lnTo>
                  <a:lnTo>
                    <a:pt x="501" y="268"/>
                  </a:lnTo>
                  <a:lnTo>
                    <a:pt x="476" y="228"/>
                  </a:lnTo>
                  <a:lnTo>
                    <a:pt x="476" y="212"/>
                  </a:lnTo>
                  <a:lnTo>
                    <a:pt x="506" y="193"/>
                  </a:lnTo>
                  <a:lnTo>
                    <a:pt x="560" y="173"/>
                  </a:lnTo>
                  <a:lnTo>
                    <a:pt x="560" y="144"/>
                  </a:lnTo>
                  <a:lnTo>
                    <a:pt x="571" y="114"/>
                  </a:lnTo>
                  <a:lnTo>
                    <a:pt x="615" y="124"/>
                  </a:lnTo>
                  <a:lnTo>
                    <a:pt x="610" y="109"/>
                  </a:lnTo>
                  <a:lnTo>
                    <a:pt x="620" y="109"/>
                  </a:lnTo>
                  <a:lnTo>
                    <a:pt x="620" y="95"/>
                  </a:lnTo>
                  <a:lnTo>
                    <a:pt x="625" y="84"/>
                  </a:lnTo>
                  <a:lnTo>
                    <a:pt x="634" y="84"/>
                  </a:lnTo>
                  <a:lnTo>
                    <a:pt x="645" y="84"/>
                  </a:lnTo>
                  <a:lnTo>
                    <a:pt x="655" y="105"/>
                  </a:lnTo>
                  <a:lnTo>
                    <a:pt x="699" y="109"/>
                  </a:lnTo>
                  <a:lnTo>
                    <a:pt x="704" y="94"/>
                  </a:lnTo>
                  <a:lnTo>
                    <a:pt x="725" y="89"/>
                  </a:lnTo>
                  <a:lnTo>
                    <a:pt x="744" y="105"/>
                  </a:lnTo>
                  <a:lnTo>
                    <a:pt x="758" y="65"/>
                  </a:lnTo>
                  <a:lnTo>
                    <a:pt x="774" y="60"/>
                  </a:lnTo>
                  <a:lnTo>
                    <a:pt x="783" y="0"/>
                  </a:lnTo>
                  <a:lnTo>
                    <a:pt x="809" y="21"/>
                  </a:lnTo>
                  <a:lnTo>
                    <a:pt x="833" y="16"/>
                  </a:lnTo>
                  <a:lnTo>
                    <a:pt x="848" y="21"/>
                  </a:lnTo>
                  <a:lnTo>
                    <a:pt x="858" y="30"/>
                  </a:lnTo>
                  <a:lnTo>
                    <a:pt x="897" y="30"/>
                  </a:lnTo>
                  <a:lnTo>
                    <a:pt x="932" y="40"/>
                  </a:lnTo>
                  <a:lnTo>
                    <a:pt x="942" y="55"/>
                  </a:lnTo>
                  <a:lnTo>
                    <a:pt x="991" y="49"/>
                  </a:lnTo>
                  <a:lnTo>
                    <a:pt x="1007" y="40"/>
                  </a:lnTo>
                  <a:lnTo>
                    <a:pt x="1040" y="43"/>
                  </a:lnTo>
                  <a:lnTo>
                    <a:pt x="1066" y="49"/>
                  </a:lnTo>
                  <a:lnTo>
                    <a:pt x="1075" y="4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14" name="Freeform 42"/>
            <p:cNvSpPr>
              <a:spLocks/>
            </p:cNvSpPr>
            <p:nvPr/>
          </p:nvSpPr>
          <p:spPr bwMode="auto">
            <a:xfrm>
              <a:off x="4278312" y="4575175"/>
              <a:ext cx="350838" cy="231775"/>
            </a:xfrm>
            <a:custGeom>
              <a:avLst/>
              <a:gdLst>
                <a:gd name="T0" fmla="*/ 2147483647 w 466"/>
                <a:gd name="T1" fmla="*/ 2147483647 h 337"/>
                <a:gd name="T2" fmla="*/ 2147483647 w 466"/>
                <a:gd name="T3" fmla="*/ 2147483647 h 337"/>
                <a:gd name="T4" fmla="*/ 2147483647 w 466"/>
                <a:gd name="T5" fmla="*/ 2147483647 h 337"/>
                <a:gd name="T6" fmla="*/ 2147483647 w 466"/>
                <a:gd name="T7" fmla="*/ 2147483647 h 337"/>
                <a:gd name="T8" fmla="*/ 2147483647 w 466"/>
                <a:gd name="T9" fmla="*/ 2147483647 h 337"/>
                <a:gd name="T10" fmla="*/ 2147483647 w 466"/>
                <a:gd name="T11" fmla="*/ 2147483647 h 337"/>
                <a:gd name="T12" fmla="*/ 2147483647 w 466"/>
                <a:gd name="T13" fmla="*/ 2147483647 h 337"/>
                <a:gd name="T14" fmla="*/ 2147483647 w 466"/>
                <a:gd name="T15" fmla="*/ 2147483647 h 337"/>
                <a:gd name="T16" fmla="*/ 2147483647 w 466"/>
                <a:gd name="T17" fmla="*/ 2147483647 h 337"/>
                <a:gd name="T18" fmla="*/ 2147483647 w 466"/>
                <a:gd name="T19" fmla="*/ 2147483647 h 337"/>
                <a:gd name="T20" fmla="*/ 2147483647 w 466"/>
                <a:gd name="T21" fmla="*/ 2147483647 h 337"/>
                <a:gd name="T22" fmla="*/ 2147483647 w 466"/>
                <a:gd name="T23" fmla="*/ 2147483647 h 337"/>
                <a:gd name="T24" fmla="*/ 2147483647 w 466"/>
                <a:gd name="T25" fmla="*/ 2147483647 h 337"/>
                <a:gd name="T26" fmla="*/ 2147483647 w 466"/>
                <a:gd name="T27" fmla="*/ 2147483647 h 337"/>
                <a:gd name="T28" fmla="*/ 2147483647 w 466"/>
                <a:gd name="T29" fmla="*/ 2147483647 h 337"/>
                <a:gd name="T30" fmla="*/ 2147483647 w 466"/>
                <a:gd name="T31" fmla="*/ 2147483647 h 337"/>
                <a:gd name="T32" fmla="*/ 2147483647 w 466"/>
                <a:gd name="T33" fmla="*/ 2147483647 h 337"/>
                <a:gd name="T34" fmla="*/ 2147483647 w 466"/>
                <a:gd name="T35" fmla="*/ 2147483647 h 337"/>
                <a:gd name="T36" fmla="*/ 2147483647 w 466"/>
                <a:gd name="T37" fmla="*/ 2147483647 h 337"/>
                <a:gd name="T38" fmla="*/ 2147483647 w 466"/>
                <a:gd name="T39" fmla="*/ 2147483647 h 337"/>
                <a:gd name="T40" fmla="*/ 2147483647 w 466"/>
                <a:gd name="T41" fmla="*/ 2147483647 h 337"/>
                <a:gd name="T42" fmla="*/ 2147483647 w 466"/>
                <a:gd name="T43" fmla="*/ 2147483647 h 337"/>
                <a:gd name="T44" fmla="*/ 2147483647 w 466"/>
                <a:gd name="T45" fmla="*/ 2147483647 h 337"/>
                <a:gd name="T46" fmla="*/ 2147483647 w 466"/>
                <a:gd name="T47" fmla="*/ 2147483647 h 337"/>
                <a:gd name="T48" fmla="*/ 2147483647 w 466"/>
                <a:gd name="T49" fmla="*/ 2147483647 h 337"/>
                <a:gd name="T50" fmla="*/ 2147483647 w 466"/>
                <a:gd name="T51" fmla="*/ 2147483647 h 337"/>
                <a:gd name="T52" fmla="*/ 2147483647 w 466"/>
                <a:gd name="T53" fmla="*/ 2147483647 h 337"/>
                <a:gd name="T54" fmla="*/ 2147483647 w 466"/>
                <a:gd name="T55" fmla="*/ 2147483647 h 337"/>
                <a:gd name="T56" fmla="*/ 2147483647 w 466"/>
                <a:gd name="T57" fmla="*/ 2147483647 h 337"/>
                <a:gd name="T58" fmla="*/ 2147483647 w 466"/>
                <a:gd name="T59" fmla="*/ 2147483647 h 337"/>
                <a:gd name="T60" fmla="*/ 2147483647 w 466"/>
                <a:gd name="T61" fmla="*/ 2147483647 h 337"/>
                <a:gd name="T62" fmla="*/ 2147483647 w 466"/>
                <a:gd name="T63" fmla="*/ 2147483647 h 337"/>
                <a:gd name="T64" fmla="*/ 2147483647 w 466"/>
                <a:gd name="T65" fmla="*/ 2147483647 h 337"/>
                <a:gd name="T66" fmla="*/ 2147483647 w 466"/>
                <a:gd name="T67" fmla="*/ 2147483647 h 337"/>
                <a:gd name="T68" fmla="*/ 2147483647 w 466"/>
                <a:gd name="T69" fmla="*/ 2147483647 h 337"/>
                <a:gd name="T70" fmla="*/ 2147483647 w 466"/>
                <a:gd name="T71" fmla="*/ 2147483647 h 337"/>
                <a:gd name="T72" fmla="*/ 2147483647 w 466"/>
                <a:gd name="T73" fmla="*/ 2147483647 h 337"/>
                <a:gd name="T74" fmla="*/ 0 w 466"/>
                <a:gd name="T75" fmla="*/ 2147483647 h 337"/>
                <a:gd name="T76" fmla="*/ 2147483647 w 466"/>
                <a:gd name="T77" fmla="*/ 2147483647 h 337"/>
                <a:gd name="T78" fmla="*/ 2147483647 w 466"/>
                <a:gd name="T79" fmla="*/ 2147483647 h 337"/>
                <a:gd name="T80" fmla="*/ 2147483647 w 466"/>
                <a:gd name="T81" fmla="*/ 2147483647 h 337"/>
                <a:gd name="T82" fmla="*/ 2147483647 w 466"/>
                <a:gd name="T83" fmla="*/ 2147483647 h 337"/>
                <a:gd name="T84" fmla="*/ 2147483647 w 466"/>
                <a:gd name="T85" fmla="*/ 2147483647 h 337"/>
                <a:gd name="T86" fmla="*/ 2147483647 w 466"/>
                <a:gd name="T87" fmla="*/ 2147483647 h 337"/>
                <a:gd name="T88" fmla="*/ 2147483647 w 466"/>
                <a:gd name="T89" fmla="*/ 2147483647 h 337"/>
                <a:gd name="T90" fmla="*/ 2147483647 w 466"/>
                <a:gd name="T91" fmla="*/ 2147483647 h 337"/>
                <a:gd name="T92" fmla="*/ 2147483647 w 466"/>
                <a:gd name="T93" fmla="*/ 2147483647 h 337"/>
                <a:gd name="T94" fmla="*/ 2147483647 w 466"/>
                <a:gd name="T95" fmla="*/ 2147483647 h 337"/>
                <a:gd name="T96" fmla="*/ 2147483647 w 466"/>
                <a:gd name="T97" fmla="*/ 2147483647 h 337"/>
                <a:gd name="T98" fmla="*/ 2147483647 w 466"/>
                <a:gd name="T99" fmla="*/ 2147483647 h 337"/>
                <a:gd name="T100" fmla="*/ 2147483647 w 466"/>
                <a:gd name="T101" fmla="*/ 2147483647 h 337"/>
                <a:gd name="T102" fmla="*/ 2147483647 w 466"/>
                <a:gd name="T103" fmla="*/ 2147483647 h 337"/>
                <a:gd name="T104" fmla="*/ 2147483647 w 466"/>
                <a:gd name="T105" fmla="*/ 2147483647 h 337"/>
                <a:gd name="T106" fmla="*/ 2147483647 w 466"/>
                <a:gd name="T107" fmla="*/ 2147483647 h 337"/>
                <a:gd name="T108" fmla="*/ 2147483647 w 466"/>
                <a:gd name="T109" fmla="*/ 0 h 337"/>
                <a:gd name="T110" fmla="*/ 2147483647 w 466"/>
                <a:gd name="T111" fmla="*/ 2147483647 h 337"/>
                <a:gd name="T112" fmla="*/ 2147483647 w 466"/>
                <a:gd name="T113" fmla="*/ 2147483647 h 337"/>
                <a:gd name="T114" fmla="*/ 2147483647 w 466"/>
                <a:gd name="T115" fmla="*/ 2147483647 h 3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66"/>
                <a:gd name="T175" fmla="*/ 0 h 337"/>
                <a:gd name="T176" fmla="*/ 466 w 466"/>
                <a:gd name="T177" fmla="*/ 337 h 3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66" h="337">
                  <a:moveTo>
                    <a:pt x="466" y="75"/>
                  </a:moveTo>
                  <a:lnTo>
                    <a:pt x="441" y="70"/>
                  </a:lnTo>
                  <a:lnTo>
                    <a:pt x="436" y="100"/>
                  </a:lnTo>
                  <a:lnTo>
                    <a:pt x="397" y="109"/>
                  </a:lnTo>
                  <a:lnTo>
                    <a:pt x="397" y="130"/>
                  </a:lnTo>
                  <a:lnTo>
                    <a:pt x="382" y="135"/>
                  </a:lnTo>
                  <a:lnTo>
                    <a:pt x="352" y="154"/>
                  </a:lnTo>
                  <a:lnTo>
                    <a:pt x="356" y="193"/>
                  </a:lnTo>
                  <a:lnTo>
                    <a:pt x="360" y="215"/>
                  </a:lnTo>
                  <a:lnTo>
                    <a:pt x="357" y="233"/>
                  </a:lnTo>
                  <a:lnTo>
                    <a:pt x="322" y="243"/>
                  </a:lnTo>
                  <a:lnTo>
                    <a:pt x="297" y="258"/>
                  </a:lnTo>
                  <a:lnTo>
                    <a:pt x="313" y="277"/>
                  </a:lnTo>
                  <a:lnTo>
                    <a:pt x="308" y="293"/>
                  </a:lnTo>
                  <a:lnTo>
                    <a:pt x="313" y="312"/>
                  </a:lnTo>
                  <a:lnTo>
                    <a:pt x="303" y="326"/>
                  </a:lnTo>
                  <a:lnTo>
                    <a:pt x="273" y="326"/>
                  </a:lnTo>
                  <a:lnTo>
                    <a:pt x="253" y="312"/>
                  </a:lnTo>
                  <a:lnTo>
                    <a:pt x="229" y="322"/>
                  </a:lnTo>
                  <a:lnTo>
                    <a:pt x="203" y="298"/>
                  </a:lnTo>
                  <a:lnTo>
                    <a:pt x="194" y="268"/>
                  </a:lnTo>
                  <a:lnTo>
                    <a:pt x="189" y="298"/>
                  </a:lnTo>
                  <a:lnTo>
                    <a:pt x="164" y="322"/>
                  </a:lnTo>
                  <a:lnTo>
                    <a:pt x="151" y="323"/>
                  </a:lnTo>
                  <a:lnTo>
                    <a:pt x="130" y="322"/>
                  </a:lnTo>
                  <a:lnTo>
                    <a:pt x="112" y="322"/>
                  </a:lnTo>
                  <a:lnTo>
                    <a:pt x="99" y="326"/>
                  </a:lnTo>
                  <a:lnTo>
                    <a:pt x="105" y="337"/>
                  </a:lnTo>
                  <a:lnTo>
                    <a:pt x="65" y="337"/>
                  </a:lnTo>
                  <a:lnTo>
                    <a:pt x="35" y="331"/>
                  </a:lnTo>
                  <a:lnTo>
                    <a:pt x="65" y="303"/>
                  </a:lnTo>
                  <a:lnTo>
                    <a:pt x="84" y="303"/>
                  </a:lnTo>
                  <a:lnTo>
                    <a:pt x="75" y="268"/>
                  </a:lnTo>
                  <a:lnTo>
                    <a:pt x="20" y="243"/>
                  </a:lnTo>
                  <a:lnTo>
                    <a:pt x="20" y="208"/>
                  </a:lnTo>
                  <a:lnTo>
                    <a:pt x="40" y="189"/>
                  </a:lnTo>
                  <a:lnTo>
                    <a:pt x="26" y="169"/>
                  </a:lnTo>
                  <a:lnTo>
                    <a:pt x="0" y="169"/>
                  </a:lnTo>
                  <a:lnTo>
                    <a:pt x="10" y="144"/>
                  </a:lnTo>
                  <a:lnTo>
                    <a:pt x="40" y="119"/>
                  </a:lnTo>
                  <a:lnTo>
                    <a:pt x="64" y="100"/>
                  </a:lnTo>
                  <a:lnTo>
                    <a:pt x="54" y="100"/>
                  </a:lnTo>
                  <a:lnTo>
                    <a:pt x="124" y="114"/>
                  </a:lnTo>
                  <a:lnTo>
                    <a:pt x="159" y="118"/>
                  </a:lnTo>
                  <a:lnTo>
                    <a:pt x="178" y="119"/>
                  </a:lnTo>
                  <a:lnTo>
                    <a:pt x="194" y="119"/>
                  </a:lnTo>
                  <a:lnTo>
                    <a:pt x="229" y="70"/>
                  </a:lnTo>
                  <a:lnTo>
                    <a:pt x="275" y="65"/>
                  </a:lnTo>
                  <a:lnTo>
                    <a:pt x="302" y="65"/>
                  </a:lnTo>
                  <a:lnTo>
                    <a:pt x="322" y="60"/>
                  </a:lnTo>
                  <a:lnTo>
                    <a:pt x="337" y="45"/>
                  </a:lnTo>
                  <a:lnTo>
                    <a:pt x="364" y="42"/>
                  </a:lnTo>
                  <a:lnTo>
                    <a:pt x="380" y="42"/>
                  </a:lnTo>
                  <a:lnTo>
                    <a:pt x="392" y="40"/>
                  </a:lnTo>
                  <a:lnTo>
                    <a:pt x="397" y="0"/>
                  </a:lnTo>
                  <a:lnTo>
                    <a:pt x="434" y="14"/>
                  </a:lnTo>
                  <a:lnTo>
                    <a:pt x="460" y="50"/>
                  </a:lnTo>
                  <a:lnTo>
                    <a:pt x="466" y="75"/>
                  </a:lnTo>
                  <a:close/>
                </a:path>
              </a:pathLst>
            </a:custGeom>
            <a:grpFill/>
            <a:ln w="11176" cap="flat" cmpd="sng">
              <a:noFill/>
              <a:prstDash val="solid"/>
              <a:round/>
              <a:headEnd type="none" w="med" len="med"/>
              <a:tailEnd type="none" w="med" len="med"/>
            </a:ln>
          </p:spPr>
          <p:txBody>
            <a:bodyPr/>
            <a:lstStyle/>
            <a:p>
              <a:pPr>
                <a:defRPr/>
              </a:pPr>
              <a:endParaRPr lang="fr-FR" sz="2400">
                <a:solidFill>
                  <a:srgbClr val="000000"/>
                </a:solidFill>
              </a:endParaRPr>
            </a:p>
          </p:txBody>
        </p:sp>
        <p:sp>
          <p:nvSpPr>
            <p:cNvPr id="215" name="Freeform 50"/>
            <p:cNvSpPr>
              <a:spLocks/>
            </p:cNvSpPr>
            <p:nvPr/>
          </p:nvSpPr>
          <p:spPr bwMode="auto">
            <a:xfrm>
              <a:off x="5216525" y="5164138"/>
              <a:ext cx="746125" cy="885825"/>
            </a:xfrm>
            <a:custGeom>
              <a:avLst/>
              <a:gdLst/>
              <a:ahLst/>
              <a:cxnLst>
                <a:cxn ang="0">
                  <a:pos x="75" y="741"/>
                </a:cxn>
                <a:cxn ang="0">
                  <a:pos x="184" y="761"/>
                </a:cxn>
                <a:cxn ang="0">
                  <a:pos x="90" y="836"/>
                </a:cxn>
                <a:cxn ang="0">
                  <a:pos x="154" y="825"/>
                </a:cxn>
                <a:cxn ang="0">
                  <a:pos x="238" y="880"/>
                </a:cxn>
                <a:cxn ang="0">
                  <a:pos x="367" y="875"/>
                </a:cxn>
                <a:cxn ang="0">
                  <a:pos x="471" y="860"/>
                </a:cxn>
                <a:cxn ang="0">
                  <a:pos x="560" y="914"/>
                </a:cxn>
                <a:cxn ang="0">
                  <a:pos x="471" y="924"/>
                </a:cxn>
                <a:cxn ang="0">
                  <a:pos x="259" y="929"/>
                </a:cxn>
                <a:cxn ang="0">
                  <a:pos x="238" y="1023"/>
                </a:cxn>
                <a:cxn ang="0">
                  <a:pos x="333" y="1176"/>
                </a:cxn>
                <a:cxn ang="0">
                  <a:pos x="406" y="1244"/>
                </a:cxn>
                <a:cxn ang="0">
                  <a:pos x="492" y="1240"/>
                </a:cxn>
                <a:cxn ang="0">
                  <a:pos x="506" y="1220"/>
                </a:cxn>
                <a:cxn ang="0">
                  <a:pos x="625" y="1274"/>
                </a:cxn>
                <a:cxn ang="0">
                  <a:pos x="581" y="1151"/>
                </a:cxn>
                <a:cxn ang="0">
                  <a:pos x="581" y="1043"/>
                </a:cxn>
                <a:cxn ang="0">
                  <a:pos x="644" y="1018"/>
                </a:cxn>
                <a:cxn ang="0">
                  <a:pos x="605" y="993"/>
                </a:cxn>
                <a:cxn ang="0">
                  <a:pos x="546" y="939"/>
                </a:cxn>
                <a:cxn ang="0">
                  <a:pos x="611" y="920"/>
                </a:cxn>
                <a:cxn ang="0">
                  <a:pos x="729" y="973"/>
                </a:cxn>
                <a:cxn ang="0">
                  <a:pos x="655" y="830"/>
                </a:cxn>
                <a:cxn ang="0">
                  <a:pos x="779" y="890"/>
                </a:cxn>
                <a:cxn ang="0">
                  <a:pos x="729" y="810"/>
                </a:cxn>
                <a:cxn ang="0">
                  <a:pos x="550" y="687"/>
                </a:cxn>
                <a:cxn ang="0">
                  <a:pos x="476" y="662"/>
                </a:cxn>
                <a:cxn ang="0">
                  <a:pos x="541" y="673"/>
                </a:cxn>
                <a:cxn ang="0">
                  <a:pos x="417" y="529"/>
                </a:cxn>
                <a:cxn ang="0">
                  <a:pos x="432" y="361"/>
                </a:cxn>
                <a:cxn ang="0">
                  <a:pos x="481" y="430"/>
                </a:cxn>
                <a:cxn ang="0">
                  <a:pos x="555" y="465"/>
                </a:cxn>
                <a:cxn ang="0">
                  <a:pos x="581" y="459"/>
                </a:cxn>
                <a:cxn ang="0">
                  <a:pos x="576" y="410"/>
                </a:cxn>
                <a:cxn ang="0">
                  <a:pos x="644" y="400"/>
                </a:cxn>
                <a:cxn ang="0">
                  <a:pos x="644" y="370"/>
                </a:cxn>
                <a:cxn ang="0">
                  <a:pos x="571" y="291"/>
                </a:cxn>
                <a:cxn ang="0">
                  <a:pos x="684" y="242"/>
                </a:cxn>
                <a:cxn ang="0">
                  <a:pos x="824" y="215"/>
                </a:cxn>
                <a:cxn ang="0">
                  <a:pos x="952" y="193"/>
                </a:cxn>
                <a:cxn ang="0">
                  <a:pos x="991" y="65"/>
                </a:cxn>
                <a:cxn ang="0">
                  <a:pos x="893" y="5"/>
                </a:cxn>
                <a:cxn ang="0">
                  <a:pos x="848" y="119"/>
                </a:cxn>
                <a:cxn ang="0">
                  <a:pos x="749" y="123"/>
                </a:cxn>
                <a:cxn ang="0">
                  <a:pos x="590" y="109"/>
                </a:cxn>
                <a:cxn ang="0">
                  <a:pos x="457" y="173"/>
                </a:cxn>
                <a:cxn ang="0">
                  <a:pos x="317" y="258"/>
                </a:cxn>
                <a:cxn ang="0">
                  <a:pos x="224" y="326"/>
                </a:cxn>
                <a:cxn ang="0">
                  <a:pos x="130" y="351"/>
                </a:cxn>
                <a:cxn ang="0">
                  <a:pos x="110" y="420"/>
                </a:cxn>
                <a:cxn ang="0">
                  <a:pos x="16" y="573"/>
                </a:cxn>
                <a:cxn ang="0">
                  <a:pos x="0" y="647"/>
                </a:cxn>
              </a:cxnLst>
              <a:rect l="0" t="0" r="r" b="b"/>
              <a:pathLst>
                <a:path w="991" h="1290">
                  <a:moveTo>
                    <a:pt x="0" y="647"/>
                  </a:moveTo>
                  <a:lnTo>
                    <a:pt x="5" y="682"/>
                  </a:lnTo>
                  <a:lnTo>
                    <a:pt x="16" y="712"/>
                  </a:lnTo>
                  <a:lnTo>
                    <a:pt x="56" y="727"/>
                  </a:lnTo>
                  <a:lnTo>
                    <a:pt x="75" y="741"/>
                  </a:lnTo>
                  <a:lnTo>
                    <a:pt x="100" y="761"/>
                  </a:lnTo>
                  <a:lnTo>
                    <a:pt x="114" y="785"/>
                  </a:lnTo>
                  <a:lnTo>
                    <a:pt x="119" y="756"/>
                  </a:lnTo>
                  <a:lnTo>
                    <a:pt x="159" y="761"/>
                  </a:lnTo>
                  <a:lnTo>
                    <a:pt x="184" y="761"/>
                  </a:lnTo>
                  <a:lnTo>
                    <a:pt x="184" y="796"/>
                  </a:lnTo>
                  <a:lnTo>
                    <a:pt x="159" y="776"/>
                  </a:lnTo>
                  <a:lnTo>
                    <a:pt x="130" y="790"/>
                  </a:lnTo>
                  <a:lnTo>
                    <a:pt x="110" y="806"/>
                  </a:lnTo>
                  <a:lnTo>
                    <a:pt x="90" y="836"/>
                  </a:lnTo>
                  <a:lnTo>
                    <a:pt x="84" y="855"/>
                  </a:lnTo>
                  <a:lnTo>
                    <a:pt x="114" y="855"/>
                  </a:lnTo>
                  <a:lnTo>
                    <a:pt x="119" y="840"/>
                  </a:lnTo>
                  <a:lnTo>
                    <a:pt x="130" y="820"/>
                  </a:lnTo>
                  <a:lnTo>
                    <a:pt x="154" y="825"/>
                  </a:lnTo>
                  <a:lnTo>
                    <a:pt x="175" y="845"/>
                  </a:lnTo>
                  <a:lnTo>
                    <a:pt x="175" y="875"/>
                  </a:lnTo>
                  <a:lnTo>
                    <a:pt x="189" y="880"/>
                  </a:lnTo>
                  <a:lnTo>
                    <a:pt x="208" y="909"/>
                  </a:lnTo>
                  <a:lnTo>
                    <a:pt x="238" y="880"/>
                  </a:lnTo>
                  <a:lnTo>
                    <a:pt x="263" y="904"/>
                  </a:lnTo>
                  <a:lnTo>
                    <a:pt x="298" y="890"/>
                  </a:lnTo>
                  <a:lnTo>
                    <a:pt x="323" y="875"/>
                  </a:lnTo>
                  <a:lnTo>
                    <a:pt x="352" y="864"/>
                  </a:lnTo>
                  <a:lnTo>
                    <a:pt x="367" y="875"/>
                  </a:lnTo>
                  <a:lnTo>
                    <a:pt x="412" y="864"/>
                  </a:lnTo>
                  <a:lnTo>
                    <a:pt x="417" y="855"/>
                  </a:lnTo>
                  <a:lnTo>
                    <a:pt x="441" y="850"/>
                  </a:lnTo>
                  <a:lnTo>
                    <a:pt x="446" y="875"/>
                  </a:lnTo>
                  <a:lnTo>
                    <a:pt x="471" y="860"/>
                  </a:lnTo>
                  <a:lnTo>
                    <a:pt x="486" y="875"/>
                  </a:lnTo>
                  <a:lnTo>
                    <a:pt x="516" y="875"/>
                  </a:lnTo>
                  <a:lnTo>
                    <a:pt x="555" y="864"/>
                  </a:lnTo>
                  <a:lnTo>
                    <a:pt x="576" y="885"/>
                  </a:lnTo>
                  <a:lnTo>
                    <a:pt x="560" y="914"/>
                  </a:lnTo>
                  <a:lnTo>
                    <a:pt x="541" y="904"/>
                  </a:lnTo>
                  <a:lnTo>
                    <a:pt x="520" y="914"/>
                  </a:lnTo>
                  <a:lnTo>
                    <a:pt x="525" y="948"/>
                  </a:lnTo>
                  <a:lnTo>
                    <a:pt x="501" y="948"/>
                  </a:lnTo>
                  <a:lnTo>
                    <a:pt x="471" y="924"/>
                  </a:lnTo>
                  <a:lnTo>
                    <a:pt x="402" y="904"/>
                  </a:lnTo>
                  <a:lnTo>
                    <a:pt x="357" y="890"/>
                  </a:lnTo>
                  <a:lnTo>
                    <a:pt x="322" y="899"/>
                  </a:lnTo>
                  <a:lnTo>
                    <a:pt x="308" y="929"/>
                  </a:lnTo>
                  <a:lnTo>
                    <a:pt x="259" y="929"/>
                  </a:lnTo>
                  <a:lnTo>
                    <a:pt x="243" y="959"/>
                  </a:lnTo>
                  <a:lnTo>
                    <a:pt x="243" y="993"/>
                  </a:lnTo>
                  <a:lnTo>
                    <a:pt x="208" y="1008"/>
                  </a:lnTo>
                  <a:lnTo>
                    <a:pt x="208" y="1027"/>
                  </a:lnTo>
                  <a:lnTo>
                    <a:pt x="238" y="1023"/>
                  </a:lnTo>
                  <a:lnTo>
                    <a:pt x="268" y="1057"/>
                  </a:lnTo>
                  <a:lnTo>
                    <a:pt x="322" y="1092"/>
                  </a:lnTo>
                  <a:lnTo>
                    <a:pt x="338" y="1121"/>
                  </a:lnTo>
                  <a:lnTo>
                    <a:pt x="327" y="1146"/>
                  </a:lnTo>
                  <a:lnTo>
                    <a:pt x="333" y="1176"/>
                  </a:lnTo>
                  <a:lnTo>
                    <a:pt x="357" y="1195"/>
                  </a:lnTo>
                  <a:lnTo>
                    <a:pt x="352" y="1220"/>
                  </a:lnTo>
                  <a:lnTo>
                    <a:pt x="382" y="1225"/>
                  </a:lnTo>
                  <a:lnTo>
                    <a:pt x="387" y="1244"/>
                  </a:lnTo>
                  <a:lnTo>
                    <a:pt x="406" y="1244"/>
                  </a:lnTo>
                  <a:lnTo>
                    <a:pt x="406" y="1176"/>
                  </a:lnTo>
                  <a:lnTo>
                    <a:pt x="436" y="1166"/>
                  </a:lnTo>
                  <a:lnTo>
                    <a:pt x="432" y="1195"/>
                  </a:lnTo>
                  <a:lnTo>
                    <a:pt x="457" y="1195"/>
                  </a:lnTo>
                  <a:lnTo>
                    <a:pt x="492" y="1240"/>
                  </a:lnTo>
                  <a:lnTo>
                    <a:pt x="481" y="1270"/>
                  </a:lnTo>
                  <a:lnTo>
                    <a:pt x="520" y="1290"/>
                  </a:lnTo>
                  <a:lnTo>
                    <a:pt x="523" y="1279"/>
                  </a:lnTo>
                  <a:lnTo>
                    <a:pt x="517" y="1259"/>
                  </a:lnTo>
                  <a:lnTo>
                    <a:pt x="506" y="1220"/>
                  </a:lnTo>
                  <a:lnTo>
                    <a:pt x="520" y="1200"/>
                  </a:lnTo>
                  <a:lnTo>
                    <a:pt x="546" y="1195"/>
                  </a:lnTo>
                  <a:lnTo>
                    <a:pt x="550" y="1220"/>
                  </a:lnTo>
                  <a:lnTo>
                    <a:pt x="585" y="1240"/>
                  </a:lnTo>
                  <a:lnTo>
                    <a:pt x="625" y="1274"/>
                  </a:lnTo>
                  <a:lnTo>
                    <a:pt x="639" y="1250"/>
                  </a:lnTo>
                  <a:lnTo>
                    <a:pt x="621" y="1234"/>
                  </a:lnTo>
                  <a:lnTo>
                    <a:pt x="600" y="1216"/>
                  </a:lnTo>
                  <a:lnTo>
                    <a:pt x="605" y="1186"/>
                  </a:lnTo>
                  <a:lnTo>
                    <a:pt x="581" y="1151"/>
                  </a:lnTo>
                  <a:lnTo>
                    <a:pt x="546" y="1102"/>
                  </a:lnTo>
                  <a:lnTo>
                    <a:pt x="525" y="1062"/>
                  </a:lnTo>
                  <a:lnTo>
                    <a:pt x="516" y="1032"/>
                  </a:lnTo>
                  <a:lnTo>
                    <a:pt x="560" y="1032"/>
                  </a:lnTo>
                  <a:lnTo>
                    <a:pt x="581" y="1043"/>
                  </a:lnTo>
                  <a:lnTo>
                    <a:pt x="576" y="1072"/>
                  </a:lnTo>
                  <a:lnTo>
                    <a:pt x="611" y="1078"/>
                  </a:lnTo>
                  <a:lnTo>
                    <a:pt x="620" y="1053"/>
                  </a:lnTo>
                  <a:lnTo>
                    <a:pt x="655" y="1032"/>
                  </a:lnTo>
                  <a:lnTo>
                    <a:pt x="644" y="1018"/>
                  </a:lnTo>
                  <a:lnTo>
                    <a:pt x="620" y="1023"/>
                  </a:lnTo>
                  <a:lnTo>
                    <a:pt x="625" y="1008"/>
                  </a:lnTo>
                  <a:lnTo>
                    <a:pt x="639" y="1003"/>
                  </a:lnTo>
                  <a:lnTo>
                    <a:pt x="630" y="988"/>
                  </a:lnTo>
                  <a:lnTo>
                    <a:pt x="605" y="993"/>
                  </a:lnTo>
                  <a:lnTo>
                    <a:pt x="605" y="1037"/>
                  </a:lnTo>
                  <a:lnTo>
                    <a:pt x="600" y="1008"/>
                  </a:lnTo>
                  <a:lnTo>
                    <a:pt x="581" y="1003"/>
                  </a:lnTo>
                  <a:lnTo>
                    <a:pt x="571" y="964"/>
                  </a:lnTo>
                  <a:lnTo>
                    <a:pt x="546" y="939"/>
                  </a:lnTo>
                  <a:lnTo>
                    <a:pt x="565" y="944"/>
                  </a:lnTo>
                  <a:lnTo>
                    <a:pt x="571" y="924"/>
                  </a:lnTo>
                  <a:lnTo>
                    <a:pt x="576" y="939"/>
                  </a:lnTo>
                  <a:lnTo>
                    <a:pt x="576" y="924"/>
                  </a:lnTo>
                  <a:lnTo>
                    <a:pt x="611" y="920"/>
                  </a:lnTo>
                  <a:lnTo>
                    <a:pt x="625" y="948"/>
                  </a:lnTo>
                  <a:lnTo>
                    <a:pt x="630" y="909"/>
                  </a:lnTo>
                  <a:lnTo>
                    <a:pt x="660" y="920"/>
                  </a:lnTo>
                  <a:lnTo>
                    <a:pt x="695" y="944"/>
                  </a:lnTo>
                  <a:lnTo>
                    <a:pt x="729" y="973"/>
                  </a:lnTo>
                  <a:lnTo>
                    <a:pt x="734" y="909"/>
                  </a:lnTo>
                  <a:lnTo>
                    <a:pt x="709" y="904"/>
                  </a:lnTo>
                  <a:lnTo>
                    <a:pt x="709" y="880"/>
                  </a:lnTo>
                  <a:lnTo>
                    <a:pt x="709" y="845"/>
                  </a:lnTo>
                  <a:lnTo>
                    <a:pt x="655" y="830"/>
                  </a:lnTo>
                  <a:lnTo>
                    <a:pt x="650" y="801"/>
                  </a:lnTo>
                  <a:lnTo>
                    <a:pt x="695" y="806"/>
                  </a:lnTo>
                  <a:lnTo>
                    <a:pt x="729" y="840"/>
                  </a:lnTo>
                  <a:lnTo>
                    <a:pt x="753" y="860"/>
                  </a:lnTo>
                  <a:lnTo>
                    <a:pt x="779" y="890"/>
                  </a:lnTo>
                  <a:lnTo>
                    <a:pt x="814" y="869"/>
                  </a:lnTo>
                  <a:lnTo>
                    <a:pt x="814" y="850"/>
                  </a:lnTo>
                  <a:lnTo>
                    <a:pt x="779" y="836"/>
                  </a:lnTo>
                  <a:lnTo>
                    <a:pt x="739" y="836"/>
                  </a:lnTo>
                  <a:lnTo>
                    <a:pt x="729" y="810"/>
                  </a:lnTo>
                  <a:lnTo>
                    <a:pt x="734" y="761"/>
                  </a:lnTo>
                  <a:lnTo>
                    <a:pt x="690" y="752"/>
                  </a:lnTo>
                  <a:lnTo>
                    <a:pt x="635" y="741"/>
                  </a:lnTo>
                  <a:lnTo>
                    <a:pt x="585" y="717"/>
                  </a:lnTo>
                  <a:lnTo>
                    <a:pt x="550" y="687"/>
                  </a:lnTo>
                  <a:lnTo>
                    <a:pt x="526" y="710"/>
                  </a:lnTo>
                  <a:lnTo>
                    <a:pt x="501" y="731"/>
                  </a:lnTo>
                  <a:lnTo>
                    <a:pt x="496" y="706"/>
                  </a:lnTo>
                  <a:lnTo>
                    <a:pt x="492" y="682"/>
                  </a:lnTo>
                  <a:lnTo>
                    <a:pt x="476" y="662"/>
                  </a:lnTo>
                  <a:lnTo>
                    <a:pt x="476" y="633"/>
                  </a:lnTo>
                  <a:lnTo>
                    <a:pt x="501" y="643"/>
                  </a:lnTo>
                  <a:lnTo>
                    <a:pt x="520" y="662"/>
                  </a:lnTo>
                  <a:lnTo>
                    <a:pt x="516" y="687"/>
                  </a:lnTo>
                  <a:lnTo>
                    <a:pt x="541" y="673"/>
                  </a:lnTo>
                  <a:lnTo>
                    <a:pt x="555" y="652"/>
                  </a:lnTo>
                  <a:lnTo>
                    <a:pt x="536" y="626"/>
                  </a:lnTo>
                  <a:lnTo>
                    <a:pt x="506" y="603"/>
                  </a:lnTo>
                  <a:lnTo>
                    <a:pt x="462" y="578"/>
                  </a:lnTo>
                  <a:lnTo>
                    <a:pt x="417" y="529"/>
                  </a:lnTo>
                  <a:lnTo>
                    <a:pt x="378" y="470"/>
                  </a:lnTo>
                  <a:lnTo>
                    <a:pt x="378" y="420"/>
                  </a:lnTo>
                  <a:lnTo>
                    <a:pt x="378" y="391"/>
                  </a:lnTo>
                  <a:lnTo>
                    <a:pt x="406" y="361"/>
                  </a:lnTo>
                  <a:lnTo>
                    <a:pt x="432" y="361"/>
                  </a:lnTo>
                  <a:lnTo>
                    <a:pt x="432" y="375"/>
                  </a:lnTo>
                  <a:lnTo>
                    <a:pt x="422" y="381"/>
                  </a:lnTo>
                  <a:lnTo>
                    <a:pt x="412" y="396"/>
                  </a:lnTo>
                  <a:lnTo>
                    <a:pt x="446" y="405"/>
                  </a:lnTo>
                  <a:lnTo>
                    <a:pt x="481" y="430"/>
                  </a:lnTo>
                  <a:lnTo>
                    <a:pt x="496" y="440"/>
                  </a:lnTo>
                  <a:lnTo>
                    <a:pt x="511" y="465"/>
                  </a:lnTo>
                  <a:lnTo>
                    <a:pt x="531" y="484"/>
                  </a:lnTo>
                  <a:lnTo>
                    <a:pt x="581" y="484"/>
                  </a:lnTo>
                  <a:lnTo>
                    <a:pt x="555" y="465"/>
                  </a:lnTo>
                  <a:lnTo>
                    <a:pt x="520" y="450"/>
                  </a:lnTo>
                  <a:lnTo>
                    <a:pt x="511" y="420"/>
                  </a:lnTo>
                  <a:lnTo>
                    <a:pt x="560" y="426"/>
                  </a:lnTo>
                  <a:lnTo>
                    <a:pt x="576" y="435"/>
                  </a:lnTo>
                  <a:lnTo>
                    <a:pt x="581" y="459"/>
                  </a:lnTo>
                  <a:lnTo>
                    <a:pt x="605" y="459"/>
                  </a:lnTo>
                  <a:lnTo>
                    <a:pt x="625" y="475"/>
                  </a:lnTo>
                  <a:lnTo>
                    <a:pt x="635" y="450"/>
                  </a:lnTo>
                  <a:lnTo>
                    <a:pt x="615" y="420"/>
                  </a:lnTo>
                  <a:lnTo>
                    <a:pt x="576" y="410"/>
                  </a:lnTo>
                  <a:lnTo>
                    <a:pt x="565" y="396"/>
                  </a:lnTo>
                  <a:lnTo>
                    <a:pt x="581" y="381"/>
                  </a:lnTo>
                  <a:lnTo>
                    <a:pt x="605" y="375"/>
                  </a:lnTo>
                  <a:lnTo>
                    <a:pt x="615" y="391"/>
                  </a:lnTo>
                  <a:lnTo>
                    <a:pt x="644" y="400"/>
                  </a:lnTo>
                  <a:lnTo>
                    <a:pt x="669" y="430"/>
                  </a:lnTo>
                  <a:lnTo>
                    <a:pt x="684" y="420"/>
                  </a:lnTo>
                  <a:lnTo>
                    <a:pt x="674" y="391"/>
                  </a:lnTo>
                  <a:lnTo>
                    <a:pt x="644" y="386"/>
                  </a:lnTo>
                  <a:lnTo>
                    <a:pt x="644" y="370"/>
                  </a:lnTo>
                  <a:lnTo>
                    <a:pt x="581" y="356"/>
                  </a:lnTo>
                  <a:lnTo>
                    <a:pt x="571" y="331"/>
                  </a:lnTo>
                  <a:lnTo>
                    <a:pt x="531" y="321"/>
                  </a:lnTo>
                  <a:lnTo>
                    <a:pt x="531" y="307"/>
                  </a:lnTo>
                  <a:lnTo>
                    <a:pt x="571" y="291"/>
                  </a:lnTo>
                  <a:lnTo>
                    <a:pt x="596" y="294"/>
                  </a:lnTo>
                  <a:lnTo>
                    <a:pt x="620" y="296"/>
                  </a:lnTo>
                  <a:lnTo>
                    <a:pt x="635" y="272"/>
                  </a:lnTo>
                  <a:lnTo>
                    <a:pt x="660" y="233"/>
                  </a:lnTo>
                  <a:lnTo>
                    <a:pt x="684" y="242"/>
                  </a:lnTo>
                  <a:lnTo>
                    <a:pt x="719" y="233"/>
                  </a:lnTo>
                  <a:lnTo>
                    <a:pt x="749" y="203"/>
                  </a:lnTo>
                  <a:lnTo>
                    <a:pt x="769" y="204"/>
                  </a:lnTo>
                  <a:lnTo>
                    <a:pt x="793" y="212"/>
                  </a:lnTo>
                  <a:lnTo>
                    <a:pt x="824" y="215"/>
                  </a:lnTo>
                  <a:lnTo>
                    <a:pt x="858" y="218"/>
                  </a:lnTo>
                  <a:lnTo>
                    <a:pt x="887" y="215"/>
                  </a:lnTo>
                  <a:lnTo>
                    <a:pt x="917" y="212"/>
                  </a:lnTo>
                  <a:lnTo>
                    <a:pt x="932" y="228"/>
                  </a:lnTo>
                  <a:lnTo>
                    <a:pt x="952" y="193"/>
                  </a:lnTo>
                  <a:lnTo>
                    <a:pt x="967" y="168"/>
                  </a:lnTo>
                  <a:lnTo>
                    <a:pt x="961" y="144"/>
                  </a:lnTo>
                  <a:lnTo>
                    <a:pt x="952" y="114"/>
                  </a:lnTo>
                  <a:lnTo>
                    <a:pt x="961" y="95"/>
                  </a:lnTo>
                  <a:lnTo>
                    <a:pt x="991" y="65"/>
                  </a:lnTo>
                  <a:lnTo>
                    <a:pt x="991" y="44"/>
                  </a:lnTo>
                  <a:lnTo>
                    <a:pt x="977" y="11"/>
                  </a:lnTo>
                  <a:lnTo>
                    <a:pt x="928" y="0"/>
                  </a:lnTo>
                  <a:lnTo>
                    <a:pt x="928" y="5"/>
                  </a:lnTo>
                  <a:lnTo>
                    <a:pt x="893" y="5"/>
                  </a:lnTo>
                  <a:lnTo>
                    <a:pt x="893" y="25"/>
                  </a:lnTo>
                  <a:lnTo>
                    <a:pt x="917" y="55"/>
                  </a:lnTo>
                  <a:lnTo>
                    <a:pt x="907" y="95"/>
                  </a:lnTo>
                  <a:lnTo>
                    <a:pt x="868" y="99"/>
                  </a:lnTo>
                  <a:lnTo>
                    <a:pt x="848" y="119"/>
                  </a:lnTo>
                  <a:lnTo>
                    <a:pt x="823" y="114"/>
                  </a:lnTo>
                  <a:lnTo>
                    <a:pt x="814" y="123"/>
                  </a:lnTo>
                  <a:lnTo>
                    <a:pt x="788" y="139"/>
                  </a:lnTo>
                  <a:lnTo>
                    <a:pt x="763" y="139"/>
                  </a:lnTo>
                  <a:lnTo>
                    <a:pt x="749" y="123"/>
                  </a:lnTo>
                  <a:lnTo>
                    <a:pt x="695" y="123"/>
                  </a:lnTo>
                  <a:lnTo>
                    <a:pt x="655" y="119"/>
                  </a:lnTo>
                  <a:lnTo>
                    <a:pt x="639" y="99"/>
                  </a:lnTo>
                  <a:lnTo>
                    <a:pt x="625" y="114"/>
                  </a:lnTo>
                  <a:lnTo>
                    <a:pt x="590" y="109"/>
                  </a:lnTo>
                  <a:lnTo>
                    <a:pt x="571" y="123"/>
                  </a:lnTo>
                  <a:lnTo>
                    <a:pt x="576" y="139"/>
                  </a:lnTo>
                  <a:lnTo>
                    <a:pt x="546" y="144"/>
                  </a:lnTo>
                  <a:lnTo>
                    <a:pt x="520" y="163"/>
                  </a:lnTo>
                  <a:lnTo>
                    <a:pt x="457" y="173"/>
                  </a:lnTo>
                  <a:lnTo>
                    <a:pt x="422" y="203"/>
                  </a:lnTo>
                  <a:lnTo>
                    <a:pt x="397" y="193"/>
                  </a:lnTo>
                  <a:lnTo>
                    <a:pt x="378" y="203"/>
                  </a:lnTo>
                  <a:lnTo>
                    <a:pt x="367" y="242"/>
                  </a:lnTo>
                  <a:lnTo>
                    <a:pt x="317" y="258"/>
                  </a:lnTo>
                  <a:lnTo>
                    <a:pt x="287" y="252"/>
                  </a:lnTo>
                  <a:lnTo>
                    <a:pt x="268" y="267"/>
                  </a:lnTo>
                  <a:lnTo>
                    <a:pt x="243" y="272"/>
                  </a:lnTo>
                  <a:lnTo>
                    <a:pt x="229" y="307"/>
                  </a:lnTo>
                  <a:lnTo>
                    <a:pt x="224" y="326"/>
                  </a:lnTo>
                  <a:lnTo>
                    <a:pt x="199" y="326"/>
                  </a:lnTo>
                  <a:lnTo>
                    <a:pt x="199" y="342"/>
                  </a:lnTo>
                  <a:lnTo>
                    <a:pt x="164" y="336"/>
                  </a:lnTo>
                  <a:lnTo>
                    <a:pt x="159" y="346"/>
                  </a:lnTo>
                  <a:lnTo>
                    <a:pt x="130" y="351"/>
                  </a:lnTo>
                  <a:lnTo>
                    <a:pt x="90" y="356"/>
                  </a:lnTo>
                  <a:lnTo>
                    <a:pt x="90" y="351"/>
                  </a:lnTo>
                  <a:lnTo>
                    <a:pt x="95" y="386"/>
                  </a:lnTo>
                  <a:lnTo>
                    <a:pt x="110" y="400"/>
                  </a:lnTo>
                  <a:lnTo>
                    <a:pt x="110" y="420"/>
                  </a:lnTo>
                  <a:lnTo>
                    <a:pt x="75" y="454"/>
                  </a:lnTo>
                  <a:lnTo>
                    <a:pt x="65" y="494"/>
                  </a:lnTo>
                  <a:lnTo>
                    <a:pt x="60" y="543"/>
                  </a:lnTo>
                  <a:lnTo>
                    <a:pt x="21" y="549"/>
                  </a:lnTo>
                  <a:lnTo>
                    <a:pt x="16" y="573"/>
                  </a:lnTo>
                  <a:lnTo>
                    <a:pt x="26" y="589"/>
                  </a:lnTo>
                  <a:lnTo>
                    <a:pt x="21" y="613"/>
                  </a:lnTo>
                  <a:lnTo>
                    <a:pt x="11" y="613"/>
                  </a:lnTo>
                  <a:lnTo>
                    <a:pt x="11" y="643"/>
                  </a:lnTo>
                  <a:lnTo>
                    <a:pt x="0" y="647"/>
                  </a:lnTo>
                  <a:close/>
                </a:path>
              </a:pathLst>
            </a:custGeom>
            <a:grpFill/>
            <a:ln w="11113" cap="flat" cmpd="sng">
              <a:noFill/>
              <a:prstDash val="solid"/>
              <a:round/>
              <a:headEnd type="none" w="med" len="med"/>
              <a:tailEnd type="none" w="med" len="med"/>
            </a:ln>
            <a:effectLst/>
          </p:spPr>
          <p:txBody>
            <a:bodyPr/>
            <a:lstStyle/>
            <a:p>
              <a:pPr>
                <a:defRPr/>
              </a:pPr>
              <a:endParaRPr lang="en-US" sz="2400">
                <a:solidFill>
                  <a:srgbClr val="000000"/>
                </a:solidFill>
              </a:endParaRPr>
            </a:p>
          </p:txBody>
        </p:sp>
        <p:sp>
          <p:nvSpPr>
            <p:cNvPr id="216" name="Freeform 51"/>
            <p:cNvSpPr>
              <a:spLocks/>
            </p:cNvSpPr>
            <p:nvPr/>
          </p:nvSpPr>
          <p:spPr bwMode="auto">
            <a:xfrm>
              <a:off x="5138737" y="5591175"/>
              <a:ext cx="66675" cy="61913"/>
            </a:xfrm>
            <a:custGeom>
              <a:avLst/>
              <a:gdLst/>
              <a:ahLst/>
              <a:cxnLst>
                <a:cxn ang="0">
                  <a:pos x="45" y="0"/>
                </a:cxn>
                <a:cxn ang="0">
                  <a:pos x="24" y="6"/>
                </a:cxn>
                <a:cxn ang="0">
                  <a:pos x="0" y="6"/>
                </a:cxn>
                <a:cxn ang="0">
                  <a:pos x="24" y="40"/>
                </a:cxn>
                <a:cxn ang="0">
                  <a:pos x="49" y="79"/>
                </a:cxn>
                <a:cxn ang="0">
                  <a:pos x="89" y="90"/>
                </a:cxn>
                <a:cxn ang="0">
                  <a:pos x="79" y="70"/>
                </a:cxn>
                <a:cxn ang="0">
                  <a:pos x="59" y="60"/>
                </a:cxn>
                <a:cxn ang="0">
                  <a:pos x="45" y="35"/>
                </a:cxn>
                <a:cxn ang="0">
                  <a:pos x="45" y="25"/>
                </a:cxn>
                <a:cxn ang="0">
                  <a:pos x="54" y="11"/>
                </a:cxn>
                <a:cxn ang="0">
                  <a:pos x="45" y="0"/>
                </a:cxn>
              </a:cxnLst>
              <a:rect l="0" t="0" r="r" b="b"/>
              <a:pathLst>
                <a:path w="89" h="90">
                  <a:moveTo>
                    <a:pt x="45" y="0"/>
                  </a:moveTo>
                  <a:lnTo>
                    <a:pt x="24" y="6"/>
                  </a:lnTo>
                  <a:lnTo>
                    <a:pt x="0" y="6"/>
                  </a:lnTo>
                  <a:lnTo>
                    <a:pt x="24" y="40"/>
                  </a:lnTo>
                  <a:lnTo>
                    <a:pt x="49" y="79"/>
                  </a:lnTo>
                  <a:lnTo>
                    <a:pt x="89" y="90"/>
                  </a:lnTo>
                  <a:lnTo>
                    <a:pt x="79" y="70"/>
                  </a:lnTo>
                  <a:lnTo>
                    <a:pt x="59" y="60"/>
                  </a:lnTo>
                  <a:lnTo>
                    <a:pt x="45" y="35"/>
                  </a:lnTo>
                  <a:lnTo>
                    <a:pt x="45" y="25"/>
                  </a:lnTo>
                  <a:lnTo>
                    <a:pt x="54" y="11"/>
                  </a:lnTo>
                  <a:lnTo>
                    <a:pt x="45" y="0"/>
                  </a:lnTo>
                  <a:close/>
                </a:path>
              </a:pathLst>
            </a:custGeom>
            <a:grpFill/>
            <a:ln w="11113">
              <a:noFill/>
              <a:prstDash val="solid"/>
              <a:round/>
              <a:headEnd/>
              <a:tailEnd/>
            </a:ln>
          </p:spPr>
          <p:txBody>
            <a:bodyPr/>
            <a:lstStyle/>
            <a:p>
              <a:pPr>
                <a:defRPr/>
              </a:pPr>
              <a:endParaRPr lang="en-US" sz="2400">
                <a:solidFill>
                  <a:srgbClr val="000000"/>
                </a:solidFill>
              </a:endParaRPr>
            </a:p>
          </p:txBody>
        </p:sp>
        <p:sp>
          <p:nvSpPr>
            <p:cNvPr id="217" name="Freeform 52"/>
            <p:cNvSpPr>
              <a:spLocks/>
            </p:cNvSpPr>
            <p:nvPr/>
          </p:nvSpPr>
          <p:spPr bwMode="auto">
            <a:xfrm>
              <a:off x="5262562" y="5781675"/>
              <a:ext cx="73025" cy="57150"/>
            </a:xfrm>
            <a:custGeom>
              <a:avLst/>
              <a:gdLst/>
              <a:ahLst/>
              <a:cxnLst>
                <a:cxn ang="0">
                  <a:pos x="80" y="25"/>
                </a:cxn>
                <a:cxn ang="0">
                  <a:pos x="85" y="21"/>
                </a:cxn>
                <a:cxn ang="0">
                  <a:pos x="64" y="0"/>
                </a:cxn>
                <a:cxn ang="0">
                  <a:pos x="35" y="5"/>
                </a:cxn>
                <a:cxn ang="0">
                  <a:pos x="35" y="21"/>
                </a:cxn>
                <a:cxn ang="0">
                  <a:pos x="20" y="30"/>
                </a:cxn>
                <a:cxn ang="0">
                  <a:pos x="0" y="21"/>
                </a:cxn>
                <a:cxn ang="0">
                  <a:pos x="15" y="60"/>
                </a:cxn>
                <a:cxn ang="0">
                  <a:pos x="40" y="60"/>
                </a:cxn>
                <a:cxn ang="0">
                  <a:pos x="45" y="84"/>
                </a:cxn>
                <a:cxn ang="0">
                  <a:pos x="94" y="84"/>
                </a:cxn>
                <a:cxn ang="0">
                  <a:pos x="99" y="60"/>
                </a:cxn>
                <a:cxn ang="0">
                  <a:pos x="75" y="40"/>
                </a:cxn>
                <a:cxn ang="0">
                  <a:pos x="50" y="21"/>
                </a:cxn>
                <a:cxn ang="0">
                  <a:pos x="80" y="30"/>
                </a:cxn>
                <a:cxn ang="0">
                  <a:pos x="94" y="21"/>
                </a:cxn>
                <a:cxn ang="0">
                  <a:pos x="80" y="25"/>
                </a:cxn>
              </a:cxnLst>
              <a:rect l="0" t="0" r="r" b="b"/>
              <a:pathLst>
                <a:path w="99" h="84">
                  <a:moveTo>
                    <a:pt x="80" y="25"/>
                  </a:moveTo>
                  <a:lnTo>
                    <a:pt x="85" y="21"/>
                  </a:lnTo>
                  <a:lnTo>
                    <a:pt x="64" y="0"/>
                  </a:lnTo>
                  <a:lnTo>
                    <a:pt x="35" y="5"/>
                  </a:lnTo>
                  <a:lnTo>
                    <a:pt x="35" y="21"/>
                  </a:lnTo>
                  <a:lnTo>
                    <a:pt x="20" y="30"/>
                  </a:lnTo>
                  <a:lnTo>
                    <a:pt x="0" y="21"/>
                  </a:lnTo>
                  <a:lnTo>
                    <a:pt x="15" y="60"/>
                  </a:lnTo>
                  <a:lnTo>
                    <a:pt x="40" y="60"/>
                  </a:lnTo>
                  <a:lnTo>
                    <a:pt x="45" y="84"/>
                  </a:lnTo>
                  <a:lnTo>
                    <a:pt x="94" y="84"/>
                  </a:lnTo>
                  <a:lnTo>
                    <a:pt x="99" y="60"/>
                  </a:lnTo>
                  <a:lnTo>
                    <a:pt x="75" y="40"/>
                  </a:lnTo>
                  <a:lnTo>
                    <a:pt x="50" y="21"/>
                  </a:lnTo>
                  <a:lnTo>
                    <a:pt x="80" y="30"/>
                  </a:lnTo>
                  <a:lnTo>
                    <a:pt x="94" y="21"/>
                  </a:lnTo>
                  <a:lnTo>
                    <a:pt x="80" y="25"/>
                  </a:lnTo>
                  <a:close/>
                </a:path>
              </a:pathLst>
            </a:custGeom>
            <a:grpFill/>
            <a:ln w="11113">
              <a:noFill/>
              <a:prstDash val="solid"/>
              <a:round/>
              <a:headEnd/>
              <a:tailEnd/>
            </a:ln>
          </p:spPr>
          <p:txBody>
            <a:bodyPr/>
            <a:lstStyle/>
            <a:p>
              <a:pPr>
                <a:defRPr/>
              </a:pPr>
              <a:endParaRPr lang="en-US" sz="2400">
                <a:solidFill>
                  <a:srgbClr val="000000"/>
                </a:solidFill>
              </a:endParaRPr>
            </a:p>
          </p:txBody>
        </p:sp>
        <p:sp>
          <p:nvSpPr>
            <p:cNvPr id="218" name="Freeform 53"/>
            <p:cNvSpPr>
              <a:spLocks/>
            </p:cNvSpPr>
            <p:nvPr/>
          </p:nvSpPr>
          <p:spPr bwMode="auto">
            <a:xfrm>
              <a:off x="5310187" y="5862638"/>
              <a:ext cx="55563" cy="39687"/>
            </a:xfrm>
            <a:custGeom>
              <a:avLst/>
              <a:gdLst/>
              <a:ahLst/>
              <a:cxnLst>
                <a:cxn ang="0">
                  <a:pos x="60" y="25"/>
                </a:cxn>
                <a:cxn ang="0">
                  <a:pos x="65" y="19"/>
                </a:cxn>
                <a:cxn ang="0">
                  <a:pos x="30" y="5"/>
                </a:cxn>
                <a:cxn ang="0">
                  <a:pos x="16" y="0"/>
                </a:cxn>
                <a:cxn ang="0">
                  <a:pos x="0" y="14"/>
                </a:cxn>
                <a:cxn ang="0">
                  <a:pos x="40" y="59"/>
                </a:cxn>
                <a:cxn ang="0">
                  <a:pos x="60" y="44"/>
                </a:cxn>
                <a:cxn ang="0">
                  <a:pos x="45" y="30"/>
                </a:cxn>
                <a:cxn ang="0">
                  <a:pos x="75" y="30"/>
                </a:cxn>
                <a:cxn ang="0">
                  <a:pos x="60" y="25"/>
                </a:cxn>
              </a:cxnLst>
              <a:rect l="0" t="0" r="r" b="b"/>
              <a:pathLst>
                <a:path w="75" h="59">
                  <a:moveTo>
                    <a:pt x="60" y="25"/>
                  </a:moveTo>
                  <a:lnTo>
                    <a:pt x="65" y="19"/>
                  </a:lnTo>
                  <a:lnTo>
                    <a:pt x="30" y="5"/>
                  </a:lnTo>
                  <a:lnTo>
                    <a:pt x="16" y="0"/>
                  </a:lnTo>
                  <a:lnTo>
                    <a:pt x="0" y="14"/>
                  </a:lnTo>
                  <a:lnTo>
                    <a:pt x="40" y="59"/>
                  </a:lnTo>
                  <a:lnTo>
                    <a:pt x="60" y="44"/>
                  </a:lnTo>
                  <a:lnTo>
                    <a:pt x="45" y="30"/>
                  </a:lnTo>
                  <a:lnTo>
                    <a:pt x="75" y="30"/>
                  </a:lnTo>
                  <a:lnTo>
                    <a:pt x="60" y="25"/>
                  </a:lnTo>
                  <a:close/>
                </a:path>
              </a:pathLst>
            </a:custGeom>
            <a:grpFill/>
            <a:ln w="11113">
              <a:noFill/>
              <a:prstDash val="solid"/>
              <a:round/>
              <a:headEnd/>
              <a:tailEnd/>
            </a:ln>
          </p:spPr>
          <p:txBody>
            <a:bodyPr/>
            <a:lstStyle/>
            <a:p>
              <a:pPr>
                <a:defRPr/>
              </a:pPr>
              <a:endParaRPr lang="en-US" sz="2400">
                <a:solidFill>
                  <a:srgbClr val="000000"/>
                </a:solidFill>
              </a:endParaRPr>
            </a:p>
          </p:txBody>
        </p:sp>
        <p:sp>
          <p:nvSpPr>
            <p:cNvPr id="219" name="Freeform 54"/>
            <p:cNvSpPr>
              <a:spLocks/>
            </p:cNvSpPr>
            <p:nvPr/>
          </p:nvSpPr>
          <p:spPr bwMode="auto">
            <a:xfrm>
              <a:off x="5664200" y="6045200"/>
              <a:ext cx="25400" cy="31750"/>
            </a:xfrm>
            <a:custGeom>
              <a:avLst/>
              <a:gdLst/>
              <a:ahLst/>
              <a:cxnLst>
                <a:cxn ang="0">
                  <a:pos x="0" y="6"/>
                </a:cxn>
                <a:cxn ang="0">
                  <a:pos x="0" y="0"/>
                </a:cxn>
                <a:cxn ang="0">
                  <a:pos x="35" y="20"/>
                </a:cxn>
                <a:cxn ang="0">
                  <a:pos x="25" y="46"/>
                </a:cxn>
                <a:cxn ang="0">
                  <a:pos x="10" y="46"/>
                </a:cxn>
                <a:cxn ang="0">
                  <a:pos x="5" y="25"/>
                </a:cxn>
                <a:cxn ang="0">
                  <a:pos x="0" y="6"/>
                </a:cxn>
              </a:cxnLst>
              <a:rect l="0" t="0" r="r" b="b"/>
              <a:pathLst>
                <a:path w="35" h="46">
                  <a:moveTo>
                    <a:pt x="0" y="6"/>
                  </a:moveTo>
                  <a:lnTo>
                    <a:pt x="0" y="0"/>
                  </a:lnTo>
                  <a:lnTo>
                    <a:pt x="35" y="20"/>
                  </a:lnTo>
                  <a:lnTo>
                    <a:pt x="25" y="46"/>
                  </a:lnTo>
                  <a:lnTo>
                    <a:pt x="10" y="46"/>
                  </a:lnTo>
                  <a:lnTo>
                    <a:pt x="5" y="25"/>
                  </a:lnTo>
                  <a:lnTo>
                    <a:pt x="0" y="6"/>
                  </a:lnTo>
                  <a:close/>
                </a:path>
              </a:pathLst>
            </a:custGeom>
            <a:grpFill/>
            <a:ln w="11113">
              <a:noFill/>
              <a:prstDash val="solid"/>
              <a:round/>
              <a:headEnd/>
              <a:tailEnd/>
            </a:ln>
          </p:spPr>
          <p:txBody>
            <a:bodyPr/>
            <a:lstStyle/>
            <a:p>
              <a:pPr>
                <a:defRPr/>
              </a:pPr>
              <a:endParaRPr lang="en-US" sz="2400">
                <a:solidFill>
                  <a:srgbClr val="000000"/>
                </a:solidFill>
              </a:endParaRPr>
            </a:p>
          </p:txBody>
        </p:sp>
        <p:sp>
          <p:nvSpPr>
            <p:cNvPr id="220" name="Freeform 55"/>
            <p:cNvSpPr>
              <a:spLocks/>
            </p:cNvSpPr>
            <p:nvPr/>
          </p:nvSpPr>
          <p:spPr bwMode="auto">
            <a:xfrm>
              <a:off x="5727700" y="5351463"/>
              <a:ext cx="41275" cy="30162"/>
            </a:xfrm>
            <a:custGeom>
              <a:avLst/>
              <a:gdLst/>
              <a:ahLst/>
              <a:cxnLst>
                <a:cxn ang="0">
                  <a:pos x="40" y="0"/>
                </a:cxn>
                <a:cxn ang="0">
                  <a:pos x="16" y="0"/>
                </a:cxn>
                <a:cxn ang="0">
                  <a:pos x="0" y="10"/>
                </a:cxn>
                <a:cxn ang="0">
                  <a:pos x="16" y="24"/>
                </a:cxn>
                <a:cxn ang="0">
                  <a:pos x="35" y="44"/>
                </a:cxn>
                <a:cxn ang="0">
                  <a:pos x="55" y="40"/>
                </a:cxn>
                <a:cxn ang="0">
                  <a:pos x="40" y="24"/>
                </a:cxn>
                <a:cxn ang="0">
                  <a:pos x="50" y="19"/>
                </a:cxn>
                <a:cxn ang="0">
                  <a:pos x="40" y="0"/>
                </a:cxn>
              </a:cxnLst>
              <a:rect l="0" t="0" r="r" b="b"/>
              <a:pathLst>
                <a:path w="55" h="44">
                  <a:moveTo>
                    <a:pt x="40" y="0"/>
                  </a:moveTo>
                  <a:lnTo>
                    <a:pt x="16" y="0"/>
                  </a:lnTo>
                  <a:lnTo>
                    <a:pt x="0" y="10"/>
                  </a:lnTo>
                  <a:lnTo>
                    <a:pt x="16" y="24"/>
                  </a:lnTo>
                  <a:lnTo>
                    <a:pt x="35" y="44"/>
                  </a:lnTo>
                  <a:lnTo>
                    <a:pt x="55" y="40"/>
                  </a:lnTo>
                  <a:lnTo>
                    <a:pt x="40" y="24"/>
                  </a:lnTo>
                  <a:lnTo>
                    <a:pt x="50" y="19"/>
                  </a:lnTo>
                  <a:lnTo>
                    <a:pt x="40" y="0"/>
                  </a:lnTo>
                  <a:close/>
                </a:path>
              </a:pathLst>
            </a:custGeom>
            <a:grpFill/>
            <a:ln w="11113">
              <a:noFill/>
              <a:prstDash val="solid"/>
              <a:round/>
              <a:headEnd/>
              <a:tailEnd/>
            </a:ln>
          </p:spPr>
          <p:txBody>
            <a:bodyPr/>
            <a:lstStyle/>
            <a:p>
              <a:pPr>
                <a:defRPr/>
              </a:pPr>
              <a:endParaRPr lang="en-US" sz="2400">
                <a:solidFill>
                  <a:srgbClr val="000000"/>
                </a:solidFill>
              </a:endParaRPr>
            </a:p>
          </p:txBody>
        </p:sp>
        <p:sp>
          <p:nvSpPr>
            <p:cNvPr id="221" name="Freeform 56"/>
            <p:cNvSpPr>
              <a:spLocks/>
            </p:cNvSpPr>
            <p:nvPr/>
          </p:nvSpPr>
          <p:spPr bwMode="auto">
            <a:xfrm>
              <a:off x="5826125" y="5453063"/>
              <a:ext cx="34925" cy="26987"/>
            </a:xfrm>
            <a:custGeom>
              <a:avLst/>
              <a:gdLst/>
              <a:ahLst/>
              <a:cxnLst>
                <a:cxn ang="0">
                  <a:pos x="49" y="6"/>
                </a:cxn>
                <a:cxn ang="0">
                  <a:pos x="9" y="0"/>
                </a:cxn>
                <a:cxn ang="0">
                  <a:pos x="0" y="25"/>
                </a:cxn>
                <a:cxn ang="0">
                  <a:pos x="24" y="39"/>
                </a:cxn>
                <a:cxn ang="0">
                  <a:pos x="29" y="25"/>
                </a:cxn>
                <a:cxn ang="0">
                  <a:pos x="49" y="34"/>
                </a:cxn>
                <a:cxn ang="0">
                  <a:pos x="49" y="15"/>
                </a:cxn>
                <a:cxn ang="0">
                  <a:pos x="49" y="6"/>
                </a:cxn>
              </a:cxnLst>
              <a:rect l="0" t="0" r="r" b="b"/>
              <a:pathLst>
                <a:path w="49" h="39">
                  <a:moveTo>
                    <a:pt x="49" y="6"/>
                  </a:moveTo>
                  <a:lnTo>
                    <a:pt x="9" y="0"/>
                  </a:lnTo>
                  <a:lnTo>
                    <a:pt x="0" y="25"/>
                  </a:lnTo>
                  <a:lnTo>
                    <a:pt x="24" y="39"/>
                  </a:lnTo>
                  <a:lnTo>
                    <a:pt x="29" y="25"/>
                  </a:lnTo>
                  <a:lnTo>
                    <a:pt x="49" y="34"/>
                  </a:lnTo>
                  <a:lnTo>
                    <a:pt x="49" y="15"/>
                  </a:lnTo>
                  <a:lnTo>
                    <a:pt x="49" y="6"/>
                  </a:lnTo>
                  <a:close/>
                </a:path>
              </a:pathLst>
            </a:custGeom>
            <a:grpFill/>
            <a:ln w="11113">
              <a:noFill/>
              <a:prstDash val="solid"/>
              <a:round/>
              <a:headEnd/>
              <a:tailEnd/>
            </a:ln>
          </p:spPr>
          <p:txBody>
            <a:bodyPr/>
            <a:lstStyle/>
            <a:p>
              <a:pPr>
                <a:defRPr/>
              </a:pPr>
              <a:endParaRPr lang="en-US" sz="2400">
                <a:solidFill>
                  <a:srgbClr val="000000"/>
                </a:solidFill>
              </a:endParaRPr>
            </a:p>
          </p:txBody>
        </p:sp>
        <p:sp>
          <p:nvSpPr>
            <p:cNvPr id="222" name="Freeform 57"/>
            <p:cNvSpPr>
              <a:spLocks/>
            </p:cNvSpPr>
            <p:nvPr/>
          </p:nvSpPr>
          <p:spPr bwMode="auto">
            <a:xfrm>
              <a:off x="3500438" y="4572000"/>
              <a:ext cx="1489075" cy="1554163"/>
            </a:xfrm>
            <a:custGeom>
              <a:avLst/>
              <a:gdLst>
                <a:gd name="T0" fmla="*/ 962 w 1978"/>
                <a:gd name="T1" fmla="*/ 302 h 2265"/>
                <a:gd name="T2" fmla="*/ 890 w 1978"/>
                <a:gd name="T3" fmla="*/ 400 h 2265"/>
                <a:gd name="T4" fmla="*/ 868 w 1978"/>
                <a:gd name="T5" fmla="*/ 478 h 2265"/>
                <a:gd name="T6" fmla="*/ 928 w 1978"/>
                <a:gd name="T7" fmla="*/ 637 h 2265"/>
                <a:gd name="T8" fmla="*/ 1105 w 1978"/>
                <a:gd name="T9" fmla="*/ 737 h 2265"/>
                <a:gd name="T10" fmla="*/ 1348 w 1978"/>
                <a:gd name="T11" fmla="*/ 1089 h 2265"/>
                <a:gd name="T12" fmla="*/ 1537 w 1978"/>
                <a:gd name="T13" fmla="*/ 1089 h 2265"/>
                <a:gd name="T14" fmla="*/ 1591 w 1978"/>
                <a:gd name="T15" fmla="*/ 1232 h 2265"/>
                <a:gd name="T16" fmla="*/ 1890 w 1978"/>
                <a:gd name="T17" fmla="*/ 1348 h 2265"/>
                <a:gd name="T18" fmla="*/ 1945 w 1978"/>
                <a:gd name="T19" fmla="*/ 1508 h 2265"/>
                <a:gd name="T20" fmla="*/ 1823 w 1978"/>
                <a:gd name="T21" fmla="*/ 1403 h 2265"/>
                <a:gd name="T22" fmla="*/ 1691 w 1978"/>
                <a:gd name="T23" fmla="*/ 1406 h 2265"/>
                <a:gd name="T24" fmla="*/ 1642 w 1978"/>
                <a:gd name="T25" fmla="*/ 1574 h 2265"/>
                <a:gd name="T26" fmla="*/ 1768 w 1978"/>
                <a:gd name="T27" fmla="*/ 1690 h 2265"/>
                <a:gd name="T28" fmla="*/ 1691 w 1978"/>
                <a:gd name="T29" fmla="*/ 1843 h 2265"/>
                <a:gd name="T30" fmla="*/ 1542 w 1978"/>
                <a:gd name="T31" fmla="*/ 1975 h 2265"/>
                <a:gd name="T32" fmla="*/ 1445 w 1978"/>
                <a:gd name="T33" fmla="*/ 2050 h 2265"/>
                <a:gd name="T34" fmla="*/ 1487 w 1978"/>
                <a:gd name="T35" fmla="*/ 2185 h 2265"/>
                <a:gd name="T36" fmla="*/ 1381 w 1978"/>
                <a:gd name="T37" fmla="*/ 2251 h 2265"/>
                <a:gd name="T38" fmla="*/ 1200 w 1978"/>
                <a:gd name="T39" fmla="*/ 2164 h 2265"/>
                <a:gd name="T40" fmla="*/ 956 w 1978"/>
                <a:gd name="T41" fmla="*/ 2047 h 2265"/>
                <a:gd name="T42" fmla="*/ 1011 w 1978"/>
                <a:gd name="T43" fmla="*/ 1949 h 2265"/>
                <a:gd name="T44" fmla="*/ 1111 w 1978"/>
                <a:gd name="T45" fmla="*/ 1954 h 2265"/>
                <a:gd name="T46" fmla="*/ 1293 w 1978"/>
                <a:gd name="T47" fmla="*/ 1977 h 2265"/>
                <a:gd name="T48" fmla="*/ 1421 w 1978"/>
                <a:gd name="T49" fmla="*/ 1932 h 2265"/>
                <a:gd name="T50" fmla="*/ 1553 w 1978"/>
                <a:gd name="T51" fmla="*/ 1871 h 2265"/>
                <a:gd name="T52" fmla="*/ 1602 w 1978"/>
                <a:gd name="T53" fmla="*/ 1761 h 2265"/>
                <a:gd name="T54" fmla="*/ 1497 w 1978"/>
                <a:gd name="T55" fmla="*/ 1508 h 2265"/>
                <a:gd name="T56" fmla="*/ 1376 w 1978"/>
                <a:gd name="T57" fmla="*/ 1480 h 2265"/>
                <a:gd name="T58" fmla="*/ 1276 w 1978"/>
                <a:gd name="T59" fmla="*/ 1414 h 2265"/>
                <a:gd name="T60" fmla="*/ 1190 w 1978"/>
                <a:gd name="T61" fmla="*/ 1310 h 2265"/>
                <a:gd name="T62" fmla="*/ 1055 w 1978"/>
                <a:gd name="T63" fmla="*/ 1276 h 2265"/>
                <a:gd name="T64" fmla="*/ 856 w 1978"/>
                <a:gd name="T65" fmla="*/ 1111 h 2265"/>
                <a:gd name="T66" fmla="*/ 724 w 1978"/>
                <a:gd name="T67" fmla="*/ 990 h 2265"/>
                <a:gd name="T68" fmla="*/ 575 w 1978"/>
                <a:gd name="T69" fmla="*/ 769 h 2265"/>
                <a:gd name="T70" fmla="*/ 492 w 1978"/>
                <a:gd name="T71" fmla="*/ 643 h 2265"/>
                <a:gd name="T72" fmla="*/ 282 w 1978"/>
                <a:gd name="T73" fmla="*/ 611 h 2265"/>
                <a:gd name="T74" fmla="*/ 116 w 1978"/>
                <a:gd name="T75" fmla="*/ 714 h 2265"/>
                <a:gd name="T76" fmla="*/ 88 w 1978"/>
                <a:gd name="T77" fmla="*/ 637 h 2265"/>
                <a:gd name="T78" fmla="*/ 50 w 1978"/>
                <a:gd name="T79" fmla="*/ 483 h 2265"/>
                <a:gd name="T80" fmla="*/ 44 w 1978"/>
                <a:gd name="T81" fmla="*/ 417 h 2265"/>
                <a:gd name="T82" fmla="*/ 44 w 1978"/>
                <a:gd name="T83" fmla="*/ 313 h 2265"/>
                <a:gd name="T84" fmla="*/ 99 w 1978"/>
                <a:gd name="T85" fmla="*/ 257 h 2265"/>
                <a:gd name="T86" fmla="*/ 216 w 1978"/>
                <a:gd name="T87" fmla="*/ 236 h 2265"/>
                <a:gd name="T88" fmla="*/ 265 w 1978"/>
                <a:gd name="T89" fmla="*/ 136 h 2265"/>
                <a:gd name="T90" fmla="*/ 343 w 1978"/>
                <a:gd name="T91" fmla="*/ 213 h 2265"/>
                <a:gd name="T92" fmla="*/ 371 w 1978"/>
                <a:gd name="T93" fmla="*/ 224 h 2265"/>
                <a:gd name="T94" fmla="*/ 442 w 1978"/>
                <a:gd name="T95" fmla="*/ 153 h 2265"/>
                <a:gd name="T96" fmla="*/ 514 w 1978"/>
                <a:gd name="T97" fmla="*/ 181 h 2265"/>
                <a:gd name="T98" fmla="*/ 530 w 1978"/>
                <a:gd name="T99" fmla="*/ 103 h 2265"/>
                <a:gd name="T100" fmla="*/ 580 w 1978"/>
                <a:gd name="T101" fmla="*/ 70 h 2265"/>
                <a:gd name="T102" fmla="*/ 640 w 1978"/>
                <a:gd name="T103" fmla="*/ 69 h 2265"/>
                <a:gd name="T104" fmla="*/ 794 w 1978"/>
                <a:gd name="T105" fmla="*/ 15 h 2265"/>
                <a:gd name="T106" fmla="*/ 986 w 1978"/>
                <a:gd name="T107" fmla="*/ 99 h 2265"/>
                <a:gd name="T108" fmla="*/ 1031 w 1978"/>
                <a:gd name="T109" fmla="*/ 173 h 2265"/>
                <a:gd name="T110" fmla="*/ 1106 w 1978"/>
                <a:gd name="T111" fmla="*/ 272 h 226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78"/>
                <a:gd name="T169" fmla="*/ 0 h 2265"/>
                <a:gd name="T170" fmla="*/ 1978 w 1978"/>
                <a:gd name="T171" fmla="*/ 2265 h 226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78" h="2265">
                  <a:moveTo>
                    <a:pt x="1089" y="279"/>
                  </a:moveTo>
                  <a:lnTo>
                    <a:pt x="1049" y="274"/>
                  </a:lnTo>
                  <a:lnTo>
                    <a:pt x="1000" y="274"/>
                  </a:lnTo>
                  <a:lnTo>
                    <a:pt x="1000" y="307"/>
                  </a:lnTo>
                  <a:lnTo>
                    <a:pt x="962" y="302"/>
                  </a:lnTo>
                  <a:lnTo>
                    <a:pt x="928" y="329"/>
                  </a:lnTo>
                  <a:lnTo>
                    <a:pt x="879" y="323"/>
                  </a:lnTo>
                  <a:lnTo>
                    <a:pt x="862" y="372"/>
                  </a:lnTo>
                  <a:lnTo>
                    <a:pt x="856" y="389"/>
                  </a:lnTo>
                  <a:lnTo>
                    <a:pt x="890" y="400"/>
                  </a:lnTo>
                  <a:lnTo>
                    <a:pt x="890" y="428"/>
                  </a:lnTo>
                  <a:lnTo>
                    <a:pt x="911" y="428"/>
                  </a:lnTo>
                  <a:lnTo>
                    <a:pt x="917" y="455"/>
                  </a:lnTo>
                  <a:lnTo>
                    <a:pt x="900" y="483"/>
                  </a:lnTo>
                  <a:lnTo>
                    <a:pt x="868" y="478"/>
                  </a:lnTo>
                  <a:lnTo>
                    <a:pt x="861" y="506"/>
                  </a:lnTo>
                  <a:lnTo>
                    <a:pt x="861" y="526"/>
                  </a:lnTo>
                  <a:lnTo>
                    <a:pt x="866" y="550"/>
                  </a:lnTo>
                  <a:lnTo>
                    <a:pt x="900" y="627"/>
                  </a:lnTo>
                  <a:lnTo>
                    <a:pt x="928" y="637"/>
                  </a:lnTo>
                  <a:lnTo>
                    <a:pt x="934" y="665"/>
                  </a:lnTo>
                  <a:lnTo>
                    <a:pt x="983" y="676"/>
                  </a:lnTo>
                  <a:lnTo>
                    <a:pt x="1022" y="703"/>
                  </a:lnTo>
                  <a:lnTo>
                    <a:pt x="1045" y="737"/>
                  </a:lnTo>
                  <a:lnTo>
                    <a:pt x="1105" y="737"/>
                  </a:lnTo>
                  <a:lnTo>
                    <a:pt x="1115" y="788"/>
                  </a:lnTo>
                  <a:lnTo>
                    <a:pt x="1144" y="847"/>
                  </a:lnTo>
                  <a:lnTo>
                    <a:pt x="1188" y="968"/>
                  </a:lnTo>
                  <a:lnTo>
                    <a:pt x="1266" y="1034"/>
                  </a:lnTo>
                  <a:lnTo>
                    <a:pt x="1348" y="1089"/>
                  </a:lnTo>
                  <a:lnTo>
                    <a:pt x="1386" y="1097"/>
                  </a:lnTo>
                  <a:lnTo>
                    <a:pt x="1425" y="1100"/>
                  </a:lnTo>
                  <a:lnTo>
                    <a:pt x="1470" y="1083"/>
                  </a:lnTo>
                  <a:lnTo>
                    <a:pt x="1514" y="1067"/>
                  </a:lnTo>
                  <a:lnTo>
                    <a:pt x="1537" y="1089"/>
                  </a:lnTo>
                  <a:lnTo>
                    <a:pt x="1547" y="1122"/>
                  </a:lnTo>
                  <a:lnTo>
                    <a:pt x="1526" y="1137"/>
                  </a:lnTo>
                  <a:lnTo>
                    <a:pt x="1503" y="1155"/>
                  </a:lnTo>
                  <a:lnTo>
                    <a:pt x="1519" y="1183"/>
                  </a:lnTo>
                  <a:lnTo>
                    <a:pt x="1591" y="1232"/>
                  </a:lnTo>
                  <a:lnTo>
                    <a:pt x="1712" y="1243"/>
                  </a:lnTo>
                  <a:lnTo>
                    <a:pt x="1748" y="1279"/>
                  </a:lnTo>
                  <a:lnTo>
                    <a:pt x="1793" y="1297"/>
                  </a:lnTo>
                  <a:lnTo>
                    <a:pt x="1867" y="1321"/>
                  </a:lnTo>
                  <a:lnTo>
                    <a:pt x="1890" y="1348"/>
                  </a:lnTo>
                  <a:lnTo>
                    <a:pt x="1929" y="1370"/>
                  </a:lnTo>
                  <a:lnTo>
                    <a:pt x="1956" y="1396"/>
                  </a:lnTo>
                  <a:lnTo>
                    <a:pt x="1978" y="1431"/>
                  </a:lnTo>
                  <a:lnTo>
                    <a:pt x="1967" y="1469"/>
                  </a:lnTo>
                  <a:lnTo>
                    <a:pt x="1945" y="1508"/>
                  </a:lnTo>
                  <a:lnTo>
                    <a:pt x="1929" y="1495"/>
                  </a:lnTo>
                  <a:lnTo>
                    <a:pt x="1911" y="1463"/>
                  </a:lnTo>
                  <a:lnTo>
                    <a:pt x="1873" y="1408"/>
                  </a:lnTo>
                  <a:lnTo>
                    <a:pt x="1853" y="1403"/>
                  </a:lnTo>
                  <a:lnTo>
                    <a:pt x="1823" y="1403"/>
                  </a:lnTo>
                  <a:lnTo>
                    <a:pt x="1793" y="1405"/>
                  </a:lnTo>
                  <a:lnTo>
                    <a:pt x="1768" y="1403"/>
                  </a:lnTo>
                  <a:lnTo>
                    <a:pt x="1741" y="1387"/>
                  </a:lnTo>
                  <a:lnTo>
                    <a:pt x="1712" y="1376"/>
                  </a:lnTo>
                  <a:lnTo>
                    <a:pt x="1691" y="1406"/>
                  </a:lnTo>
                  <a:lnTo>
                    <a:pt x="1674" y="1447"/>
                  </a:lnTo>
                  <a:lnTo>
                    <a:pt x="1649" y="1510"/>
                  </a:lnTo>
                  <a:lnTo>
                    <a:pt x="1639" y="1545"/>
                  </a:lnTo>
                  <a:lnTo>
                    <a:pt x="1638" y="1561"/>
                  </a:lnTo>
                  <a:lnTo>
                    <a:pt x="1642" y="1574"/>
                  </a:lnTo>
                  <a:lnTo>
                    <a:pt x="1672" y="1581"/>
                  </a:lnTo>
                  <a:lnTo>
                    <a:pt x="1708" y="1585"/>
                  </a:lnTo>
                  <a:lnTo>
                    <a:pt x="1757" y="1618"/>
                  </a:lnTo>
                  <a:lnTo>
                    <a:pt x="1757" y="1662"/>
                  </a:lnTo>
                  <a:lnTo>
                    <a:pt x="1768" y="1690"/>
                  </a:lnTo>
                  <a:lnTo>
                    <a:pt x="1746" y="1728"/>
                  </a:lnTo>
                  <a:lnTo>
                    <a:pt x="1724" y="1728"/>
                  </a:lnTo>
                  <a:lnTo>
                    <a:pt x="1674" y="1761"/>
                  </a:lnTo>
                  <a:lnTo>
                    <a:pt x="1682" y="1800"/>
                  </a:lnTo>
                  <a:lnTo>
                    <a:pt x="1691" y="1843"/>
                  </a:lnTo>
                  <a:lnTo>
                    <a:pt x="1657" y="1876"/>
                  </a:lnTo>
                  <a:lnTo>
                    <a:pt x="1619" y="1909"/>
                  </a:lnTo>
                  <a:lnTo>
                    <a:pt x="1614" y="1953"/>
                  </a:lnTo>
                  <a:lnTo>
                    <a:pt x="1581" y="1971"/>
                  </a:lnTo>
                  <a:lnTo>
                    <a:pt x="1542" y="1975"/>
                  </a:lnTo>
                  <a:lnTo>
                    <a:pt x="1519" y="1960"/>
                  </a:lnTo>
                  <a:lnTo>
                    <a:pt x="1508" y="1909"/>
                  </a:lnTo>
                  <a:lnTo>
                    <a:pt x="1483" y="1945"/>
                  </a:lnTo>
                  <a:lnTo>
                    <a:pt x="1459" y="2004"/>
                  </a:lnTo>
                  <a:lnTo>
                    <a:pt x="1445" y="2050"/>
                  </a:lnTo>
                  <a:lnTo>
                    <a:pt x="1439" y="2075"/>
                  </a:lnTo>
                  <a:lnTo>
                    <a:pt x="1436" y="2098"/>
                  </a:lnTo>
                  <a:lnTo>
                    <a:pt x="1464" y="2136"/>
                  </a:lnTo>
                  <a:lnTo>
                    <a:pt x="1478" y="2160"/>
                  </a:lnTo>
                  <a:lnTo>
                    <a:pt x="1487" y="2185"/>
                  </a:lnTo>
                  <a:lnTo>
                    <a:pt x="1442" y="2219"/>
                  </a:lnTo>
                  <a:lnTo>
                    <a:pt x="1464" y="2262"/>
                  </a:lnTo>
                  <a:lnTo>
                    <a:pt x="1452" y="2265"/>
                  </a:lnTo>
                  <a:lnTo>
                    <a:pt x="1428" y="2263"/>
                  </a:lnTo>
                  <a:lnTo>
                    <a:pt x="1381" y="2251"/>
                  </a:lnTo>
                  <a:lnTo>
                    <a:pt x="1342" y="2240"/>
                  </a:lnTo>
                  <a:lnTo>
                    <a:pt x="1312" y="2206"/>
                  </a:lnTo>
                  <a:lnTo>
                    <a:pt x="1276" y="2174"/>
                  </a:lnTo>
                  <a:lnTo>
                    <a:pt x="1238" y="2185"/>
                  </a:lnTo>
                  <a:lnTo>
                    <a:pt x="1200" y="2164"/>
                  </a:lnTo>
                  <a:lnTo>
                    <a:pt x="1144" y="2125"/>
                  </a:lnTo>
                  <a:lnTo>
                    <a:pt x="1066" y="2086"/>
                  </a:lnTo>
                  <a:lnTo>
                    <a:pt x="1034" y="2089"/>
                  </a:lnTo>
                  <a:lnTo>
                    <a:pt x="1000" y="2092"/>
                  </a:lnTo>
                  <a:lnTo>
                    <a:pt x="956" y="2047"/>
                  </a:lnTo>
                  <a:lnTo>
                    <a:pt x="956" y="2034"/>
                  </a:lnTo>
                  <a:lnTo>
                    <a:pt x="957" y="2014"/>
                  </a:lnTo>
                  <a:lnTo>
                    <a:pt x="967" y="1981"/>
                  </a:lnTo>
                  <a:lnTo>
                    <a:pt x="986" y="1961"/>
                  </a:lnTo>
                  <a:lnTo>
                    <a:pt x="1011" y="1949"/>
                  </a:lnTo>
                  <a:lnTo>
                    <a:pt x="1028" y="1971"/>
                  </a:lnTo>
                  <a:lnTo>
                    <a:pt x="1049" y="1987"/>
                  </a:lnTo>
                  <a:lnTo>
                    <a:pt x="1045" y="1960"/>
                  </a:lnTo>
                  <a:lnTo>
                    <a:pt x="1072" y="1943"/>
                  </a:lnTo>
                  <a:lnTo>
                    <a:pt x="1111" y="1954"/>
                  </a:lnTo>
                  <a:lnTo>
                    <a:pt x="1149" y="1960"/>
                  </a:lnTo>
                  <a:lnTo>
                    <a:pt x="1194" y="1987"/>
                  </a:lnTo>
                  <a:lnTo>
                    <a:pt x="1215" y="1971"/>
                  </a:lnTo>
                  <a:lnTo>
                    <a:pt x="1243" y="1971"/>
                  </a:lnTo>
                  <a:lnTo>
                    <a:pt x="1293" y="1977"/>
                  </a:lnTo>
                  <a:lnTo>
                    <a:pt x="1298" y="1965"/>
                  </a:lnTo>
                  <a:lnTo>
                    <a:pt x="1338" y="1949"/>
                  </a:lnTo>
                  <a:lnTo>
                    <a:pt x="1353" y="1926"/>
                  </a:lnTo>
                  <a:lnTo>
                    <a:pt x="1393" y="1921"/>
                  </a:lnTo>
                  <a:lnTo>
                    <a:pt x="1421" y="1932"/>
                  </a:lnTo>
                  <a:lnTo>
                    <a:pt x="1442" y="1905"/>
                  </a:lnTo>
                  <a:lnTo>
                    <a:pt x="1464" y="1899"/>
                  </a:lnTo>
                  <a:lnTo>
                    <a:pt x="1491" y="1882"/>
                  </a:lnTo>
                  <a:lnTo>
                    <a:pt x="1525" y="1894"/>
                  </a:lnTo>
                  <a:lnTo>
                    <a:pt x="1553" y="1871"/>
                  </a:lnTo>
                  <a:lnTo>
                    <a:pt x="1547" y="1833"/>
                  </a:lnTo>
                  <a:lnTo>
                    <a:pt x="1542" y="1794"/>
                  </a:lnTo>
                  <a:lnTo>
                    <a:pt x="1563" y="1778"/>
                  </a:lnTo>
                  <a:lnTo>
                    <a:pt x="1597" y="1794"/>
                  </a:lnTo>
                  <a:lnTo>
                    <a:pt x="1602" y="1761"/>
                  </a:lnTo>
                  <a:lnTo>
                    <a:pt x="1563" y="1701"/>
                  </a:lnTo>
                  <a:lnTo>
                    <a:pt x="1569" y="1656"/>
                  </a:lnTo>
                  <a:lnTo>
                    <a:pt x="1536" y="1607"/>
                  </a:lnTo>
                  <a:lnTo>
                    <a:pt x="1508" y="1541"/>
                  </a:lnTo>
                  <a:lnTo>
                    <a:pt x="1497" y="1508"/>
                  </a:lnTo>
                  <a:lnTo>
                    <a:pt x="1497" y="1469"/>
                  </a:lnTo>
                  <a:lnTo>
                    <a:pt x="1476" y="1474"/>
                  </a:lnTo>
                  <a:lnTo>
                    <a:pt x="1476" y="1502"/>
                  </a:lnTo>
                  <a:lnTo>
                    <a:pt x="1436" y="1508"/>
                  </a:lnTo>
                  <a:lnTo>
                    <a:pt x="1376" y="1480"/>
                  </a:lnTo>
                  <a:lnTo>
                    <a:pt x="1365" y="1453"/>
                  </a:lnTo>
                  <a:lnTo>
                    <a:pt x="1365" y="1403"/>
                  </a:lnTo>
                  <a:lnTo>
                    <a:pt x="1339" y="1388"/>
                  </a:lnTo>
                  <a:lnTo>
                    <a:pt x="1310" y="1376"/>
                  </a:lnTo>
                  <a:lnTo>
                    <a:pt x="1276" y="1414"/>
                  </a:lnTo>
                  <a:lnTo>
                    <a:pt x="1260" y="1397"/>
                  </a:lnTo>
                  <a:lnTo>
                    <a:pt x="1270" y="1365"/>
                  </a:lnTo>
                  <a:lnTo>
                    <a:pt x="1238" y="1359"/>
                  </a:lnTo>
                  <a:lnTo>
                    <a:pt x="1204" y="1353"/>
                  </a:lnTo>
                  <a:lnTo>
                    <a:pt x="1190" y="1310"/>
                  </a:lnTo>
                  <a:lnTo>
                    <a:pt x="1172" y="1266"/>
                  </a:lnTo>
                  <a:lnTo>
                    <a:pt x="1127" y="1252"/>
                  </a:lnTo>
                  <a:lnTo>
                    <a:pt x="1100" y="1251"/>
                  </a:lnTo>
                  <a:lnTo>
                    <a:pt x="1077" y="1255"/>
                  </a:lnTo>
                  <a:lnTo>
                    <a:pt x="1055" y="1276"/>
                  </a:lnTo>
                  <a:lnTo>
                    <a:pt x="1029" y="1257"/>
                  </a:lnTo>
                  <a:lnTo>
                    <a:pt x="1000" y="1232"/>
                  </a:lnTo>
                  <a:lnTo>
                    <a:pt x="968" y="1215"/>
                  </a:lnTo>
                  <a:lnTo>
                    <a:pt x="890" y="1172"/>
                  </a:lnTo>
                  <a:lnTo>
                    <a:pt x="856" y="1111"/>
                  </a:lnTo>
                  <a:lnTo>
                    <a:pt x="824" y="1094"/>
                  </a:lnTo>
                  <a:lnTo>
                    <a:pt x="779" y="1039"/>
                  </a:lnTo>
                  <a:lnTo>
                    <a:pt x="733" y="1031"/>
                  </a:lnTo>
                  <a:lnTo>
                    <a:pt x="696" y="1017"/>
                  </a:lnTo>
                  <a:lnTo>
                    <a:pt x="724" y="990"/>
                  </a:lnTo>
                  <a:lnTo>
                    <a:pt x="679" y="968"/>
                  </a:lnTo>
                  <a:lnTo>
                    <a:pt x="641" y="930"/>
                  </a:lnTo>
                  <a:lnTo>
                    <a:pt x="613" y="896"/>
                  </a:lnTo>
                  <a:lnTo>
                    <a:pt x="607" y="830"/>
                  </a:lnTo>
                  <a:lnTo>
                    <a:pt x="575" y="769"/>
                  </a:lnTo>
                  <a:lnTo>
                    <a:pt x="574" y="739"/>
                  </a:lnTo>
                  <a:lnTo>
                    <a:pt x="574" y="723"/>
                  </a:lnTo>
                  <a:lnTo>
                    <a:pt x="569" y="709"/>
                  </a:lnTo>
                  <a:lnTo>
                    <a:pt x="509" y="665"/>
                  </a:lnTo>
                  <a:lnTo>
                    <a:pt x="492" y="643"/>
                  </a:lnTo>
                  <a:lnTo>
                    <a:pt x="409" y="599"/>
                  </a:lnTo>
                  <a:lnTo>
                    <a:pt x="360" y="586"/>
                  </a:lnTo>
                  <a:lnTo>
                    <a:pt x="332" y="581"/>
                  </a:lnTo>
                  <a:lnTo>
                    <a:pt x="309" y="582"/>
                  </a:lnTo>
                  <a:lnTo>
                    <a:pt x="282" y="611"/>
                  </a:lnTo>
                  <a:lnTo>
                    <a:pt x="254" y="648"/>
                  </a:lnTo>
                  <a:lnTo>
                    <a:pt x="193" y="709"/>
                  </a:lnTo>
                  <a:lnTo>
                    <a:pt x="152" y="719"/>
                  </a:lnTo>
                  <a:lnTo>
                    <a:pt x="131" y="720"/>
                  </a:lnTo>
                  <a:lnTo>
                    <a:pt x="116" y="714"/>
                  </a:lnTo>
                  <a:lnTo>
                    <a:pt x="137" y="687"/>
                  </a:lnTo>
                  <a:lnTo>
                    <a:pt x="161" y="654"/>
                  </a:lnTo>
                  <a:lnTo>
                    <a:pt x="144" y="637"/>
                  </a:lnTo>
                  <a:lnTo>
                    <a:pt x="117" y="636"/>
                  </a:lnTo>
                  <a:lnTo>
                    <a:pt x="88" y="637"/>
                  </a:lnTo>
                  <a:lnTo>
                    <a:pt x="39" y="610"/>
                  </a:lnTo>
                  <a:lnTo>
                    <a:pt x="31" y="583"/>
                  </a:lnTo>
                  <a:lnTo>
                    <a:pt x="27" y="555"/>
                  </a:lnTo>
                  <a:lnTo>
                    <a:pt x="55" y="506"/>
                  </a:lnTo>
                  <a:lnTo>
                    <a:pt x="50" y="483"/>
                  </a:lnTo>
                  <a:lnTo>
                    <a:pt x="12" y="472"/>
                  </a:lnTo>
                  <a:lnTo>
                    <a:pt x="12" y="444"/>
                  </a:lnTo>
                  <a:lnTo>
                    <a:pt x="0" y="412"/>
                  </a:lnTo>
                  <a:lnTo>
                    <a:pt x="22" y="412"/>
                  </a:lnTo>
                  <a:lnTo>
                    <a:pt x="44" y="417"/>
                  </a:lnTo>
                  <a:lnTo>
                    <a:pt x="72" y="395"/>
                  </a:lnTo>
                  <a:lnTo>
                    <a:pt x="82" y="378"/>
                  </a:lnTo>
                  <a:lnTo>
                    <a:pt x="72" y="351"/>
                  </a:lnTo>
                  <a:lnTo>
                    <a:pt x="50" y="334"/>
                  </a:lnTo>
                  <a:lnTo>
                    <a:pt x="44" y="313"/>
                  </a:lnTo>
                  <a:lnTo>
                    <a:pt x="33" y="291"/>
                  </a:lnTo>
                  <a:lnTo>
                    <a:pt x="39" y="263"/>
                  </a:lnTo>
                  <a:lnTo>
                    <a:pt x="61" y="251"/>
                  </a:lnTo>
                  <a:lnTo>
                    <a:pt x="67" y="251"/>
                  </a:lnTo>
                  <a:lnTo>
                    <a:pt x="99" y="257"/>
                  </a:lnTo>
                  <a:lnTo>
                    <a:pt x="133" y="247"/>
                  </a:lnTo>
                  <a:lnTo>
                    <a:pt x="155" y="236"/>
                  </a:lnTo>
                  <a:lnTo>
                    <a:pt x="171" y="251"/>
                  </a:lnTo>
                  <a:lnTo>
                    <a:pt x="193" y="251"/>
                  </a:lnTo>
                  <a:lnTo>
                    <a:pt x="216" y="236"/>
                  </a:lnTo>
                  <a:lnTo>
                    <a:pt x="221" y="213"/>
                  </a:lnTo>
                  <a:lnTo>
                    <a:pt x="237" y="196"/>
                  </a:lnTo>
                  <a:lnTo>
                    <a:pt x="233" y="169"/>
                  </a:lnTo>
                  <a:lnTo>
                    <a:pt x="254" y="158"/>
                  </a:lnTo>
                  <a:lnTo>
                    <a:pt x="265" y="136"/>
                  </a:lnTo>
                  <a:lnTo>
                    <a:pt x="288" y="136"/>
                  </a:lnTo>
                  <a:lnTo>
                    <a:pt x="282" y="164"/>
                  </a:lnTo>
                  <a:lnTo>
                    <a:pt x="282" y="196"/>
                  </a:lnTo>
                  <a:lnTo>
                    <a:pt x="309" y="213"/>
                  </a:lnTo>
                  <a:lnTo>
                    <a:pt x="343" y="213"/>
                  </a:lnTo>
                  <a:lnTo>
                    <a:pt x="343" y="236"/>
                  </a:lnTo>
                  <a:lnTo>
                    <a:pt x="354" y="274"/>
                  </a:lnTo>
                  <a:lnTo>
                    <a:pt x="376" y="279"/>
                  </a:lnTo>
                  <a:lnTo>
                    <a:pt x="376" y="251"/>
                  </a:lnTo>
                  <a:lnTo>
                    <a:pt x="371" y="224"/>
                  </a:lnTo>
                  <a:lnTo>
                    <a:pt x="392" y="196"/>
                  </a:lnTo>
                  <a:lnTo>
                    <a:pt x="409" y="169"/>
                  </a:lnTo>
                  <a:lnTo>
                    <a:pt x="409" y="136"/>
                  </a:lnTo>
                  <a:lnTo>
                    <a:pt x="442" y="130"/>
                  </a:lnTo>
                  <a:lnTo>
                    <a:pt x="442" y="153"/>
                  </a:lnTo>
                  <a:lnTo>
                    <a:pt x="454" y="175"/>
                  </a:lnTo>
                  <a:lnTo>
                    <a:pt x="475" y="169"/>
                  </a:lnTo>
                  <a:lnTo>
                    <a:pt x="475" y="153"/>
                  </a:lnTo>
                  <a:lnTo>
                    <a:pt x="509" y="153"/>
                  </a:lnTo>
                  <a:lnTo>
                    <a:pt x="514" y="181"/>
                  </a:lnTo>
                  <a:lnTo>
                    <a:pt x="536" y="185"/>
                  </a:lnTo>
                  <a:lnTo>
                    <a:pt x="558" y="181"/>
                  </a:lnTo>
                  <a:lnTo>
                    <a:pt x="536" y="141"/>
                  </a:lnTo>
                  <a:lnTo>
                    <a:pt x="524" y="125"/>
                  </a:lnTo>
                  <a:lnTo>
                    <a:pt x="530" y="103"/>
                  </a:lnTo>
                  <a:lnTo>
                    <a:pt x="547" y="103"/>
                  </a:lnTo>
                  <a:lnTo>
                    <a:pt x="564" y="125"/>
                  </a:lnTo>
                  <a:lnTo>
                    <a:pt x="586" y="130"/>
                  </a:lnTo>
                  <a:lnTo>
                    <a:pt x="592" y="98"/>
                  </a:lnTo>
                  <a:lnTo>
                    <a:pt x="580" y="70"/>
                  </a:lnTo>
                  <a:lnTo>
                    <a:pt x="592" y="54"/>
                  </a:lnTo>
                  <a:lnTo>
                    <a:pt x="591" y="55"/>
                  </a:lnTo>
                  <a:lnTo>
                    <a:pt x="605" y="50"/>
                  </a:lnTo>
                  <a:lnTo>
                    <a:pt x="621" y="50"/>
                  </a:lnTo>
                  <a:lnTo>
                    <a:pt x="640" y="69"/>
                  </a:lnTo>
                  <a:lnTo>
                    <a:pt x="684" y="64"/>
                  </a:lnTo>
                  <a:lnTo>
                    <a:pt x="689" y="30"/>
                  </a:lnTo>
                  <a:lnTo>
                    <a:pt x="719" y="15"/>
                  </a:lnTo>
                  <a:lnTo>
                    <a:pt x="756" y="14"/>
                  </a:lnTo>
                  <a:lnTo>
                    <a:pt x="794" y="15"/>
                  </a:lnTo>
                  <a:lnTo>
                    <a:pt x="843" y="0"/>
                  </a:lnTo>
                  <a:lnTo>
                    <a:pt x="843" y="34"/>
                  </a:lnTo>
                  <a:lnTo>
                    <a:pt x="858" y="50"/>
                  </a:lnTo>
                  <a:lnTo>
                    <a:pt x="892" y="84"/>
                  </a:lnTo>
                  <a:lnTo>
                    <a:pt x="986" y="99"/>
                  </a:lnTo>
                  <a:lnTo>
                    <a:pt x="1085" y="104"/>
                  </a:lnTo>
                  <a:lnTo>
                    <a:pt x="1095" y="104"/>
                  </a:lnTo>
                  <a:lnTo>
                    <a:pt x="1071" y="123"/>
                  </a:lnTo>
                  <a:lnTo>
                    <a:pt x="1041" y="148"/>
                  </a:lnTo>
                  <a:lnTo>
                    <a:pt x="1031" y="173"/>
                  </a:lnTo>
                  <a:lnTo>
                    <a:pt x="1057" y="173"/>
                  </a:lnTo>
                  <a:lnTo>
                    <a:pt x="1071" y="193"/>
                  </a:lnTo>
                  <a:lnTo>
                    <a:pt x="1051" y="212"/>
                  </a:lnTo>
                  <a:lnTo>
                    <a:pt x="1051" y="247"/>
                  </a:lnTo>
                  <a:lnTo>
                    <a:pt x="1106" y="272"/>
                  </a:lnTo>
                  <a:lnTo>
                    <a:pt x="1089" y="279"/>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23" name="Freeform 62"/>
            <p:cNvSpPr>
              <a:spLocks/>
            </p:cNvSpPr>
            <p:nvPr/>
          </p:nvSpPr>
          <p:spPr bwMode="auto">
            <a:xfrm>
              <a:off x="3657601" y="5451475"/>
              <a:ext cx="217487" cy="355600"/>
            </a:xfrm>
            <a:custGeom>
              <a:avLst/>
              <a:gdLst>
                <a:gd name="T0" fmla="*/ 177 w 289"/>
                <a:gd name="T1" fmla="*/ 0 h 518"/>
                <a:gd name="T2" fmla="*/ 239 w 289"/>
                <a:gd name="T3" fmla="*/ 16 h 518"/>
                <a:gd name="T4" fmla="*/ 245 w 289"/>
                <a:gd name="T5" fmla="*/ 56 h 518"/>
                <a:gd name="T6" fmla="*/ 266 w 289"/>
                <a:gd name="T7" fmla="*/ 77 h 518"/>
                <a:gd name="T8" fmla="*/ 283 w 289"/>
                <a:gd name="T9" fmla="*/ 125 h 518"/>
                <a:gd name="T10" fmla="*/ 289 w 289"/>
                <a:gd name="T11" fmla="*/ 153 h 518"/>
                <a:gd name="T12" fmla="*/ 288 w 289"/>
                <a:gd name="T13" fmla="*/ 177 h 518"/>
                <a:gd name="T14" fmla="*/ 260 w 289"/>
                <a:gd name="T15" fmla="*/ 198 h 518"/>
                <a:gd name="T16" fmla="*/ 245 w 289"/>
                <a:gd name="T17" fmla="*/ 232 h 518"/>
                <a:gd name="T18" fmla="*/ 272 w 289"/>
                <a:gd name="T19" fmla="*/ 275 h 518"/>
                <a:gd name="T20" fmla="*/ 267 w 289"/>
                <a:gd name="T21" fmla="*/ 310 h 518"/>
                <a:gd name="T22" fmla="*/ 255 w 289"/>
                <a:gd name="T23" fmla="*/ 347 h 518"/>
                <a:gd name="T24" fmla="*/ 245 w 289"/>
                <a:gd name="T25" fmla="*/ 413 h 518"/>
                <a:gd name="T26" fmla="*/ 245 w 289"/>
                <a:gd name="T27" fmla="*/ 430 h 518"/>
                <a:gd name="T28" fmla="*/ 243 w 289"/>
                <a:gd name="T29" fmla="*/ 452 h 518"/>
                <a:gd name="T30" fmla="*/ 233 w 289"/>
                <a:gd name="T31" fmla="*/ 485 h 518"/>
                <a:gd name="T32" fmla="*/ 205 w 289"/>
                <a:gd name="T33" fmla="*/ 457 h 518"/>
                <a:gd name="T34" fmla="*/ 150 w 289"/>
                <a:gd name="T35" fmla="*/ 451 h 518"/>
                <a:gd name="T36" fmla="*/ 145 w 289"/>
                <a:gd name="T37" fmla="*/ 485 h 518"/>
                <a:gd name="T38" fmla="*/ 128 w 289"/>
                <a:gd name="T39" fmla="*/ 518 h 518"/>
                <a:gd name="T40" fmla="*/ 84 w 289"/>
                <a:gd name="T41" fmla="*/ 512 h 518"/>
                <a:gd name="T42" fmla="*/ 62 w 289"/>
                <a:gd name="T43" fmla="*/ 485 h 518"/>
                <a:gd name="T44" fmla="*/ 45 w 289"/>
                <a:gd name="T45" fmla="*/ 502 h 518"/>
                <a:gd name="T46" fmla="*/ 24 w 289"/>
                <a:gd name="T47" fmla="*/ 481 h 518"/>
                <a:gd name="T48" fmla="*/ 12 w 289"/>
                <a:gd name="T49" fmla="*/ 457 h 518"/>
                <a:gd name="T50" fmla="*/ 45 w 289"/>
                <a:gd name="T51" fmla="*/ 468 h 518"/>
                <a:gd name="T52" fmla="*/ 45 w 289"/>
                <a:gd name="T53" fmla="*/ 430 h 518"/>
                <a:gd name="T54" fmla="*/ 46 w 289"/>
                <a:gd name="T55" fmla="*/ 403 h 518"/>
                <a:gd name="T56" fmla="*/ 39 w 289"/>
                <a:gd name="T57" fmla="*/ 374 h 518"/>
                <a:gd name="T58" fmla="*/ 60 w 289"/>
                <a:gd name="T59" fmla="*/ 342 h 518"/>
                <a:gd name="T60" fmla="*/ 79 w 289"/>
                <a:gd name="T61" fmla="*/ 309 h 518"/>
                <a:gd name="T62" fmla="*/ 62 w 289"/>
                <a:gd name="T63" fmla="*/ 287 h 518"/>
                <a:gd name="T64" fmla="*/ 39 w 289"/>
                <a:gd name="T65" fmla="*/ 292 h 518"/>
                <a:gd name="T66" fmla="*/ 34 w 289"/>
                <a:gd name="T67" fmla="*/ 259 h 518"/>
                <a:gd name="T68" fmla="*/ 51 w 289"/>
                <a:gd name="T69" fmla="*/ 243 h 518"/>
                <a:gd name="T70" fmla="*/ 62 w 289"/>
                <a:gd name="T71" fmla="*/ 215 h 518"/>
                <a:gd name="T72" fmla="*/ 24 w 289"/>
                <a:gd name="T73" fmla="*/ 149 h 518"/>
                <a:gd name="T74" fmla="*/ 1 w 289"/>
                <a:gd name="T75" fmla="*/ 137 h 518"/>
                <a:gd name="T76" fmla="*/ 0 w 289"/>
                <a:gd name="T77" fmla="*/ 108 h 518"/>
                <a:gd name="T78" fmla="*/ 7 w 289"/>
                <a:gd name="T79" fmla="*/ 77 h 518"/>
                <a:gd name="T80" fmla="*/ 28 w 289"/>
                <a:gd name="T81" fmla="*/ 11 h 518"/>
                <a:gd name="T82" fmla="*/ 30 w 289"/>
                <a:gd name="T83" fmla="*/ 42 h 518"/>
                <a:gd name="T84" fmla="*/ 30 w 289"/>
                <a:gd name="T85" fmla="*/ 66 h 518"/>
                <a:gd name="T86" fmla="*/ 34 w 289"/>
                <a:gd name="T87" fmla="*/ 83 h 518"/>
                <a:gd name="T88" fmla="*/ 73 w 289"/>
                <a:gd name="T89" fmla="*/ 83 h 518"/>
                <a:gd name="T90" fmla="*/ 117 w 289"/>
                <a:gd name="T91" fmla="*/ 60 h 518"/>
                <a:gd name="T92" fmla="*/ 128 w 289"/>
                <a:gd name="T93" fmla="*/ 39 h 518"/>
                <a:gd name="T94" fmla="*/ 156 w 289"/>
                <a:gd name="T95" fmla="*/ 16 h 518"/>
                <a:gd name="T96" fmla="*/ 177 w 289"/>
                <a:gd name="T97" fmla="*/ 0 h 5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9"/>
                <a:gd name="T148" fmla="*/ 0 h 518"/>
                <a:gd name="T149" fmla="*/ 289 w 289"/>
                <a:gd name="T150" fmla="*/ 518 h 5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9" h="518">
                  <a:moveTo>
                    <a:pt x="177" y="0"/>
                  </a:moveTo>
                  <a:lnTo>
                    <a:pt x="239" y="16"/>
                  </a:lnTo>
                  <a:lnTo>
                    <a:pt x="245" y="56"/>
                  </a:lnTo>
                  <a:lnTo>
                    <a:pt x="266" y="77"/>
                  </a:lnTo>
                  <a:lnTo>
                    <a:pt x="283" y="125"/>
                  </a:lnTo>
                  <a:lnTo>
                    <a:pt x="289" y="153"/>
                  </a:lnTo>
                  <a:lnTo>
                    <a:pt x="288" y="177"/>
                  </a:lnTo>
                  <a:lnTo>
                    <a:pt x="260" y="198"/>
                  </a:lnTo>
                  <a:lnTo>
                    <a:pt x="245" y="232"/>
                  </a:lnTo>
                  <a:lnTo>
                    <a:pt x="272" y="275"/>
                  </a:lnTo>
                  <a:lnTo>
                    <a:pt x="267" y="310"/>
                  </a:lnTo>
                  <a:lnTo>
                    <a:pt x="255" y="347"/>
                  </a:lnTo>
                  <a:lnTo>
                    <a:pt x="245" y="413"/>
                  </a:lnTo>
                  <a:lnTo>
                    <a:pt x="245" y="430"/>
                  </a:lnTo>
                  <a:lnTo>
                    <a:pt x="243" y="452"/>
                  </a:lnTo>
                  <a:lnTo>
                    <a:pt x="233" y="485"/>
                  </a:lnTo>
                  <a:lnTo>
                    <a:pt x="205" y="457"/>
                  </a:lnTo>
                  <a:lnTo>
                    <a:pt x="150" y="451"/>
                  </a:lnTo>
                  <a:lnTo>
                    <a:pt x="145" y="485"/>
                  </a:lnTo>
                  <a:lnTo>
                    <a:pt x="128" y="518"/>
                  </a:lnTo>
                  <a:lnTo>
                    <a:pt x="84" y="512"/>
                  </a:lnTo>
                  <a:lnTo>
                    <a:pt x="62" y="485"/>
                  </a:lnTo>
                  <a:lnTo>
                    <a:pt x="45" y="502"/>
                  </a:lnTo>
                  <a:lnTo>
                    <a:pt x="24" y="481"/>
                  </a:lnTo>
                  <a:lnTo>
                    <a:pt x="12" y="457"/>
                  </a:lnTo>
                  <a:lnTo>
                    <a:pt x="45" y="468"/>
                  </a:lnTo>
                  <a:lnTo>
                    <a:pt x="45" y="430"/>
                  </a:lnTo>
                  <a:lnTo>
                    <a:pt x="46" y="403"/>
                  </a:lnTo>
                  <a:lnTo>
                    <a:pt x="39" y="374"/>
                  </a:lnTo>
                  <a:lnTo>
                    <a:pt x="60" y="342"/>
                  </a:lnTo>
                  <a:lnTo>
                    <a:pt x="79" y="309"/>
                  </a:lnTo>
                  <a:lnTo>
                    <a:pt x="62" y="287"/>
                  </a:lnTo>
                  <a:lnTo>
                    <a:pt x="39" y="292"/>
                  </a:lnTo>
                  <a:lnTo>
                    <a:pt x="34" y="259"/>
                  </a:lnTo>
                  <a:lnTo>
                    <a:pt x="51" y="243"/>
                  </a:lnTo>
                  <a:lnTo>
                    <a:pt x="62" y="215"/>
                  </a:lnTo>
                  <a:lnTo>
                    <a:pt x="24" y="149"/>
                  </a:lnTo>
                  <a:lnTo>
                    <a:pt x="1" y="137"/>
                  </a:lnTo>
                  <a:lnTo>
                    <a:pt x="0" y="108"/>
                  </a:lnTo>
                  <a:lnTo>
                    <a:pt x="7" y="77"/>
                  </a:lnTo>
                  <a:lnTo>
                    <a:pt x="28" y="11"/>
                  </a:lnTo>
                  <a:lnTo>
                    <a:pt x="30" y="42"/>
                  </a:lnTo>
                  <a:lnTo>
                    <a:pt x="30" y="66"/>
                  </a:lnTo>
                  <a:lnTo>
                    <a:pt x="34" y="83"/>
                  </a:lnTo>
                  <a:lnTo>
                    <a:pt x="73" y="83"/>
                  </a:lnTo>
                  <a:lnTo>
                    <a:pt x="117" y="60"/>
                  </a:lnTo>
                  <a:lnTo>
                    <a:pt x="128" y="39"/>
                  </a:lnTo>
                  <a:lnTo>
                    <a:pt x="156" y="16"/>
                  </a:lnTo>
                  <a:lnTo>
                    <a:pt x="177"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24" name="Freeform 63"/>
            <p:cNvSpPr>
              <a:spLocks/>
            </p:cNvSpPr>
            <p:nvPr/>
          </p:nvSpPr>
          <p:spPr bwMode="auto">
            <a:xfrm>
              <a:off x="3435351" y="4460875"/>
              <a:ext cx="511175" cy="301625"/>
            </a:xfrm>
            <a:custGeom>
              <a:avLst/>
              <a:gdLst>
                <a:gd name="T0" fmla="*/ 2147483647 w 680"/>
                <a:gd name="T1" fmla="*/ 2147483647 h 440"/>
                <a:gd name="T2" fmla="*/ 2147483647 w 680"/>
                <a:gd name="T3" fmla="*/ 2147483647 h 440"/>
                <a:gd name="T4" fmla="*/ 2147483647 w 680"/>
                <a:gd name="T5" fmla="*/ 2147483647 h 440"/>
                <a:gd name="T6" fmla="*/ 2147483647 w 680"/>
                <a:gd name="T7" fmla="*/ 2147483647 h 440"/>
                <a:gd name="T8" fmla="*/ 0 w 680"/>
                <a:gd name="T9" fmla="*/ 2147483647 h 440"/>
                <a:gd name="T10" fmla="*/ 2147483647 w 680"/>
                <a:gd name="T11" fmla="*/ 2147483647 h 440"/>
                <a:gd name="T12" fmla="*/ 2147483647 w 680"/>
                <a:gd name="T13" fmla="*/ 2147483647 h 440"/>
                <a:gd name="T14" fmla="*/ 2147483647 w 680"/>
                <a:gd name="T15" fmla="*/ 2147483647 h 440"/>
                <a:gd name="T16" fmla="*/ 2147483647 w 680"/>
                <a:gd name="T17" fmla="*/ 2147483647 h 440"/>
                <a:gd name="T18" fmla="*/ 2147483647 w 680"/>
                <a:gd name="T19" fmla="*/ 2147483647 h 440"/>
                <a:gd name="T20" fmla="*/ 2147483647 w 680"/>
                <a:gd name="T21" fmla="*/ 2147483647 h 440"/>
                <a:gd name="T22" fmla="*/ 2147483647 w 680"/>
                <a:gd name="T23" fmla="*/ 2147483647 h 440"/>
                <a:gd name="T24" fmla="*/ 2147483647 w 680"/>
                <a:gd name="T25" fmla="*/ 2147483647 h 440"/>
                <a:gd name="T26" fmla="*/ 2147483647 w 680"/>
                <a:gd name="T27" fmla="*/ 2147483647 h 440"/>
                <a:gd name="T28" fmla="*/ 2147483647 w 680"/>
                <a:gd name="T29" fmla="*/ 2147483647 h 440"/>
                <a:gd name="T30" fmla="*/ 2147483647 w 680"/>
                <a:gd name="T31" fmla="*/ 2147483647 h 440"/>
                <a:gd name="T32" fmla="*/ 2147483647 w 680"/>
                <a:gd name="T33" fmla="*/ 2147483647 h 440"/>
                <a:gd name="T34" fmla="*/ 2147483647 w 680"/>
                <a:gd name="T35" fmla="*/ 2147483647 h 440"/>
                <a:gd name="T36" fmla="*/ 2147483647 w 680"/>
                <a:gd name="T37" fmla="*/ 2147483647 h 440"/>
                <a:gd name="T38" fmla="*/ 2147483647 w 680"/>
                <a:gd name="T39" fmla="*/ 2147483647 h 440"/>
                <a:gd name="T40" fmla="*/ 2147483647 w 680"/>
                <a:gd name="T41" fmla="*/ 2147483647 h 440"/>
                <a:gd name="T42" fmla="*/ 2147483647 w 680"/>
                <a:gd name="T43" fmla="*/ 2147483647 h 440"/>
                <a:gd name="T44" fmla="*/ 2147483647 w 680"/>
                <a:gd name="T45" fmla="*/ 2147483647 h 440"/>
                <a:gd name="T46" fmla="*/ 2147483647 w 680"/>
                <a:gd name="T47" fmla="*/ 2147483647 h 440"/>
                <a:gd name="T48" fmla="*/ 2147483647 w 680"/>
                <a:gd name="T49" fmla="*/ 2147483647 h 440"/>
                <a:gd name="T50" fmla="*/ 2147483647 w 680"/>
                <a:gd name="T51" fmla="*/ 2147483647 h 440"/>
                <a:gd name="T52" fmla="*/ 2147483647 w 680"/>
                <a:gd name="T53" fmla="*/ 2147483647 h 440"/>
                <a:gd name="T54" fmla="*/ 2147483647 w 680"/>
                <a:gd name="T55" fmla="*/ 2147483647 h 440"/>
                <a:gd name="T56" fmla="*/ 2147483647 w 680"/>
                <a:gd name="T57" fmla="*/ 2147483647 h 440"/>
                <a:gd name="T58" fmla="*/ 2147483647 w 680"/>
                <a:gd name="T59" fmla="*/ 2147483647 h 440"/>
                <a:gd name="T60" fmla="*/ 2147483647 w 680"/>
                <a:gd name="T61" fmla="*/ 2147483647 h 440"/>
                <a:gd name="T62" fmla="*/ 2147483647 w 680"/>
                <a:gd name="T63" fmla="*/ 2147483647 h 440"/>
                <a:gd name="T64" fmla="*/ 2147483647 w 680"/>
                <a:gd name="T65" fmla="*/ 2147483647 h 440"/>
                <a:gd name="T66" fmla="*/ 2147483647 w 680"/>
                <a:gd name="T67" fmla="*/ 2147483647 h 440"/>
                <a:gd name="T68" fmla="*/ 2147483647 w 680"/>
                <a:gd name="T69" fmla="*/ 2147483647 h 440"/>
                <a:gd name="T70" fmla="*/ 2147483647 w 680"/>
                <a:gd name="T71" fmla="*/ 2147483647 h 440"/>
                <a:gd name="T72" fmla="*/ 2147483647 w 680"/>
                <a:gd name="T73" fmla="*/ 2147483647 h 440"/>
                <a:gd name="T74" fmla="*/ 2147483647 w 680"/>
                <a:gd name="T75" fmla="*/ 2147483647 h 440"/>
                <a:gd name="T76" fmla="*/ 2147483647 w 680"/>
                <a:gd name="T77" fmla="*/ 2147483647 h 440"/>
                <a:gd name="T78" fmla="*/ 2147483647 w 680"/>
                <a:gd name="T79" fmla="*/ 2147483647 h 440"/>
                <a:gd name="T80" fmla="*/ 2147483647 w 680"/>
                <a:gd name="T81" fmla="*/ 2147483647 h 440"/>
                <a:gd name="T82" fmla="*/ 2147483647 w 680"/>
                <a:gd name="T83" fmla="*/ 2147483647 h 440"/>
                <a:gd name="T84" fmla="*/ 2147483647 w 680"/>
                <a:gd name="T85" fmla="*/ 2147483647 h 440"/>
                <a:gd name="T86" fmla="*/ 2147483647 w 680"/>
                <a:gd name="T87" fmla="*/ 2147483647 h 440"/>
                <a:gd name="T88" fmla="*/ 2147483647 w 680"/>
                <a:gd name="T89" fmla="*/ 2147483647 h 440"/>
                <a:gd name="T90" fmla="*/ 2147483647 w 680"/>
                <a:gd name="T91" fmla="*/ 2147483647 h 440"/>
                <a:gd name="T92" fmla="*/ 2147483647 w 680"/>
                <a:gd name="T93" fmla="*/ 2147483647 h 440"/>
                <a:gd name="T94" fmla="*/ 2147483647 w 680"/>
                <a:gd name="T95" fmla="*/ 2147483647 h 4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0"/>
                <a:gd name="T145" fmla="*/ 0 h 440"/>
                <a:gd name="T146" fmla="*/ 680 w 680"/>
                <a:gd name="T147" fmla="*/ 440 h 44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0" h="440">
                  <a:moveTo>
                    <a:pt x="155" y="412"/>
                  </a:moveTo>
                  <a:lnTo>
                    <a:pt x="155" y="418"/>
                  </a:lnTo>
                  <a:lnTo>
                    <a:pt x="144" y="391"/>
                  </a:lnTo>
                  <a:lnTo>
                    <a:pt x="116" y="363"/>
                  </a:lnTo>
                  <a:lnTo>
                    <a:pt x="115" y="330"/>
                  </a:lnTo>
                  <a:lnTo>
                    <a:pt x="115" y="291"/>
                  </a:lnTo>
                  <a:lnTo>
                    <a:pt x="77" y="286"/>
                  </a:lnTo>
                  <a:lnTo>
                    <a:pt x="44" y="302"/>
                  </a:lnTo>
                  <a:lnTo>
                    <a:pt x="32" y="336"/>
                  </a:lnTo>
                  <a:lnTo>
                    <a:pt x="0" y="352"/>
                  </a:lnTo>
                  <a:lnTo>
                    <a:pt x="11" y="325"/>
                  </a:lnTo>
                  <a:lnTo>
                    <a:pt x="22" y="291"/>
                  </a:lnTo>
                  <a:lnTo>
                    <a:pt x="11" y="280"/>
                  </a:lnTo>
                  <a:lnTo>
                    <a:pt x="28" y="264"/>
                  </a:lnTo>
                  <a:lnTo>
                    <a:pt x="22" y="254"/>
                  </a:lnTo>
                  <a:lnTo>
                    <a:pt x="55" y="231"/>
                  </a:lnTo>
                  <a:lnTo>
                    <a:pt x="72" y="209"/>
                  </a:lnTo>
                  <a:lnTo>
                    <a:pt x="78" y="176"/>
                  </a:lnTo>
                  <a:lnTo>
                    <a:pt x="104" y="165"/>
                  </a:lnTo>
                  <a:lnTo>
                    <a:pt x="115" y="138"/>
                  </a:lnTo>
                  <a:lnTo>
                    <a:pt x="149" y="121"/>
                  </a:lnTo>
                  <a:lnTo>
                    <a:pt x="166" y="98"/>
                  </a:lnTo>
                  <a:lnTo>
                    <a:pt x="149" y="93"/>
                  </a:lnTo>
                  <a:lnTo>
                    <a:pt x="161" y="60"/>
                  </a:lnTo>
                  <a:lnTo>
                    <a:pt x="182" y="55"/>
                  </a:lnTo>
                  <a:lnTo>
                    <a:pt x="193" y="77"/>
                  </a:lnTo>
                  <a:lnTo>
                    <a:pt x="221" y="77"/>
                  </a:lnTo>
                  <a:lnTo>
                    <a:pt x="249" y="38"/>
                  </a:lnTo>
                  <a:lnTo>
                    <a:pt x="287" y="49"/>
                  </a:lnTo>
                  <a:lnTo>
                    <a:pt x="321" y="55"/>
                  </a:lnTo>
                  <a:lnTo>
                    <a:pt x="336" y="38"/>
                  </a:lnTo>
                  <a:lnTo>
                    <a:pt x="370" y="44"/>
                  </a:lnTo>
                  <a:lnTo>
                    <a:pt x="381" y="28"/>
                  </a:lnTo>
                  <a:lnTo>
                    <a:pt x="364" y="22"/>
                  </a:lnTo>
                  <a:lnTo>
                    <a:pt x="381" y="0"/>
                  </a:lnTo>
                  <a:lnTo>
                    <a:pt x="419" y="12"/>
                  </a:lnTo>
                  <a:lnTo>
                    <a:pt x="431" y="22"/>
                  </a:lnTo>
                  <a:lnTo>
                    <a:pt x="470" y="28"/>
                  </a:lnTo>
                  <a:lnTo>
                    <a:pt x="514" y="28"/>
                  </a:lnTo>
                  <a:lnTo>
                    <a:pt x="530" y="55"/>
                  </a:lnTo>
                  <a:lnTo>
                    <a:pt x="542" y="60"/>
                  </a:lnTo>
                  <a:lnTo>
                    <a:pt x="552" y="83"/>
                  </a:lnTo>
                  <a:lnTo>
                    <a:pt x="536" y="121"/>
                  </a:lnTo>
                  <a:lnTo>
                    <a:pt x="525" y="121"/>
                  </a:lnTo>
                  <a:lnTo>
                    <a:pt x="525" y="165"/>
                  </a:lnTo>
                  <a:lnTo>
                    <a:pt x="557" y="165"/>
                  </a:lnTo>
                  <a:lnTo>
                    <a:pt x="574" y="176"/>
                  </a:lnTo>
                  <a:lnTo>
                    <a:pt x="623" y="216"/>
                  </a:lnTo>
                  <a:lnTo>
                    <a:pt x="629" y="211"/>
                  </a:lnTo>
                  <a:lnTo>
                    <a:pt x="649" y="191"/>
                  </a:lnTo>
                  <a:lnTo>
                    <a:pt x="669" y="186"/>
                  </a:lnTo>
                  <a:lnTo>
                    <a:pt x="679" y="200"/>
                  </a:lnTo>
                  <a:lnTo>
                    <a:pt x="679" y="216"/>
                  </a:lnTo>
                  <a:lnTo>
                    <a:pt x="680" y="215"/>
                  </a:lnTo>
                  <a:lnTo>
                    <a:pt x="668" y="231"/>
                  </a:lnTo>
                  <a:lnTo>
                    <a:pt x="680" y="259"/>
                  </a:lnTo>
                  <a:lnTo>
                    <a:pt x="674" y="291"/>
                  </a:lnTo>
                  <a:lnTo>
                    <a:pt x="652" y="286"/>
                  </a:lnTo>
                  <a:lnTo>
                    <a:pt x="635" y="264"/>
                  </a:lnTo>
                  <a:lnTo>
                    <a:pt x="618" y="264"/>
                  </a:lnTo>
                  <a:lnTo>
                    <a:pt x="612" y="286"/>
                  </a:lnTo>
                  <a:lnTo>
                    <a:pt x="624" y="302"/>
                  </a:lnTo>
                  <a:lnTo>
                    <a:pt x="646" y="342"/>
                  </a:lnTo>
                  <a:lnTo>
                    <a:pt x="624" y="346"/>
                  </a:lnTo>
                  <a:lnTo>
                    <a:pt x="602" y="342"/>
                  </a:lnTo>
                  <a:lnTo>
                    <a:pt x="597" y="314"/>
                  </a:lnTo>
                  <a:lnTo>
                    <a:pt x="563" y="314"/>
                  </a:lnTo>
                  <a:lnTo>
                    <a:pt x="563" y="330"/>
                  </a:lnTo>
                  <a:lnTo>
                    <a:pt x="542" y="336"/>
                  </a:lnTo>
                  <a:lnTo>
                    <a:pt x="530" y="314"/>
                  </a:lnTo>
                  <a:lnTo>
                    <a:pt x="530" y="291"/>
                  </a:lnTo>
                  <a:lnTo>
                    <a:pt x="497" y="297"/>
                  </a:lnTo>
                  <a:lnTo>
                    <a:pt x="497" y="330"/>
                  </a:lnTo>
                  <a:lnTo>
                    <a:pt x="480" y="357"/>
                  </a:lnTo>
                  <a:lnTo>
                    <a:pt x="459" y="385"/>
                  </a:lnTo>
                  <a:lnTo>
                    <a:pt x="464" y="412"/>
                  </a:lnTo>
                  <a:lnTo>
                    <a:pt x="464" y="440"/>
                  </a:lnTo>
                  <a:lnTo>
                    <a:pt x="442" y="435"/>
                  </a:lnTo>
                  <a:lnTo>
                    <a:pt x="431" y="397"/>
                  </a:lnTo>
                  <a:lnTo>
                    <a:pt x="431" y="374"/>
                  </a:lnTo>
                  <a:lnTo>
                    <a:pt x="397" y="374"/>
                  </a:lnTo>
                  <a:lnTo>
                    <a:pt x="370" y="357"/>
                  </a:lnTo>
                  <a:lnTo>
                    <a:pt x="370" y="325"/>
                  </a:lnTo>
                  <a:lnTo>
                    <a:pt x="376" y="297"/>
                  </a:lnTo>
                  <a:lnTo>
                    <a:pt x="353" y="297"/>
                  </a:lnTo>
                  <a:lnTo>
                    <a:pt x="342" y="319"/>
                  </a:lnTo>
                  <a:lnTo>
                    <a:pt x="321" y="330"/>
                  </a:lnTo>
                  <a:lnTo>
                    <a:pt x="325" y="357"/>
                  </a:lnTo>
                  <a:lnTo>
                    <a:pt x="309" y="374"/>
                  </a:lnTo>
                  <a:lnTo>
                    <a:pt x="304" y="397"/>
                  </a:lnTo>
                  <a:lnTo>
                    <a:pt x="281" y="412"/>
                  </a:lnTo>
                  <a:lnTo>
                    <a:pt x="259" y="412"/>
                  </a:lnTo>
                  <a:lnTo>
                    <a:pt x="243" y="397"/>
                  </a:lnTo>
                  <a:lnTo>
                    <a:pt x="221" y="408"/>
                  </a:lnTo>
                  <a:lnTo>
                    <a:pt x="187" y="418"/>
                  </a:lnTo>
                  <a:lnTo>
                    <a:pt x="155" y="412"/>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25" name="Freeform 64"/>
            <p:cNvSpPr>
              <a:spLocks/>
            </p:cNvSpPr>
            <p:nvPr/>
          </p:nvSpPr>
          <p:spPr bwMode="auto">
            <a:xfrm>
              <a:off x="3713163" y="5194300"/>
              <a:ext cx="130175" cy="225425"/>
            </a:xfrm>
            <a:custGeom>
              <a:avLst/>
              <a:gdLst>
                <a:gd name="T0" fmla="*/ 160 w 173"/>
                <a:gd name="T1" fmla="*/ 7 h 330"/>
                <a:gd name="T2" fmla="*/ 156 w 173"/>
                <a:gd name="T3" fmla="*/ 36 h 330"/>
                <a:gd name="T4" fmla="*/ 149 w 173"/>
                <a:gd name="T5" fmla="*/ 66 h 330"/>
                <a:gd name="T6" fmla="*/ 160 w 173"/>
                <a:gd name="T7" fmla="*/ 77 h 330"/>
                <a:gd name="T8" fmla="*/ 170 w 173"/>
                <a:gd name="T9" fmla="*/ 125 h 330"/>
                <a:gd name="T10" fmla="*/ 173 w 173"/>
                <a:gd name="T11" fmla="*/ 152 h 330"/>
                <a:gd name="T12" fmla="*/ 172 w 173"/>
                <a:gd name="T13" fmla="*/ 176 h 330"/>
                <a:gd name="T14" fmla="*/ 144 w 173"/>
                <a:gd name="T15" fmla="*/ 215 h 330"/>
                <a:gd name="T16" fmla="*/ 142 w 173"/>
                <a:gd name="T17" fmla="*/ 250 h 330"/>
                <a:gd name="T18" fmla="*/ 142 w 173"/>
                <a:gd name="T19" fmla="*/ 270 h 330"/>
                <a:gd name="T20" fmla="*/ 138 w 173"/>
                <a:gd name="T21" fmla="*/ 287 h 330"/>
                <a:gd name="T22" fmla="*/ 116 w 173"/>
                <a:gd name="T23" fmla="*/ 320 h 330"/>
                <a:gd name="T24" fmla="*/ 94 w 173"/>
                <a:gd name="T25" fmla="*/ 330 h 330"/>
                <a:gd name="T26" fmla="*/ 61 w 173"/>
                <a:gd name="T27" fmla="*/ 319 h 330"/>
                <a:gd name="T28" fmla="*/ 33 w 173"/>
                <a:gd name="T29" fmla="*/ 303 h 330"/>
                <a:gd name="T30" fmla="*/ 49 w 173"/>
                <a:gd name="T31" fmla="*/ 276 h 330"/>
                <a:gd name="T32" fmla="*/ 21 w 173"/>
                <a:gd name="T33" fmla="*/ 259 h 330"/>
                <a:gd name="T34" fmla="*/ 38 w 173"/>
                <a:gd name="T35" fmla="*/ 238 h 330"/>
                <a:gd name="T36" fmla="*/ 17 w 173"/>
                <a:gd name="T37" fmla="*/ 210 h 330"/>
                <a:gd name="T38" fmla="*/ 17 w 173"/>
                <a:gd name="T39" fmla="*/ 193 h 330"/>
                <a:gd name="T40" fmla="*/ 38 w 173"/>
                <a:gd name="T41" fmla="*/ 187 h 330"/>
                <a:gd name="T42" fmla="*/ 11 w 173"/>
                <a:gd name="T43" fmla="*/ 176 h 330"/>
                <a:gd name="T44" fmla="*/ 0 w 173"/>
                <a:gd name="T45" fmla="*/ 149 h 330"/>
                <a:gd name="T46" fmla="*/ 21 w 173"/>
                <a:gd name="T47" fmla="*/ 127 h 330"/>
                <a:gd name="T48" fmla="*/ 6 w 173"/>
                <a:gd name="T49" fmla="*/ 116 h 330"/>
                <a:gd name="T50" fmla="*/ 21 w 173"/>
                <a:gd name="T51" fmla="*/ 104 h 330"/>
                <a:gd name="T52" fmla="*/ 17 w 173"/>
                <a:gd name="T53" fmla="*/ 77 h 330"/>
                <a:gd name="T54" fmla="*/ 61 w 173"/>
                <a:gd name="T55" fmla="*/ 61 h 330"/>
                <a:gd name="T56" fmla="*/ 94 w 173"/>
                <a:gd name="T57" fmla="*/ 39 h 330"/>
                <a:gd name="T58" fmla="*/ 115 w 173"/>
                <a:gd name="T59" fmla="*/ 50 h 330"/>
                <a:gd name="T60" fmla="*/ 138 w 173"/>
                <a:gd name="T61" fmla="*/ 11 h 330"/>
                <a:gd name="T62" fmla="*/ 144 w 173"/>
                <a:gd name="T63" fmla="*/ 0 h 330"/>
                <a:gd name="T64" fmla="*/ 160 w 173"/>
                <a:gd name="T65" fmla="*/ 7 h 3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3"/>
                <a:gd name="T100" fmla="*/ 0 h 330"/>
                <a:gd name="T101" fmla="*/ 173 w 173"/>
                <a:gd name="T102" fmla="*/ 330 h 3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3" h="330">
                  <a:moveTo>
                    <a:pt x="160" y="7"/>
                  </a:moveTo>
                  <a:lnTo>
                    <a:pt x="156" y="36"/>
                  </a:lnTo>
                  <a:lnTo>
                    <a:pt x="149" y="66"/>
                  </a:lnTo>
                  <a:lnTo>
                    <a:pt x="160" y="77"/>
                  </a:lnTo>
                  <a:lnTo>
                    <a:pt x="170" y="125"/>
                  </a:lnTo>
                  <a:lnTo>
                    <a:pt x="173" y="152"/>
                  </a:lnTo>
                  <a:lnTo>
                    <a:pt x="172" y="176"/>
                  </a:lnTo>
                  <a:lnTo>
                    <a:pt x="144" y="215"/>
                  </a:lnTo>
                  <a:lnTo>
                    <a:pt x="142" y="250"/>
                  </a:lnTo>
                  <a:lnTo>
                    <a:pt x="142" y="270"/>
                  </a:lnTo>
                  <a:lnTo>
                    <a:pt x="138" y="287"/>
                  </a:lnTo>
                  <a:lnTo>
                    <a:pt x="116" y="320"/>
                  </a:lnTo>
                  <a:lnTo>
                    <a:pt x="94" y="330"/>
                  </a:lnTo>
                  <a:lnTo>
                    <a:pt x="61" y="319"/>
                  </a:lnTo>
                  <a:lnTo>
                    <a:pt x="33" y="303"/>
                  </a:lnTo>
                  <a:lnTo>
                    <a:pt x="49" y="276"/>
                  </a:lnTo>
                  <a:lnTo>
                    <a:pt x="21" y="259"/>
                  </a:lnTo>
                  <a:lnTo>
                    <a:pt x="38" y="238"/>
                  </a:lnTo>
                  <a:lnTo>
                    <a:pt x="17" y="210"/>
                  </a:lnTo>
                  <a:lnTo>
                    <a:pt x="17" y="193"/>
                  </a:lnTo>
                  <a:lnTo>
                    <a:pt x="38" y="187"/>
                  </a:lnTo>
                  <a:lnTo>
                    <a:pt x="11" y="176"/>
                  </a:lnTo>
                  <a:lnTo>
                    <a:pt x="0" y="149"/>
                  </a:lnTo>
                  <a:lnTo>
                    <a:pt x="21" y="127"/>
                  </a:lnTo>
                  <a:lnTo>
                    <a:pt x="6" y="116"/>
                  </a:lnTo>
                  <a:lnTo>
                    <a:pt x="21" y="104"/>
                  </a:lnTo>
                  <a:lnTo>
                    <a:pt x="17" y="77"/>
                  </a:lnTo>
                  <a:lnTo>
                    <a:pt x="61" y="61"/>
                  </a:lnTo>
                  <a:lnTo>
                    <a:pt x="94" y="39"/>
                  </a:lnTo>
                  <a:lnTo>
                    <a:pt x="115" y="50"/>
                  </a:lnTo>
                  <a:lnTo>
                    <a:pt x="138" y="11"/>
                  </a:lnTo>
                  <a:lnTo>
                    <a:pt x="144" y="0"/>
                  </a:lnTo>
                  <a:lnTo>
                    <a:pt x="160" y="7"/>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26" name="Freeform 65"/>
            <p:cNvSpPr>
              <a:spLocks/>
            </p:cNvSpPr>
            <p:nvPr/>
          </p:nvSpPr>
          <p:spPr bwMode="auto">
            <a:xfrm>
              <a:off x="3829050" y="4545013"/>
              <a:ext cx="25400" cy="30162"/>
            </a:xfrm>
            <a:custGeom>
              <a:avLst/>
              <a:gdLst/>
              <a:ahLst/>
              <a:cxnLst>
                <a:cxn ang="0">
                  <a:pos x="20" y="30"/>
                </a:cxn>
                <a:cxn ang="0">
                  <a:pos x="11" y="0"/>
                </a:cxn>
                <a:cxn ang="0">
                  <a:pos x="0" y="0"/>
                </a:cxn>
                <a:cxn ang="0">
                  <a:pos x="0" y="44"/>
                </a:cxn>
                <a:cxn ang="0">
                  <a:pos x="32" y="44"/>
                </a:cxn>
                <a:cxn ang="0">
                  <a:pos x="20" y="30"/>
                </a:cxn>
              </a:cxnLst>
              <a:rect l="0" t="0" r="r" b="b"/>
              <a:pathLst>
                <a:path w="32" h="44">
                  <a:moveTo>
                    <a:pt x="20" y="30"/>
                  </a:moveTo>
                  <a:lnTo>
                    <a:pt x="11" y="0"/>
                  </a:lnTo>
                  <a:lnTo>
                    <a:pt x="0" y="0"/>
                  </a:lnTo>
                  <a:lnTo>
                    <a:pt x="0" y="44"/>
                  </a:lnTo>
                  <a:lnTo>
                    <a:pt x="32" y="44"/>
                  </a:lnTo>
                  <a:lnTo>
                    <a:pt x="20" y="30"/>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27" name="Freeform 66"/>
            <p:cNvSpPr>
              <a:spLocks/>
            </p:cNvSpPr>
            <p:nvPr/>
          </p:nvSpPr>
          <p:spPr bwMode="auto">
            <a:xfrm>
              <a:off x="3471863" y="3403600"/>
              <a:ext cx="935038" cy="1138238"/>
            </a:xfrm>
            <a:custGeom>
              <a:avLst/>
              <a:gdLst>
                <a:gd name="T0" fmla="*/ 2147483647 w 1243"/>
                <a:gd name="T1" fmla="*/ 2147483647 h 1659"/>
                <a:gd name="T2" fmla="*/ 2147483647 w 1243"/>
                <a:gd name="T3" fmla="*/ 2147483647 h 1659"/>
                <a:gd name="T4" fmla="*/ 2147483647 w 1243"/>
                <a:gd name="T5" fmla="*/ 2147483647 h 1659"/>
                <a:gd name="T6" fmla="*/ 2147483647 w 1243"/>
                <a:gd name="T7" fmla="*/ 2147483647 h 1659"/>
                <a:gd name="T8" fmla="*/ 2147483647 w 1243"/>
                <a:gd name="T9" fmla="*/ 2147483647 h 1659"/>
                <a:gd name="T10" fmla="*/ 2147483647 w 1243"/>
                <a:gd name="T11" fmla="*/ 2147483647 h 1659"/>
                <a:gd name="T12" fmla="*/ 2147483647 w 1243"/>
                <a:gd name="T13" fmla="*/ 2147483647 h 1659"/>
                <a:gd name="T14" fmla="*/ 2147483647 w 1243"/>
                <a:gd name="T15" fmla="*/ 2147483647 h 1659"/>
                <a:gd name="T16" fmla="*/ 2147483647 w 1243"/>
                <a:gd name="T17" fmla="*/ 2147483647 h 1659"/>
                <a:gd name="T18" fmla="*/ 0 w 1243"/>
                <a:gd name="T19" fmla="*/ 2147483647 h 1659"/>
                <a:gd name="T20" fmla="*/ 2147483647 w 1243"/>
                <a:gd name="T21" fmla="*/ 2147483647 h 1659"/>
                <a:gd name="T22" fmla="*/ 2147483647 w 1243"/>
                <a:gd name="T23" fmla="*/ 2147483647 h 1659"/>
                <a:gd name="T24" fmla="*/ 2147483647 w 1243"/>
                <a:gd name="T25" fmla="*/ 2147483647 h 1659"/>
                <a:gd name="T26" fmla="*/ 2147483647 w 1243"/>
                <a:gd name="T27" fmla="*/ 2147483647 h 1659"/>
                <a:gd name="T28" fmla="*/ 2147483647 w 1243"/>
                <a:gd name="T29" fmla="*/ 2147483647 h 1659"/>
                <a:gd name="T30" fmla="*/ 2147483647 w 1243"/>
                <a:gd name="T31" fmla="*/ 2147483647 h 1659"/>
                <a:gd name="T32" fmla="*/ 2147483647 w 1243"/>
                <a:gd name="T33" fmla="*/ 2147483647 h 1659"/>
                <a:gd name="T34" fmla="*/ 2147483647 w 1243"/>
                <a:gd name="T35" fmla="*/ 2147483647 h 1659"/>
                <a:gd name="T36" fmla="*/ 2147483647 w 1243"/>
                <a:gd name="T37" fmla="*/ 2147483647 h 1659"/>
                <a:gd name="T38" fmla="*/ 2147483647 w 1243"/>
                <a:gd name="T39" fmla="*/ 2147483647 h 1659"/>
                <a:gd name="T40" fmla="*/ 2147483647 w 1243"/>
                <a:gd name="T41" fmla="*/ 2147483647 h 1659"/>
                <a:gd name="T42" fmla="*/ 2147483647 w 1243"/>
                <a:gd name="T43" fmla="*/ 2147483647 h 1659"/>
                <a:gd name="T44" fmla="*/ 2147483647 w 1243"/>
                <a:gd name="T45" fmla="*/ 2147483647 h 1659"/>
                <a:gd name="T46" fmla="*/ 2147483647 w 1243"/>
                <a:gd name="T47" fmla="*/ 2147483647 h 1659"/>
                <a:gd name="T48" fmla="*/ 2147483647 w 1243"/>
                <a:gd name="T49" fmla="*/ 2147483647 h 1659"/>
                <a:gd name="T50" fmla="*/ 2147483647 w 1243"/>
                <a:gd name="T51" fmla="*/ 2147483647 h 1659"/>
                <a:gd name="T52" fmla="*/ 2147483647 w 1243"/>
                <a:gd name="T53" fmla="*/ 2147483647 h 1659"/>
                <a:gd name="T54" fmla="*/ 2147483647 w 1243"/>
                <a:gd name="T55" fmla="*/ 2147483647 h 1659"/>
                <a:gd name="T56" fmla="*/ 2147483647 w 1243"/>
                <a:gd name="T57" fmla="*/ 2147483647 h 1659"/>
                <a:gd name="T58" fmla="*/ 2147483647 w 1243"/>
                <a:gd name="T59" fmla="*/ 2147483647 h 1659"/>
                <a:gd name="T60" fmla="*/ 2147483647 w 1243"/>
                <a:gd name="T61" fmla="*/ 2147483647 h 1659"/>
                <a:gd name="T62" fmla="*/ 2147483647 w 1243"/>
                <a:gd name="T63" fmla="*/ 2147483647 h 1659"/>
                <a:gd name="T64" fmla="*/ 2147483647 w 1243"/>
                <a:gd name="T65" fmla="*/ 2147483647 h 1659"/>
                <a:gd name="T66" fmla="*/ 2147483647 w 1243"/>
                <a:gd name="T67" fmla="*/ 2147483647 h 1659"/>
                <a:gd name="T68" fmla="*/ 2147483647 w 1243"/>
                <a:gd name="T69" fmla="*/ 2147483647 h 1659"/>
                <a:gd name="T70" fmla="*/ 2147483647 w 1243"/>
                <a:gd name="T71" fmla="*/ 2147483647 h 1659"/>
                <a:gd name="T72" fmla="*/ 2147483647 w 1243"/>
                <a:gd name="T73" fmla="*/ 2147483647 h 1659"/>
                <a:gd name="T74" fmla="*/ 2147483647 w 1243"/>
                <a:gd name="T75" fmla="*/ 2147483647 h 1659"/>
                <a:gd name="T76" fmla="*/ 2147483647 w 1243"/>
                <a:gd name="T77" fmla="*/ 2147483647 h 1659"/>
                <a:gd name="T78" fmla="*/ 2147483647 w 1243"/>
                <a:gd name="T79" fmla="*/ 2147483647 h 1659"/>
                <a:gd name="T80" fmla="*/ 2147483647 w 1243"/>
                <a:gd name="T81" fmla="*/ 2147483647 h 1659"/>
                <a:gd name="T82" fmla="*/ 2147483647 w 1243"/>
                <a:gd name="T83" fmla="*/ 2147483647 h 1659"/>
                <a:gd name="T84" fmla="*/ 2147483647 w 1243"/>
                <a:gd name="T85" fmla="*/ 2147483647 h 1659"/>
                <a:gd name="T86" fmla="*/ 2147483647 w 1243"/>
                <a:gd name="T87" fmla="*/ 2147483647 h 1659"/>
                <a:gd name="T88" fmla="*/ 2147483647 w 1243"/>
                <a:gd name="T89" fmla="*/ 2147483647 h 1659"/>
                <a:gd name="T90" fmla="*/ 2147483647 w 1243"/>
                <a:gd name="T91" fmla="*/ 2147483647 h 1659"/>
                <a:gd name="T92" fmla="*/ 2147483647 w 1243"/>
                <a:gd name="T93" fmla="*/ 2147483647 h 1659"/>
                <a:gd name="T94" fmla="*/ 2147483647 w 1243"/>
                <a:gd name="T95" fmla="*/ 2147483647 h 1659"/>
                <a:gd name="T96" fmla="*/ 2147483647 w 1243"/>
                <a:gd name="T97" fmla="*/ 2147483647 h 1659"/>
                <a:gd name="T98" fmla="*/ 2147483647 w 1243"/>
                <a:gd name="T99" fmla="*/ 2147483647 h 1659"/>
                <a:gd name="T100" fmla="*/ 2147483647 w 1243"/>
                <a:gd name="T101" fmla="*/ 2147483647 h 1659"/>
                <a:gd name="T102" fmla="*/ 2147483647 w 1243"/>
                <a:gd name="T103" fmla="*/ 2147483647 h 1659"/>
                <a:gd name="T104" fmla="*/ 2147483647 w 1243"/>
                <a:gd name="T105" fmla="*/ 2147483647 h 1659"/>
                <a:gd name="T106" fmla="*/ 2147483647 w 1243"/>
                <a:gd name="T107" fmla="*/ 2147483647 h 1659"/>
                <a:gd name="T108" fmla="*/ 2147483647 w 1243"/>
                <a:gd name="T109" fmla="*/ 2147483647 h 16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43"/>
                <a:gd name="T166" fmla="*/ 0 h 1659"/>
                <a:gd name="T167" fmla="*/ 1243 w 1243"/>
                <a:gd name="T168" fmla="*/ 1659 h 16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43" h="1659">
                  <a:moveTo>
                    <a:pt x="503" y="1626"/>
                  </a:moveTo>
                  <a:lnTo>
                    <a:pt x="493" y="1603"/>
                  </a:lnTo>
                  <a:lnTo>
                    <a:pt x="481" y="1598"/>
                  </a:lnTo>
                  <a:lnTo>
                    <a:pt x="465" y="1571"/>
                  </a:lnTo>
                  <a:lnTo>
                    <a:pt x="421" y="1571"/>
                  </a:lnTo>
                  <a:lnTo>
                    <a:pt x="382" y="1565"/>
                  </a:lnTo>
                  <a:lnTo>
                    <a:pt x="370" y="1555"/>
                  </a:lnTo>
                  <a:lnTo>
                    <a:pt x="332" y="1543"/>
                  </a:lnTo>
                  <a:lnTo>
                    <a:pt x="315" y="1565"/>
                  </a:lnTo>
                  <a:lnTo>
                    <a:pt x="332" y="1571"/>
                  </a:lnTo>
                  <a:lnTo>
                    <a:pt x="321" y="1587"/>
                  </a:lnTo>
                  <a:lnTo>
                    <a:pt x="287" y="1581"/>
                  </a:lnTo>
                  <a:lnTo>
                    <a:pt x="272" y="1598"/>
                  </a:lnTo>
                  <a:lnTo>
                    <a:pt x="238" y="1592"/>
                  </a:lnTo>
                  <a:lnTo>
                    <a:pt x="200" y="1581"/>
                  </a:lnTo>
                  <a:lnTo>
                    <a:pt x="194" y="1581"/>
                  </a:lnTo>
                  <a:lnTo>
                    <a:pt x="194" y="1543"/>
                  </a:lnTo>
                  <a:lnTo>
                    <a:pt x="200" y="1505"/>
                  </a:lnTo>
                  <a:lnTo>
                    <a:pt x="204" y="1465"/>
                  </a:lnTo>
                  <a:lnTo>
                    <a:pt x="227" y="1433"/>
                  </a:lnTo>
                  <a:lnTo>
                    <a:pt x="232" y="1399"/>
                  </a:lnTo>
                  <a:lnTo>
                    <a:pt x="244" y="1361"/>
                  </a:lnTo>
                  <a:lnTo>
                    <a:pt x="260" y="1350"/>
                  </a:lnTo>
                  <a:lnTo>
                    <a:pt x="287" y="1328"/>
                  </a:lnTo>
                  <a:lnTo>
                    <a:pt x="299" y="1289"/>
                  </a:lnTo>
                  <a:lnTo>
                    <a:pt x="272" y="1278"/>
                  </a:lnTo>
                  <a:lnTo>
                    <a:pt x="244" y="1267"/>
                  </a:lnTo>
                  <a:lnTo>
                    <a:pt x="221" y="1267"/>
                  </a:lnTo>
                  <a:lnTo>
                    <a:pt x="189" y="1246"/>
                  </a:lnTo>
                  <a:lnTo>
                    <a:pt x="177" y="1246"/>
                  </a:lnTo>
                  <a:lnTo>
                    <a:pt x="159" y="1246"/>
                  </a:lnTo>
                  <a:lnTo>
                    <a:pt x="127" y="1250"/>
                  </a:lnTo>
                  <a:lnTo>
                    <a:pt x="127" y="1234"/>
                  </a:lnTo>
                  <a:lnTo>
                    <a:pt x="100" y="1223"/>
                  </a:lnTo>
                  <a:lnTo>
                    <a:pt x="89" y="1246"/>
                  </a:lnTo>
                  <a:lnTo>
                    <a:pt x="61" y="1184"/>
                  </a:lnTo>
                  <a:lnTo>
                    <a:pt x="34" y="1174"/>
                  </a:lnTo>
                  <a:lnTo>
                    <a:pt x="51" y="1129"/>
                  </a:lnTo>
                  <a:lnTo>
                    <a:pt x="51" y="1108"/>
                  </a:lnTo>
                  <a:lnTo>
                    <a:pt x="34" y="1097"/>
                  </a:lnTo>
                  <a:lnTo>
                    <a:pt x="17" y="1069"/>
                  </a:lnTo>
                  <a:lnTo>
                    <a:pt x="17" y="1019"/>
                  </a:lnTo>
                  <a:lnTo>
                    <a:pt x="45" y="981"/>
                  </a:lnTo>
                  <a:lnTo>
                    <a:pt x="45" y="970"/>
                  </a:lnTo>
                  <a:lnTo>
                    <a:pt x="45" y="948"/>
                  </a:lnTo>
                  <a:lnTo>
                    <a:pt x="34" y="953"/>
                  </a:lnTo>
                  <a:lnTo>
                    <a:pt x="23" y="936"/>
                  </a:lnTo>
                  <a:lnTo>
                    <a:pt x="23" y="915"/>
                  </a:lnTo>
                  <a:lnTo>
                    <a:pt x="17" y="898"/>
                  </a:lnTo>
                  <a:lnTo>
                    <a:pt x="0" y="887"/>
                  </a:lnTo>
                  <a:lnTo>
                    <a:pt x="6" y="849"/>
                  </a:lnTo>
                  <a:lnTo>
                    <a:pt x="4" y="826"/>
                  </a:lnTo>
                  <a:lnTo>
                    <a:pt x="11" y="815"/>
                  </a:lnTo>
                  <a:lnTo>
                    <a:pt x="23" y="810"/>
                  </a:lnTo>
                  <a:lnTo>
                    <a:pt x="28" y="794"/>
                  </a:lnTo>
                  <a:lnTo>
                    <a:pt x="11" y="788"/>
                  </a:lnTo>
                  <a:lnTo>
                    <a:pt x="28" y="772"/>
                  </a:lnTo>
                  <a:lnTo>
                    <a:pt x="34" y="744"/>
                  </a:lnTo>
                  <a:lnTo>
                    <a:pt x="17" y="711"/>
                  </a:lnTo>
                  <a:lnTo>
                    <a:pt x="6" y="683"/>
                  </a:lnTo>
                  <a:lnTo>
                    <a:pt x="0" y="656"/>
                  </a:lnTo>
                  <a:lnTo>
                    <a:pt x="61" y="650"/>
                  </a:lnTo>
                  <a:lnTo>
                    <a:pt x="100" y="656"/>
                  </a:lnTo>
                  <a:lnTo>
                    <a:pt x="121" y="639"/>
                  </a:lnTo>
                  <a:lnTo>
                    <a:pt x="121" y="611"/>
                  </a:lnTo>
                  <a:lnTo>
                    <a:pt x="111" y="611"/>
                  </a:lnTo>
                  <a:lnTo>
                    <a:pt x="111" y="595"/>
                  </a:lnTo>
                  <a:lnTo>
                    <a:pt x="133" y="595"/>
                  </a:lnTo>
                  <a:lnTo>
                    <a:pt x="144" y="579"/>
                  </a:lnTo>
                  <a:lnTo>
                    <a:pt x="155" y="573"/>
                  </a:lnTo>
                  <a:lnTo>
                    <a:pt x="149" y="551"/>
                  </a:lnTo>
                  <a:lnTo>
                    <a:pt x="161" y="535"/>
                  </a:lnTo>
                  <a:lnTo>
                    <a:pt x="121" y="524"/>
                  </a:lnTo>
                  <a:lnTo>
                    <a:pt x="111" y="501"/>
                  </a:lnTo>
                  <a:lnTo>
                    <a:pt x="121" y="480"/>
                  </a:lnTo>
                  <a:lnTo>
                    <a:pt x="161" y="490"/>
                  </a:lnTo>
                  <a:lnTo>
                    <a:pt x="155" y="463"/>
                  </a:lnTo>
                  <a:lnTo>
                    <a:pt x="172" y="435"/>
                  </a:lnTo>
                  <a:lnTo>
                    <a:pt x="183" y="408"/>
                  </a:lnTo>
                  <a:lnTo>
                    <a:pt x="188" y="378"/>
                  </a:lnTo>
                  <a:lnTo>
                    <a:pt x="189" y="361"/>
                  </a:lnTo>
                  <a:lnTo>
                    <a:pt x="189" y="348"/>
                  </a:lnTo>
                  <a:lnTo>
                    <a:pt x="161" y="320"/>
                  </a:lnTo>
                  <a:lnTo>
                    <a:pt x="161" y="293"/>
                  </a:lnTo>
                  <a:lnTo>
                    <a:pt x="183" y="270"/>
                  </a:lnTo>
                  <a:lnTo>
                    <a:pt x="194" y="248"/>
                  </a:lnTo>
                  <a:lnTo>
                    <a:pt x="227" y="265"/>
                  </a:lnTo>
                  <a:lnTo>
                    <a:pt x="255" y="259"/>
                  </a:lnTo>
                  <a:lnTo>
                    <a:pt x="293" y="248"/>
                  </a:lnTo>
                  <a:lnTo>
                    <a:pt x="304" y="287"/>
                  </a:lnTo>
                  <a:lnTo>
                    <a:pt x="299" y="314"/>
                  </a:lnTo>
                  <a:lnTo>
                    <a:pt x="321" y="309"/>
                  </a:lnTo>
                  <a:lnTo>
                    <a:pt x="327" y="270"/>
                  </a:lnTo>
                  <a:lnTo>
                    <a:pt x="354" y="297"/>
                  </a:lnTo>
                  <a:lnTo>
                    <a:pt x="359" y="287"/>
                  </a:lnTo>
                  <a:lnTo>
                    <a:pt x="382" y="287"/>
                  </a:lnTo>
                  <a:lnTo>
                    <a:pt x="387" y="276"/>
                  </a:lnTo>
                  <a:lnTo>
                    <a:pt x="354" y="265"/>
                  </a:lnTo>
                  <a:lnTo>
                    <a:pt x="365" y="227"/>
                  </a:lnTo>
                  <a:lnTo>
                    <a:pt x="404" y="231"/>
                  </a:lnTo>
                  <a:lnTo>
                    <a:pt x="415" y="259"/>
                  </a:lnTo>
                  <a:lnTo>
                    <a:pt x="421" y="221"/>
                  </a:lnTo>
                  <a:lnTo>
                    <a:pt x="404" y="204"/>
                  </a:lnTo>
                  <a:lnTo>
                    <a:pt x="404" y="187"/>
                  </a:lnTo>
                  <a:lnTo>
                    <a:pt x="421" y="182"/>
                  </a:lnTo>
                  <a:lnTo>
                    <a:pt x="421" y="159"/>
                  </a:lnTo>
                  <a:lnTo>
                    <a:pt x="410" y="155"/>
                  </a:lnTo>
                  <a:lnTo>
                    <a:pt x="404" y="133"/>
                  </a:lnTo>
                  <a:lnTo>
                    <a:pt x="376" y="133"/>
                  </a:lnTo>
                  <a:lnTo>
                    <a:pt x="359" y="110"/>
                  </a:lnTo>
                  <a:lnTo>
                    <a:pt x="398" y="99"/>
                  </a:lnTo>
                  <a:lnTo>
                    <a:pt x="398" y="78"/>
                  </a:lnTo>
                  <a:lnTo>
                    <a:pt x="393" y="50"/>
                  </a:lnTo>
                  <a:lnTo>
                    <a:pt x="376" y="17"/>
                  </a:lnTo>
                  <a:lnTo>
                    <a:pt x="370" y="1"/>
                  </a:lnTo>
                  <a:lnTo>
                    <a:pt x="410" y="0"/>
                  </a:lnTo>
                  <a:lnTo>
                    <a:pt x="437" y="5"/>
                  </a:lnTo>
                  <a:lnTo>
                    <a:pt x="465" y="11"/>
                  </a:lnTo>
                  <a:lnTo>
                    <a:pt x="487" y="6"/>
                  </a:lnTo>
                  <a:lnTo>
                    <a:pt x="520" y="11"/>
                  </a:lnTo>
                  <a:lnTo>
                    <a:pt x="542" y="23"/>
                  </a:lnTo>
                  <a:lnTo>
                    <a:pt x="542" y="66"/>
                  </a:lnTo>
                  <a:lnTo>
                    <a:pt x="542" y="78"/>
                  </a:lnTo>
                  <a:lnTo>
                    <a:pt x="531" y="99"/>
                  </a:lnTo>
                  <a:lnTo>
                    <a:pt x="559" y="99"/>
                  </a:lnTo>
                  <a:lnTo>
                    <a:pt x="597" y="99"/>
                  </a:lnTo>
                  <a:lnTo>
                    <a:pt x="625" y="121"/>
                  </a:lnTo>
                  <a:lnTo>
                    <a:pt x="631" y="144"/>
                  </a:lnTo>
                  <a:lnTo>
                    <a:pt x="669" y="110"/>
                  </a:lnTo>
                  <a:lnTo>
                    <a:pt x="691" y="99"/>
                  </a:lnTo>
                  <a:lnTo>
                    <a:pt x="691" y="78"/>
                  </a:lnTo>
                  <a:lnTo>
                    <a:pt x="708" y="66"/>
                  </a:lnTo>
                  <a:lnTo>
                    <a:pt x="724" y="93"/>
                  </a:lnTo>
                  <a:lnTo>
                    <a:pt x="697" y="110"/>
                  </a:lnTo>
                  <a:lnTo>
                    <a:pt x="697" y="138"/>
                  </a:lnTo>
                  <a:lnTo>
                    <a:pt x="680" y="155"/>
                  </a:lnTo>
                  <a:lnTo>
                    <a:pt x="652" y="159"/>
                  </a:lnTo>
                  <a:lnTo>
                    <a:pt x="646" y="199"/>
                  </a:lnTo>
                  <a:lnTo>
                    <a:pt x="674" y="193"/>
                  </a:lnTo>
                  <a:lnTo>
                    <a:pt x="697" y="187"/>
                  </a:lnTo>
                  <a:lnTo>
                    <a:pt x="714" y="215"/>
                  </a:lnTo>
                  <a:lnTo>
                    <a:pt x="729" y="215"/>
                  </a:lnTo>
                  <a:lnTo>
                    <a:pt x="757" y="171"/>
                  </a:lnTo>
                  <a:lnTo>
                    <a:pt x="763" y="155"/>
                  </a:lnTo>
                  <a:lnTo>
                    <a:pt x="797" y="149"/>
                  </a:lnTo>
                  <a:lnTo>
                    <a:pt x="812" y="155"/>
                  </a:lnTo>
                  <a:lnTo>
                    <a:pt x="846" y="138"/>
                  </a:lnTo>
                  <a:lnTo>
                    <a:pt x="852" y="105"/>
                  </a:lnTo>
                  <a:lnTo>
                    <a:pt x="867" y="89"/>
                  </a:lnTo>
                  <a:lnTo>
                    <a:pt x="901" y="89"/>
                  </a:lnTo>
                  <a:lnTo>
                    <a:pt x="923" y="99"/>
                  </a:lnTo>
                  <a:lnTo>
                    <a:pt x="923" y="93"/>
                  </a:lnTo>
                  <a:lnTo>
                    <a:pt x="935" y="89"/>
                  </a:lnTo>
                  <a:lnTo>
                    <a:pt x="950" y="110"/>
                  </a:lnTo>
                  <a:lnTo>
                    <a:pt x="962" y="105"/>
                  </a:lnTo>
                  <a:lnTo>
                    <a:pt x="973" y="83"/>
                  </a:lnTo>
                  <a:lnTo>
                    <a:pt x="956" y="61"/>
                  </a:lnTo>
                  <a:lnTo>
                    <a:pt x="956" y="34"/>
                  </a:lnTo>
                  <a:lnTo>
                    <a:pt x="984" y="34"/>
                  </a:lnTo>
                  <a:lnTo>
                    <a:pt x="990" y="55"/>
                  </a:lnTo>
                  <a:lnTo>
                    <a:pt x="1022" y="50"/>
                  </a:lnTo>
                  <a:lnTo>
                    <a:pt x="1022" y="72"/>
                  </a:lnTo>
                  <a:lnTo>
                    <a:pt x="1001" y="66"/>
                  </a:lnTo>
                  <a:lnTo>
                    <a:pt x="1012" y="89"/>
                  </a:lnTo>
                  <a:lnTo>
                    <a:pt x="1033" y="89"/>
                  </a:lnTo>
                  <a:lnTo>
                    <a:pt x="1028" y="116"/>
                  </a:lnTo>
                  <a:lnTo>
                    <a:pt x="995" y="105"/>
                  </a:lnTo>
                  <a:lnTo>
                    <a:pt x="978" y="121"/>
                  </a:lnTo>
                  <a:lnTo>
                    <a:pt x="984" y="149"/>
                  </a:lnTo>
                  <a:lnTo>
                    <a:pt x="1012" y="144"/>
                  </a:lnTo>
                  <a:lnTo>
                    <a:pt x="1045" y="144"/>
                  </a:lnTo>
                  <a:lnTo>
                    <a:pt x="1073" y="159"/>
                  </a:lnTo>
                  <a:lnTo>
                    <a:pt x="1056" y="171"/>
                  </a:lnTo>
                  <a:lnTo>
                    <a:pt x="1033" y="171"/>
                  </a:lnTo>
                  <a:lnTo>
                    <a:pt x="1039" y="182"/>
                  </a:lnTo>
                  <a:lnTo>
                    <a:pt x="1067" y="182"/>
                  </a:lnTo>
                  <a:lnTo>
                    <a:pt x="1084" y="165"/>
                  </a:lnTo>
                  <a:lnTo>
                    <a:pt x="1111" y="199"/>
                  </a:lnTo>
                  <a:lnTo>
                    <a:pt x="1111" y="231"/>
                  </a:lnTo>
                  <a:lnTo>
                    <a:pt x="1094" y="227"/>
                  </a:lnTo>
                  <a:lnTo>
                    <a:pt x="1088" y="210"/>
                  </a:lnTo>
                  <a:lnTo>
                    <a:pt x="1073" y="199"/>
                  </a:lnTo>
                  <a:lnTo>
                    <a:pt x="1050" y="210"/>
                  </a:lnTo>
                  <a:lnTo>
                    <a:pt x="1067" y="231"/>
                  </a:lnTo>
                  <a:lnTo>
                    <a:pt x="1105" y="237"/>
                  </a:lnTo>
                  <a:lnTo>
                    <a:pt x="1105" y="247"/>
                  </a:lnTo>
                  <a:lnTo>
                    <a:pt x="1130" y="326"/>
                  </a:lnTo>
                  <a:lnTo>
                    <a:pt x="1124" y="375"/>
                  </a:lnTo>
                  <a:lnTo>
                    <a:pt x="1100" y="410"/>
                  </a:lnTo>
                  <a:lnTo>
                    <a:pt x="1110" y="435"/>
                  </a:lnTo>
                  <a:lnTo>
                    <a:pt x="1135" y="454"/>
                  </a:lnTo>
                  <a:lnTo>
                    <a:pt x="1174" y="484"/>
                  </a:lnTo>
                  <a:lnTo>
                    <a:pt x="1166" y="508"/>
                  </a:lnTo>
                  <a:lnTo>
                    <a:pt x="1159" y="533"/>
                  </a:lnTo>
                  <a:lnTo>
                    <a:pt x="1184" y="553"/>
                  </a:lnTo>
                  <a:lnTo>
                    <a:pt x="1184" y="573"/>
                  </a:lnTo>
                  <a:lnTo>
                    <a:pt x="1199" y="597"/>
                  </a:lnTo>
                  <a:lnTo>
                    <a:pt x="1175" y="637"/>
                  </a:lnTo>
                  <a:lnTo>
                    <a:pt x="1199" y="687"/>
                  </a:lnTo>
                  <a:lnTo>
                    <a:pt x="1204" y="716"/>
                  </a:lnTo>
                  <a:lnTo>
                    <a:pt x="1229" y="721"/>
                  </a:lnTo>
                  <a:lnTo>
                    <a:pt x="1243" y="771"/>
                  </a:lnTo>
                  <a:lnTo>
                    <a:pt x="1243" y="815"/>
                  </a:lnTo>
                  <a:lnTo>
                    <a:pt x="1234" y="820"/>
                  </a:lnTo>
                  <a:lnTo>
                    <a:pt x="1239" y="820"/>
                  </a:lnTo>
                  <a:lnTo>
                    <a:pt x="1239" y="855"/>
                  </a:lnTo>
                  <a:lnTo>
                    <a:pt x="1219" y="834"/>
                  </a:lnTo>
                  <a:lnTo>
                    <a:pt x="1219" y="864"/>
                  </a:lnTo>
                  <a:lnTo>
                    <a:pt x="1194" y="864"/>
                  </a:lnTo>
                  <a:lnTo>
                    <a:pt x="1175" y="825"/>
                  </a:lnTo>
                  <a:lnTo>
                    <a:pt x="1145" y="820"/>
                  </a:lnTo>
                  <a:lnTo>
                    <a:pt x="1154" y="860"/>
                  </a:lnTo>
                  <a:lnTo>
                    <a:pt x="1140" y="855"/>
                  </a:lnTo>
                  <a:lnTo>
                    <a:pt x="1135" y="860"/>
                  </a:lnTo>
                  <a:lnTo>
                    <a:pt x="1096" y="879"/>
                  </a:lnTo>
                  <a:lnTo>
                    <a:pt x="1090" y="890"/>
                  </a:lnTo>
                  <a:lnTo>
                    <a:pt x="1050" y="894"/>
                  </a:lnTo>
                  <a:lnTo>
                    <a:pt x="1045" y="914"/>
                  </a:lnTo>
                  <a:lnTo>
                    <a:pt x="1016" y="918"/>
                  </a:lnTo>
                  <a:lnTo>
                    <a:pt x="1001" y="944"/>
                  </a:lnTo>
                  <a:lnTo>
                    <a:pt x="986" y="939"/>
                  </a:lnTo>
                  <a:lnTo>
                    <a:pt x="971" y="967"/>
                  </a:lnTo>
                  <a:lnTo>
                    <a:pt x="942" y="963"/>
                  </a:lnTo>
                  <a:lnTo>
                    <a:pt x="897" y="978"/>
                  </a:lnTo>
                  <a:lnTo>
                    <a:pt x="882" y="1007"/>
                  </a:lnTo>
                  <a:lnTo>
                    <a:pt x="872" y="993"/>
                  </a:lnTo>
                  <a:lnTo>
                    <a:pt x="837" y="997"/>
                  </a:lnTo>
                  <a:lnTo>
                    <a:pt x="858" y="1027"/>
                  </a:lnTo>
                  <a:lnTo>
                    <a:pt x="882" y="1053"/>
                  </a:lnTo>
                  <a:lnTo>
                    <a:pt x="912" y="1077"/>
                  </a:lnTo>
                  <a:lnTo>
                    <a:pt x="897" y="1121"/>
                  </a:lnTo>
                  <a:lnTo>
                    <a:pt x="917" y="1141"/>
                  </a:lnTo>
                  <a:lnTo>
                    <a:pt x="921" y="1166"/>
                  </a:lnTo>
                  <a:lnTo>
                    <a:pt x="951" y="1200"/>
                  </a:lnTo>
                  <a:lnTo>
                    <a:pt x="986" y="1210"/>
                  </a:lnTo>
                  <a:lnTo>
                    <a:pt x="1006" y="1249"/>
                  </a:lnTo>
                  <a:lnTo>
                    <a:pt x="1040" y="1260"/>
                  </a:lnTo>
                  <a:lnTo>
                    <a:pt x="1045" y="1279"/>
                  </a:lnTo>
                  <a:lnTo>
                    <a:pt x="1085" y="1290"/>
                  </a:lnTo>
                  <a:lnTo>
                    <a:pt x="1124" y="1333"/>
                  </a:lnTo>
                  <a:lnTo>
                    <a:pt x="1115" y="1333"/>
                  </a:lnTo>
                  <a:lnTo>
                    <a:pt x="1110" y="1344"/>
                  </a:lnTo>
                  <a:lnTo>
                    <a:pt x="1110" y="1358"/>
                  </a:lnTo>
                  <a:lnTo>
                    <a:pt x="1100" y="1358"/>
                  </a:lnTo>
                  <a:lnTo>
                    <a:pt x="1105" y="1373"/>
                  </a:lnTo>
                  <a:lnTo>
                    <a:pt x="1061" y="1363"/>
                  </a:lnTo>
                  <a:lnTo>
                    <a:pt x="1050" y="1393"/>
                  </a:lnTo>
                  <a:lnTo>
                    <a:pt x="1050" y="1422"/>
                  </a:lnTo>
                  <a:lnTo>
                    <a:pt x="996" y="1442"/>
                  </a:lnTo>
                  <a:lnTo>
                    <a:pt x="966" y="1461"/>
                  </a:lnTo>
                  <a:lnTo>
                    <a:pt x="966" y="1477"/>
                  </a:lnTo>
                  <a:lnTo>
                    <a:pt x="991" y="1517"/>
                  </a:lnTo>
                  <a:lnTo>
                    <a:pt x="992" y="1532"/>
                  </a:lnTo>
                  <a:lnTo>
                    <a:pt x="996" y="1551"/>
                  </a:lnTo>
                  <a:lnTo>
                    <a:pt x="1010" y="1571"/>
                  </a:lnTo>
                  <a:lnTo>
                    <a:pt x="1006" y="1605"/>
                  </a:lnTo>
                  <a:lnTo>
                    <a:pt x="981" y="1600"/>
                  </a:lnTo>
                  <a:lnTo>
                    <a:pt x="977" y="1575"/>
                  </a:lnTo>
                  <a:lnTo>
                    <a:pt x="951" y="1561"/>
                  </a:lnTo>
                  <a:lnTo>
                    <a:pt x="942" y="1575"/>
                  </a:lnTo>
                  <a:lnTo>
                    <a:pt x="937" y="1575"/>
                  </a:lnTo>
                  <a:lnTo>
                    <a:pt x="917" y="1571"/>
                  </a:lnTo>
                  <a:lnTo>
                    <a:pt x="882" y="1566"/>
                  </a:lnTo>
                  <a:lnTo>
                    <a:pt x="872" y="1580"/>
                  </a:lnTo>
                  <a:lnTo>
                    <a:pt x="803" y="1596"/>
                  </a:lnTo>
                  <a:lnTo>
                    <a:pt x="748" y="1629"/>
                  </a:lnTo>
                  <a:lnTo>
                    <a:pt x="709" y="1630"/>
                  </a:lnTo>
                  <a:lnTo>
                    <a:pt x="679" y="1610"/>
                  </a:lnTo>
                  <a:lnTo>
                    <a:pt x="657" y="1599"/>
                  </a:lnTo>
                  <a:lnTo>
                    <a:pt x="634" y="1596"/>
                  </a:lnTo>
                  <a:lnTo>
                    <a:pt x="624" y="1635"/>
                  </a:lnTo>
                  <a:lnTo>
                    <a:pt x="595" y="1659"/>
                  </a:lnTo>
                  <a:lnTo>
                    <a:pt x="590" y="1640"/>
                  </a:lnTo>
                  <a:lnTo>
                    <a:pt x="565" y="1645"/>
                  </a:lnTo>
                  <a:lnTo>
                    <a:pt x="550" y="1610"/>
                  </a:lnTo>
                  <a:lnTo>
                    <a:pt x="535" y="1604"/>
                  </a:lnTo>
                  <a:lnTo>
                    <a:pt x="490" y="1610"/>
                  </a:lnTo>
                  <a:lnTo>
                    <a:pt x="503" y="1626"/>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28" name="Freeform 67"/>
            <p:cNvSpPr>
              <a:spLocks/>
            </p:cNvSpPr>
            <p:nvPr/>
          </p:nvSpPr>
          <p:spPr bwMode="auto">
            <a:xfrm>
              <a:off x="3708401" y="2963863"/>
              <a:ext cx="261937" cy="454025"/>
            </a:xfrm>
            <a:custGeom>
              <a:avLst/>
              <a:gdLst>
                <a:gd name="T0" fmla="*/ 2147483647 w 348"/>
                <a:gd name="T1" fmla="*/ 2147483647 h 662"/>
                <a:gd name="T2" fmla="*/ 2147483647 w 348"/>
                <a:gd name="T3" fmla="*/ 2147483647 h 662"/>
                <a:gd name="T4" fmla="*/ 2147483647 w 348"/>
                <a:gd name="T5" fmla="*/ 2147483647 h 662"/>
                <a:gd name="T6" fmla="*/ 2147483647 w 348"/>
                <a:gd name="T7" fmla="*/ 2147483647 h 662"/>
                <a:gd name="T8" fmla="*/ 2147483647 w 348"/>
                <a:gd name="T9" fmla="*/ 2147483647 h 662"/>
                <a:gd name="T10" fmla="*/ 2147483647 w 348"/>
                <a:gd name="T11" fmla="*/ 2147483647 h 662"/>
                <a:gd name="T12" fmla="*/ 2147483647 w 348"/>
                <a:gd name="T13" fmla="*/ 2147483647 h 662"/>
                <a:gd name="T14" fmla="*/ 2147483647 w 348"/>
                <a:gd name="T15" fmla="*/ 2147483647 h 662"/>
                <a:gd name="T16" fmla="*/ 2147483647 w 348"/>
                <a:gd name="T17" fmla="*/ 2147483647 h 662"/>
                <a:gd name="T18" fmla="*/ 2147483647 w 348"/>
                <a:gd name="T19" fmla="*/ 2147483647 h 662"/>
                <a:gd name="T20" fmla="*/ 2147483647 w 348"/>
                <a:gd name="T21" fmla="*/ 2147483647 h 662"/>
                <a:gd name="T22" fmla="*/ 2147483647 w 348"/>
                <a:gd name="T23" fmla="*/ 2147483647 h 662"/>
                <a:gd name="T24" fmla="*/ 2147483647 w 348"/>
                <a:gd name="T25" fmla="*/ 2147483647 h 662"/>
                <a:gd name="T26" fmla="*/ 2147483647 w 348"/>
                <a:gd name="T27" fmla="*/ 0 h 662"/>
                <a:gd name="T28" fmla="*/ 2147483647 w 348"/>
                <a:gd name="T29" fmla="*/ 2147483647 h 662"/>
                <a:gd name="T30" fmla="*/ 2147483647 w 348"/>
                <a:gd name="T31" fmla="*/ 2147483647 h 662"/>
                <a:gd name="T32" fmla="*/ 2147483647 w 348"/>
                <a:gd name="T33" fmla="*/ 2147483647 h 662"/>
                <a:gd name="T34" fmla="*/ 2147483647 w 348"/>
                <a:gd name="T35" fmla="*/ 2147483647 h 662"/>
                <a:gd name="T36" fmla="*/ 2147483647 w 348"/>
                <a:gd name="T37" fmla="*/ 2147483647 h 662"/>
                <a:gd name="T38" fmla="*/ 2147483647 w 348"/>
                <a:gd name="T39" fmla="*/ 2147483647 h 662"/>
                <a:gd name="T40" fmla="*/ 2147483647 w 348"/>
                <a:gd name="T41" fmla="*/ 2147483647 h 662"/>
                <a:gd name="T42" fmla="*/ 2147483647 w 348"/>
                <a:gd name="T43" fmla="*/ 2147483647 h 662"/>
                <a:gd name="T44" fmla="*/ 2147483647 w 348"/>
                <a:gd name="T45" fmla="*/ 2147483647 h 662"/>
                <a:gd name="T46" fmla="*/ 2147483647 w 348"/>
                <a:gd name="T47" fmla="*/ 2147483647 h 662"/>
                <a:gd name="T48" fmla="*/ 2147483647 w 348"/>
                <a:gd name="T49" fmla="*/ 2147483647 h 662"/>
                <a:gd name="T50" fmla="*/ 2147483647 w 348"/>
                <a:gd name="T51" fmla="*/ 2147483647 h 662"/>
                <a:gd name="T52" fmla="*/ 2147483647 w 348"/>
                <a:gd name="T53" fmla="*/ 2147483647 h 662"/>
                <a:gd name="T54" fmla="*/ 2147483647 w 348"/>
                <a:gd name="T55" fmla="*/ 2147483647 h 662"/>
                <a:gd name="T56" fmla="*/ 2147483647 w 348"/>
                <a:gd name="T57" fmla="*/ 2147483647 h 662"/>
                <a:gd name="T58" fmla="*/ 0 w 348"/>
                <a:gd name="T59" fmla="*/ 2147483647 h 662"/>
                <a:gd name="T60" fmla="*/ 2147483647 w 348"/>
                <a:gd name="T61" fmla="*/ 2147483647 h 662"/>
                <a:gd name="T62" fmla="*/ 0 w 348"/>
                <a:gd name="T63" fmla="*/ 2147483647 h 662"/>
                <a:gd name="T64" fmla="*/ 2147483647 w 348"/>
                <a:gd name="T65" fmla="*/ 2147483647 h 662"/>
                <a:gd name="T66" fmla="*/ 0 w 348"/>
                <a:gd name="T67" fmla="*/ 2147483647 h 662"/>
                <a:gd name="T68" fmla="*/ 2147483647 w 348"/>
                <a:gd name="T69" fmla="*/ 2147483647 h 662"/>
                <a:gd name="T70" fmla="*/ 2147483647 w 348"/>
                <a:gd name="T71" fmla="*/ 2147483647 h 662"/>
                <a:gd name="T72" fmla="*/ 2147483647 w 348"/>
                <a:gd name="T73" fmla="*/ 2147483647 h 662"/>
                <a:gd name="T74" fmla="*/ 2147483647 w 348"/>
                <a:gd name="T75" fmla="*/ 2147483647 h 662"/>
                <a:gd name="T76" fmla="*/ 2147483647 w 348"/>
                <a:gd name="T77" fmla="*/ 2147483647 h 662"/>
                <a:gd name="T78" fmla="*/ 2147483647 w 348"/>
                <a:gd name="T79" fmla="*/ 2147483647 h 662"/>
                <a:gd name="T80" fmla="*/ 2147483647 w 348"/>
                <a:gd name="T81" fmla="*/ 2147483647 h 662"/>
                <a:gd name="T82" fmla="*/ 2147483647 w 348"/>
                <a:gd name="T83" fmla="*/ 2147483647 h 662"/>
                <a:gd name="T84" fmla="*/ 2147483647 w 348"/>
                <a:gd name="T85" fmla="*/ 2147483647 h 662"/>
                <a:gd name="T86" fmla="*/ 2147483647 w 348"/>
                <a:gd name="T87" fmla="*/ 2147483647 h 6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8"/>
                <a:gd name="T133" fmla="*/ 0 h 662"/>
                <a:gd name="T134" fmla="*/ 348 w 348"/>
                <a:gd name="T135" fmla="*/ 662 h 6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8" h="662">
                  <a:moveTo>
                    <a:pt x="227" y="662"/>
                  </a:moveTo>
                  <a:lnTo>
                    <a:pt x="238" y="639"/>
                  </a:lnTo>
                  <a:lnTo>
                    <a:pt x="233" y="617"/>
                  </a:lnTo>
                  <a:lnTo>
                    <a:pt x="210" y="595"/>
                  </a:lnTo>
                  <a:lnTo>
                    <a:pt x="182" y="607"/>
                  </a:lnTo>
                  <a:lnTo>
                    <a:pt x="172" y="573"/>
                  </a:lnTo>
                  <a:lnTo>
                    <a:pt x="199" y="562"/>
                  </a:lnTo>
                  <a:lnTo>
                    <a:pt x="188" y="529"/>
                  </a:lnTo>
                  <a:lnTo>
                    <a:pt x="188" y="507"/>
                  </a:lnTo>
                  <a:lnTo>
                    <a:pt x="221" y="469"/>
                  </a:lnTo>
                  <a:lnTo>
                    <a:pt x="227" y="424"/>
                  </a:lnTo>
                  <a:lnTo>
                    <a:pt x="248" y="414"/>
                  </a:lnTo>
                  <a:lnTo>
                    <a:pt x="276" y="364"/>
                  </a:lnTo>
                  <a:lnTo>
                    <a:pt x="321" y="364"/>
                  </a:lnTo>
                  <a:lnTo>
                    <a:pt x="343" y="314"/>
                  </a:lnTo>
                  <a:lnTo>
                    <a:pt x="348" y="287"/>
                  </a:lnTo>
                  <a:lnTo>
                    <a:pt x="299" y="282"/>
                  </a:lnTo>
                  <a:lnTo>
                    <a:pt x="260" y="276"/>
                  </a:lnTo>
                  <a:lnTo>
                    <a:pt x="282" y="248"/>
                  </a:lnTo>
                  <a:lnTo>
                    <a:pt x="265" y="210"/>
                  </a:lnTo>
                  <a:lnTo>
                    <a:pt x="265" y="176"/>
                  </a:lnTo>
                  <a:lnTo>
                    <a:pt x="293" y="138"/>
                  </a:lnTo>
                  <a:lnTo>
                    <a:pt x="297" y="128"/>
                  </a:lnTo>
                  <a:lnTo>
                    <a:pt x="295" y="108"/>
                  </a:lnTo>
                  <a:lnTo>
                    <a:pt x="292" y="88"/>
                  </a:lnTo>
                  <a:lnTo>
                    <a:pt x="293" y="72"/>
                  </a:lnTo>
                  <a:lnTo>
                    <a:pt x="288" y="44"/>
                  </a:lnTo>
                  <a:lnTo>
                    <a:pt x="321" y="0"/>
                  </a:lnTo>
                  <a:lnTo>
                    <a:pt x="282" y="11"/>
                  </a:lnTo>
                  <a:lnTo>
                    <a:pt x="260" y="44"/>
                  </a:lnTo>
                  <a:lnTo>
                    <a:pt x="205" y="68"/>
                  </a:lnTo>
                  <a:lnTo>
                    <a:pt x="199" y="93"/>
                  </a:lnTo>
                  <a:lnTo>
                    <a:pt x="161" y="144"/>
                  </a:lnTo>
                  <a:lnTo>
                    <a:pt x="119" y="149"/>
                  </a:lnTo>
                  <a:lnTo>
                    <a:pt x="94" y="147"/>
                  </a:lnTo>
                  <a:lnTo>
                    <a:pt x="72" y="149"/>
                  </a:lnTo>
                  <a:lnTo>
                    <a:pt x="44" y="165"/>
                  </a:lnTo>
                  <a:lnTo>
                    <a:pt x="23" y="210"/>
                  </a:lnTo>
                  <a:lnTo>
                    <a:pt x="27" y="237"/>
                  </a:lnTo>
                  <a:lnTo>
                    <a:pt x="61" y="248"/>
                  </a:lnTo>
                  <a:lnTo>
                    <a:pt x="89" y="231"/>
                  </a:lnTo>
                  <a:lnTo>
                    <a:pt x="89" y="204"/>
                  </a:lnTo>
                  <a:lnTo>
                    <a:pt x="89" y="182"/>
                  </a:lnTo>
                  <a:lnTo>
                    <a:pt x="106" y="165"/>
                  </a:lnTo>
                  <a:lnTo>
                    <a:pt x="144" y="165"/>
                  </a:lnTo>
                  <a:lnTo>
                    <a:pt x="137" y="193"/>
                  </a:lnTo>
                  <a:lnTo>
                    <a:pt x="137" y="211"/>
                  </a:lnTo>
                  <a:lnTo>
                    <a:pt x="138" y="227"/>
                  </a:lnTo>
                  <a:lnTo>
                    <a:pt x="150" y="254"/>
                  </a:lnTo>
                  <a:lnTo>
                    <a:pt x="144" y="276"/>
                  </a:lnTo>
                  <a:lnTo>
                    <a:pt x="116" y="259"/>
                  </a:lnTo>
                  <a:lnTo>
                    <a:pt x="116" y="231"/>
                  </a:lnTo>
                  <a:lnTo>
                    <a:pt x="106" y="221"/>
                  </a:lnTo>
                  <a:lnTo>
                    <a:pt x="95" y="248"/>
                  </a:lnTo>
                  <a:lnTo>
                    <a:pt x="89" y="259"/>
                  </a:lnTo>
                  <a:lnTo>
                    <a:pt x="83" y="287"/>
                  </a:lnTo>
                  <a:lnTo>
                    <a:pt x="67" y="293"/>
                  </a:lnTo>
                  <a:lnTo>
                    <a:pt x="55" y="265"/>
                  </a:lnTo>
                  <a:lnTo>
                    <a:pt x="27" y="254"/>
                  </a:lnTo>
                  <a:lnTo>
                    <a:pt x="0" y="243"/>
                  </a:lnTo>
                  <a:lnTo>
                    <a:pt x="6" y="309"/>
                  </a:lnTo>
                  <a:lnTo>
                    <a:pt x="7" y="343"/>
                  </a:lnTo>
                  <a:lnTo>
                    <a:pt x="7" y="361"/>
                  </a:lnTo>
                  <a:lnTo>
                    <a:pt x="0" y="375"/>
                  </a:lnTo>
                  <a:lnTo>
                    <a:pt x="27" y="375"/>
                  </a:lnTo>
                  <a:lnTo>
                    <a:pt x="33" y="408"/>
                  </a:lnTo>
                  <a:lnTo>
                    <a:pt x="0" y="435"/>
                  </a:lnTo>
                  <a:lnTo>
                    <a:pt x="0" y="447"/>
                  </a:lnTo>
                  <a:lnTo>
                    <a:pt x="1" y="465"/>
                  </a:lnTo>
                  <a:lnTo>
                    <a:pt x="12" y="496"/>
                  </a:lnTo>
                  <a:lnTo>
                    <a:pt x="27" y="501"/>
                  </a:lnTo>
                  <a:lnTo>
                    <a:pt x="27" y="530"/>
                  </a:lnTo>
                  <a:lnTo>
                    <a:pt x="50" y="507"/>
                  </a:lnTo>
                  <a:lnTo>
                    <a:pt x="72" y="524"/>
                  </a:lnTo>
                  <a:lnTo>
                    <a:pt x="73" y="536"/>
                  </a:lnTo>
                  <a:lnTo>
                    <a:pt x="73" y="556"/>
                  </a:lnTo>
                  <a:lnTo>
                    <a:pt x="61" y="584"/>
                  </a:lnTo>
                  <a:lnTo>
                    <a:pt x="44" y="568"/>
                  </a:lnTo>
                  <a:lnTo>
                    <a:pt x="27" y="595"/>
                  </a:lnTo>
                  <a:lnTo>
                    <a:pt x="55" y="634"/>
                  </a:lnTo>
                  <a:lnTo>
                    <a:pt x="55" y="639"/>
                  </a:lnTo>
                  <a:lnTo>
                    <a:pt x="61" y="656"/>
                  </a:lnTo>
                  <a:lnTo>
                    <a:pt x="55" y="640"/>
                  </a:lnTo>
                  <a:lnTo>
                    <a:pt x="95" y="639"/>
                  </a:lnTo>
                  <a:lnTo>
                    <a:pt x="122" y="644"/>
                  </a:lnTo>
                  <a:lnTo>
                    <a:pt x="150" y="650"/>
                  </a:lnTo>
                  <a:lnTo>
                    <a:pt x="172" y="645"/>
                  </a:lnTo>
                  <a:lnTo>
                    <a:pt x="205" y="650"/>
                  </a:lnTo>
                  <a:lnTo>
                    <a:pt x="227" y="662"/>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29" name="Freeform 68"/>
            <p:cNvSpPr>
              <a:spLocks/>
            </p:cNvSpPr>
            <p:nvPr/>
          </p:nvSpPr>
          <p:spPr bwMode="auto">
            <a:xfrm>
              <a:off x="3854450" y="3289300"/>
              <a:ext cx="112712" cy="98425"/>
            </a:xfrm>
            <a:custGeom>
              <a:avLst/>
              <a:gdLst>
                <a:gd name="T0" fmla="*/ 0 w 150"/>
                <a:gd name="T1" fmla="*/ 2147483647 h 143"/>
                <a:gd name="T2" fmla="*/ 2147483647 w 150"/>
                <a:gd name="T3" fmla="*/ 2147483647 h 143"/>
                <a:gd name="T4" fmla="*/ 2147483647 w 150"/>
                <a:gd name="T5" fmla="*/ 2147483647 h 143"/>
                <a:gd name="T6" fmla="*/ 2147483647 w 150"/>
                <a:gd name="T7" fmla="*/ 2147483647 h 143"/>
                <a:gd name="T8" fmla="*/ 2147483647 w 150"/>
                <a:gd name="T9" fmla="*/ 2147483647 h 143"/>
                <a:gd name="T10" fmla="*/ 2147483647 w 150"/>
                <a:gd name="T11" fmla="*/ 2147483647 h 143"/>
                <a:gd name="T12" fmla="*/ 2147483647 w 150"/>
                <a:gd name="T13" fmla="*/ 2147483647 h 143"/>
                <a:gd name="T14" fmla="*/ 2147483647 w 150"/>
                <a:gd name="T15" fmla="*/ 2147483647 h 143"/>
                <a:gd name="T16" fmla="*/ 2147483647 w 150"/>
                <a:gd name="T17" fmla="*/ 2147483647 h 143"/>
                <a:gd name="T18" fmla="*/ 2147483647 w 150"/>
                <a:gd name="T19" fmla="*/ 2147483647 h 143"/>
                <a:gd name="T20" fmla="*/ 2147483647 w 150"/>
                <a:gd name="T21" fmla="*/ 2147483647 h 143"/>
                <a:gd name="T22" fmla="*/ 2147483647 w 150"/>
                <a:gd name="T23" fmla="*/ 2147483647 h 143"/>
                <a:gd name="T24" fmla="*/ 2147483647 w 150"/>
                <a:gd name="T25" fmla="*/ 2147483647 h 143"/>
                <a:gd name="T26" fmla="*/ 2147483647 w 150"/>
                <a:gd name="T27" fmla="*/ 2147483647 h 143"/>
                <a:gd name="T28" fmla="*/ 2147483647 w 150"/>
                <a:gd name="T29" fmla="*/ 0 h 143"/>
                <a:gd name="T30" fmla="*/ 2147483647 w 150"/>
                <a:gd name="T31" fmla="*/ 2147483647 h 143"/>
                <a:gd name="T32" fmla="*/ 0 w 150"/>
                <a:gd name="T33" fmla="*/ 2147483647 h 1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0"/>
                <a:gd name="T52" fmla="*/ 0 h 143"/>
                <a:gd name="T53" fmla="*/ 150 w 150"/>
                <a:gd name="T54" fmla="*/ 143 h 1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0" h="143">
                  <a:moveTo>
                    <a:pt x="0" y="33"/>
                  </a:moveTo>
                  <a:lnTo>
                    <a:pt x="6" y="27"/>
                  </a:lnTo>
                  <a:lnTo>
                    <a:pt x="23" y="50"/>
                  </a:lnTo>
                  <a:lnTo>
                    <a:pt x="23" y="94"/>
                  </a:lnTo>
                  <a:lnTo>
                    <a:pt x="51" y="105"/>
                  </a:lnTo>
                  <a:lnTo>
                    <a:pt x="51" y="127"/>
                  </a:lnTo>
                  <a:lnTo>
                    <a:pt x="106" y="121"/>
                  </a:lnTo>
                  <a:lnTo>
                    <a:pt x="123" y="143"/>
                  </a:lnTo>
                  <a:lnTo>
                    <a:pt x="134" y="127"/>
                  </a:lnTo>
                  <a:lnTo>
                    <a:pt x="150" y="110"/>
                  </a:lnTo>
                  <a:lnTo>
                    <a:pt x="144" y="77"/>
                  </a:lnTo>
                  <a:lnTo>
                    <a:pt x="134" y="44"/>
                  </a:lnTo>
                  <a:lnTo>
                    <a:pt x="117" y="22"/>
                  </a:lnTo>
                  <a:lnTo>
                    <a:pt x="83" y="6"/>
                  </a:lnTo>
                  <a:lnTo>
                    <a:pt x="45" y="0"/>
                  </a:lnTo>
                  <a:lnTo>
                    <a:pt x="23" y="12"/>
                  </a:lnTo>
                  <a:lnTo>
                    <a:pt x="0" y="33"/>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0" name="Freeform 69"/>
            <p:cNvSpPr>
              <a:spLocks/>
            </p:cNvSpPr>
            <p:nvPr/>
          </p:nvSpPr>
          <p:spPr bwMode="auto">
            <a:xfrm>
              <a:off x="3432176" y="4100513"/>
              <a:ext cx="77787" cy="107950"/>
            </a:xfrm>
            <a:custGeom>
              <a:avLst/>
              <a:gdLst/>
              <a:ahLst/>
              <a:cxnLst>
                <a:cxn ang="0">
                  <a:pos x="69" y="9"/>
                </a:cxn>
                <a:cxn ang="0">
                  <a:pos x="73" y="37"/>
                </a:cxn>
                <a:cxn ang="0">
                  <a:pos x="71" y="52"/>
                </a:cxn>
                <a:cxn ang="0">
                  <a:pos x="84" y="70"/>
                </a:cxn>
                <a:cxn ang="0">
                  <a:pos x="95" y="84"/>
                </a:cxn>
                <a:cxn ang="0">
                  <a:pos x="105" y="91"/>
                </a:cxn>
                <a:cxn ang="0">
                  <a:pos x="105" y="116"/>
                </a:cxn>
                <a:cxn ang="0">
                  <a:pos x="91" y="145"/>
                </a:cxn>
                <a:cxn ang="0">
                  <a:pos x="88" y="146"/>
                </a:cxn>
                <a:cxn ang="0">
                  <a:pos x="65" y="146"/>
                </a:cxn>
                <a:cxn ang="0">
                  <a:pos x="43" y="157"/>
                </a:cxn>
                <a:cxn ang="0">
                  <a:pos x="23" y="145"/>
                </a:cxn>
                <a:cxn ang="0">
                  <a:pos x="23" y="142"/>
                </a:cxn>
                <a:cxn ang="0">
                  <a:pos x="30" y="136"/>
                </a:cxn>
                <a:cxn ang="0">
                  <a:pos x="34" y="120"/>
                </a:cxn>
                <a:cxn ang="0">
                  <a:pos x="16" y="93"/>
                </a:cxn>
                <a:cxn ang="0">
                  <a:pos x="0" y="84"/>
                </a:cxn>
                <a:cxn ang="0">
                  <a:pos x="7" y="60"/>
                </a:cxn>
                <a:cxn ang="0">
                  <a:pos x="21" y="34"/>
                </a:cxn>
                <a:cxn ang="0">
                  <a:pos x="34" y="7"/>
                </a:cxn>
                <a:cxn ang="0">
                  <a:pos x="43" y="2"/>
                </a:cxn>
                <a:cxn ang="0">
                  <a:pos x="55" y="14"/>
                </a:cxn>
                <a:cxn ang="0">
                  <a:pos x="71" y="0"/>
                </a:cxn>
                <a:cxn ang="0">
                  <a:pos x="69" y="9"/>
                </a:cxn>
              </a:cxnLst>
              <a:rect l="0" t="0" r="r" b="b"/>
              <a:pathLst>
                <a:path w="105" h="157">
                  <a:moveTo>
                    <a:pt x="69" y="9"/>
                  </a:moveTo>
                  <a:lnTo>
                    <a:pt x="73" y="37"/>
                  </a:lnTo>
                  <a:lnTo>
                    <a:pt x="71" y="52"/>
                  </a:lnTo>
                  <a:lnTo>
                    <a:pt x="84" y="70"/>
                  </a:lnTo>
                  <a:lnTo>
                    <a:pt x="95" y="84"/>
                  </a:lnTo>
                  <a:lnTo>
                    <a:pt x="105" y="91"/>
                  </a:lnTo>
                  <a:lnTo>
                    <a:pt x="105" y="116"/>
                  </a:lnTo>
                  <a:lnTo>
                    <a:pt x="91" y="145"/>
                  </a:lnTo>
                  <a:lnTo>
                    <a:pt x="88" y="146"/>
                  </a:lnTo>
                  <a:lnTo>
                    <a:pt x="65" y="146"/>
                  </a:lnTo>
                  <a:lnTo>
                    <a:pt x="43" y="157"/>
                  </a:lnTo>
                  <a:lnTo>
                    <a:pt x="23" y="145"/>
                  </a:lnTo>
                  <a:lnTo>
                    <a:pt x="23" y="142"/>
                  </a:lnTo>
                  <a:lnTo>
                    <a:pt x="30" y="136"/>
                  </a:lnTo>
                  <a:lnTo>
                    <a:pt x="34" y="120"/>
                  </a:lnTo>
                  <a:lnTo>
                    <a:pt x="16" y="93"/>
                  </a:lnTo>
                  <a:lnTo>
                    <a:pt x="0" y="84"/>
                  </a:lnTo>
                  <a:lnTo>
                    <a:pt x="7" y="60"/>
                  </a:lnTo>
                  <a:lnTo>
                    <a:pt x="21" y="34"/>
                  </a:lnTo>
                  <a:lnTo>
                    <a:pt x="34" y="7"/>
                  </a:lnTo>
                  <a:lnTo>
                    <a:pt x="43" y="2"/>
                  </a:lnTo>
                  <a:lnTo>
                    <a:pt x="55" y="14"/>
                  </a:lnTo>
                  <a:lnTo>
                    <a:pt x="71" y="0"/>
                  </a:lnTo>
                  <a:lnTo>
                    <a:pt x="69" y="9"/>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31" name="Freeform 70"/>
            <p:cNvSpPr>
              <a:spLocks/>
            </p:cNvSpPr>
            <p:nvPr/>
          </p:nvSpPr>
          <p:spPr bwMode="auto">
            <a:xfrm>
              <a:off x="3983037" y="3211513"/>
              <a:ext cx="141288" cy="222250"/>
            </a:xfrm>
            <a:custGeom>
              <a:avLst/>
              <a:gdLst>
                <a:gd name="T0" fmla="*/ 2147483647 w 187"/>
                <a:gd name="T1" fmla="*/ 2147483647 h 325"/>
                <a:gd name="T2" fmla="*/ 2147483647 w 187"/>
                <a:gd name="T3" fmla="*/ 2147483647 h 325"/>
                <a:gd name="T4" fmla="*/ 2147483647 w 187"/>
                <a:gd name="T5" fmla="*/ 2147483647 h 325"/>
                <a:gd name="T6" fmla="*/ 2147483647 w 187"/>
                <a:gd name="T7" fmla="*/ 2147483647 h 325"/>
                <a:gd name="T8" fmla="*/ 2147483647 w 187"/>
                <a:gd name="T9" fmla="*/ 2147483647 h 325"/>
                <a:gd name="T10" fmla="*/ 2147483647 w 187"/>
                <a:gd name="T11" fmla="*/ 2147483647 h 325"/>
                <a:gd name="T12" fmla="*/ 0 w 187"/>
                <a:gd name="T13" fmla="*/ 2147483647 h 325"/>
                <a:gd name="T14" fmla="*/ 2147483647 w 187"/>
                <a:gd name="T15" fmla="*/ 2147483647 h 325"/>
                <a:gd name="T16" fmla="*/ 2147483647 w 187"/>
                <a:gd name="T17" fmla="*/ 2147483647 h 325"/>
                <a:gd name="T18" fmla="*/ 2147483647 w 187"/>
                <a:gd name="T19" fmla="*/ 2147483647 h 325"/>
                <a:gd name="T20" fmla="*/ 2147483647 w 187"/>
                <a:gd name="T21" fmla="*/ 2147483647 h 325"/>
                <a:gd name="T22" fmla="*/ 2147483647 w 187"/>
                <a:gd name="T23" fmla="*/ 2147483647 h 325"/>
                <a:gd name="T24" fmla="*/ 2147483647 w 187"/>
                <a:gd name="T25" fmla="*/ 2147483647 h 325"/>
                <a:gd name="T26" fmla="*/ 2147483647 w 187"/>
                <a:gd name="T27" fmla="*/ 2147483647 h 325"/>
                <a:gd name="T28" fmla="*/ 2147483647 w 187"/>
                <a:gd name="T29" fmla="*/ 2147483647 h 325"/>
                <a:gd name="T30" fmla="*/ 2147483647 w 187"/>
                <a:gd name="T31" fmla="*/ 2147483647 h 325"/>
                <a:gd name="T32" fmla="*/ 2147483647 w 187"/>
                <a:gd name="T33" fmla="*/ 2147483647 h 325"/>
                <a:gd name="T34" fmla="*/ 2147483647 w 187"/>
                <a:gd name="T35" fmla="*/ 2147483647 h 325"/>
                <a:gd name="T36" fmla="*/ 2147483647 w 187"/>
                <a:gd name="T37" fmla="*/ 2147483647 h 325"/>
                <a:gd name="T38" fmla="*/ 2147483647 w 187"/>
                <a:gd name="T39" fmla="*/ 2147483647 h 325"/>
                <a:gd name="T40" fmla="*/ 2147483647 w 187"/>
                <a:gd name="T41" fmla="*/ 2147483647 h 325"/>
                <a:gd name="T42" fmla="*/ 2147483647 w 187"/>
                <a:gd name="T43" fmla="*/ 2147483647 h 325"/>
                <a:gd name="T44" fmla="*/ 2147483647 w 187"/>
                <a:gd name="T45" fmla="*/ 2147483647 h 325"/>
                <a:gd name="T46" fmla="*/ 2147483647 w 187"/>
                <a:gd name="T47" fmla="*/ 2147483647 h 325"/>
                <a:gd name="T48" fmla="*/ 2147483647 w 187"/>
                <a:gd name="T49" fmla="*/ 2147483647 h 325"/>
                <a:gd name="T50" fmla="*/ 2147483647 w 187"/>
                <a:gd name="T51" fmla="*/ 2147483647 h 325"/>
                <a:gd name="T52" fmla="*/ 2147483647 w 187"/>
                <a:gd name="T53" fmla="*/ 0 h 325"/>
                <a:gd name="T54" fmla="*/ 2147483647 w 187"/>
                <a:gd name="T55" fmla="*/ 2147483647 h 325"/>
                <a:gd name="T56" fmla="*/ 2147483647 w 187"/>
                <a:gd name="T57" fmla="*/ 2147483647 h 325"/>
                <a:gd name="T58" fmla="*/ 2147483647 w 187"/>
                <a:gd name="T59" fmla="*/ 2147483647 h 325"/>
                <a:gd name="T60" fmla="*/ 2147483647 w 187"/>
                <a:gd name="T61" fmla="*/ 2147483647 h 325"/>
                <a:gd name="T62" fmla="*/ 2147483647 w 187"/>
                <a:gd name="T63" fmla="*/ 2147483647 h 325"/>
                <a:gd name="T64" fmla="*/ 2147483647 w 187"/>
                <a:gd name="T65" fmla="*/ 2147483647 h 325"/>
                <a:gd name="T66" fmla="*/ 2147483647 w 187"/>
                <a:gd name="T67" fmla="*/ 2147483647 h 325"/>
                <a:gd name="T68" fmla="*/ 0 w 187"/>
                <a:gd name="T69" fmla="*/ 2147483647 h 325"/>
                <a:gd name="T70" fmla="*/ 2147483647 w 187"/>
                <a:gd name="T71" fmla="*/ 2147483647 h 325"/>
                <a:gd name="T72" fmla="*/ 2147483647 w 187"/>
                <a:gd name="T73" fmla="*/ 2147483647 h 325"/>
                <a:gd name="T74" fmla="*/ 2147483647 w 187"/>
                <a:gd name="T75" fmla="*/ 2147483647 h 325"/>
                <a:gd name="T76" fmla="*/ 2147483647 w 187"/>
                <a:gd name="T77" fmla="*/ 2147483647 h 325"/>
                <a:gd name="T78" fmla="*/ 2147483647 w 187"/>
                <a:gd name="T79" fmla="*/ 2147483647 h 325"/>
                <a:gd name="T80" fmla="*/ 2147483647 w 187"/>
                <a:gd name="T81" fmla="*/ 2147483647 h 325"/>
                <a:gd name="T82" fmla="*/ 2147483647 w 187"/>
                <a:gd name="T83" fmla="*/ 2147483647 h 3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7"/>
                <a:gd name="T127" fmla="*/ 0 h 325"/>
                <a:gd name="T128" fmla="*/ 187 w 187"/>
                <a:gd name="T129" fmla="*/ 325 h 3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7" h="325">
                  <a:moveTo>
                    <a:pt x="89" y="243"/>
                  </a:moveTo>
                  <a:lnTo>
                    <a:pt x="83" y="243"/>
                  </a:lnTo>
                  <a:lnTo>
                    <a:pt x="72" y="281"/>
                  </a:lnTo>
                  <a:lnTo>
                    <a:pt x="44" y="287"/>
                  </a:lnTo>
                  <a:lnTo>
                    <a:pt x="34" y="270"/>
                  </a:lnTo>
                  <a:lnTo>
                    <a:pt x="6" y="270"/>
                  </a:lnTo>
                  <a:lnTo>
                    <a:pt x="0" y="304"/>
                  </a:lnTo>
                  <a:lnTo>
                    <a:pt x="49" y="325"/>
                  </a:lnTo>
                  <a:lnTo>
                    <a:pt x="74" y="323"/>
                  </a:lnTo>
                  <a:lnTo>
                    <a:pt x="100" y="319"/>
                  </a:lnTo>
                  <a:lnTo>
                    <a:pt x="121" y="315"/>
                  </a:lnTo>
                  <a:lnTo>
                    <a:pt x="138" y="292"/>
                  </a:lnTo>
                  <a:lnTo>
                    <a:pt x="144" y="270"/>
                  </a:lnTo>
                  <a:lnTo>
                    <a:pt x="172" y="253"/>
                  </a:lnTo>
                  <a:lnTo>
                    <a:pt x="144" y="253"/>
                  </a:lnTo>
                  <a:lnTo>
                    <a:pt x="144" y="237"/>
                  </a:lnTo>
                  <a:lnTo>
                    <a:pt x="127" y="204"/>
                  </a:lnTo>
                  <a:lnTo>
                    <a:pt x="155" y="198"/>
                  </a:lnTo>
                  <a:lnTo>
                    <a:pt x="183" y="177"/>
                  </a:lnTo>
                  <a:lnTo>
                    <a:pt x="172" y="149"/>
                  </a:lnTo>
                  <a:lnTo>
                    <a:pt x="138" y="132"/>
                  </a:lnTo>
                  <a:lnTo>
                    <a:pt x="144" y="111"/>
                  </a:lnTo>
                  <a:lnTo>
                    <a:pt x="177" y="100"/>
                  </a:lnTo>
                  <a:lnTo>
                    <a:pt x="187" y="66"/>
                  </a:lnTo>
                  <a:lnTo>
                    <a:pt x="187" y="35"/>
                  </a:lnTo>
                  <a:lnTo>
                    <a:pt x="177" y="6"/>
                  </a:lnTo>
                  <a:lnTo>
                    <a:pt x="132" y="0"/>
                  </a:lnTo>
                  <a:lnTo>
                    <a:pt x="106" y="23"/>
                  </a:lnTo>
                  <a:lnTo>
                    <a:pt x="110" y="39"/>
                  </a:lnTo>
                  <a:lnTo>
                    <a:pt x="117" y="78"/>
                  </a:lnTo>
                  <a:lnTo>
                    <a:pt x="77" y="88"/>
                  </a:lnTo>
                  <a:lnTo>
                    <a:pt x="77" y="60"/>
                  </a:lnTo>
                  <a:lnTo>
                    <a:pt x="44" y="45"/>
                  </a:lnTo>
                  <a:lnTo>
                    <a:pt x="34" y="72"/>
                  </a:lnTo>
                  <a:lnTo>
                    <a:pt x="0" y="106"/>
                  </a:lnTo>
                  <a:lnTo>
                    <a:pt x="11" y="132"/>
                  </a:lnTo>
                  <a:lnTo>
                    <a:pt x="6" y="166"/>
                  </a:lnTo>
                  <a:lnTo>
                    <a:pt x="22" y="193"/>
                  </a:lnTo>
                  <a:lnTo>
                    <a:pt x="38" y="210"/>
                  </a:lnTo>
                  <a:lnTo>
                    <a:pt x="83" y="210"/>
                  </a:lnTo>
                  <a:lnTo>
                    <a:pt x="83" y="232"/>
                  </a:lnTo>
                  <a:lnTo>
                    <a:pt x="89" y="243"/>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2" name="Freeform 71"/>
            <p:cNvSpPr>
              <a:spLocks/>
            </p:cNvSpPr>
            <p:nvPr/>
          </p:nvSpPr>
          <p:spPr bwMode="auto">
            <a:xfrm>
              <a:off x="3117851" y="3898900"/>
              <a:ext cx="387350" cy="303213"/>
            </a:xfrm>
            <a:custGeom>
              <a:avLst/>
              <a:gdLst>
                <a:gd name="T0" fmla="*/ 2147483647 w 515"/>
                <a:gd name="T1" fmla="*/ 2147483647 h 442"/>
                <a:gd name="T2" fmla="*/ 2147483647 w 515"/>
                <a:gd name="T3" fmla="*/ 2147483647 h 442"/>
                <a:gd name="T4" fmla="*/ 2147483647 w 515"/>
                <a:gd name="T5" fmla="*/ 2147483647 h 442"/>
                <a:gd name="T6" fmla="*/ 2147483647 w 515"/>
                <a:gd name="T7" fmla="*/ 2147483647 h 442"/>
                <a:gd name="T8" fmla="*/ 2147483647 w 515"/>
                <a:gd name="T9" fmla="*/ 2147483647 h 442"/>
                <a:gd name="T10" fmla="*/ 2147483647 w 515"/>
                <a:gd name="T11" fmla="*/ 2147483647 h 442"/>
                <a:gd name="T12" fmla="*/ 2147483647 w 515"/>
                <a:gd name="T13" fmla="*/ 2147483647 h 442"/>
                <a:gd name="T14" fmla="*/ 2147483647 w 515"/>
                <a:gd name="T15" fmla="*/ 2147483647 h 442"/>
                <a:gd name="T16" fmla="*/ 2147483647 w 515"/>
                <a:gd name="T17" fmla="*/ 2147483647 h 442"/>
                <a:gd name="T18" fmla="*/ 2147483647 w 515"/>
                <a:gd name="T19" fmla="*/ 2147483647 h 442"/>
                <a:gd name="T20" fmla="*/ 2147483647 w 515"/>
                <a:gd name="T21" fmla="*/ 2147483647 h 442"/>
                <a:gd name="T22" fmla="*/ 2147483647 w 515"/>
                <a:gd name="T23" fmla="*/ 2147483647 h 442"/>
                <a:gd name="T24" fmla="*/ 2147483647 w 515"/>
                <a:gd name="T25" fmla="*/ 2147483647 h 442"/>
                <a:gd name="T26" fmla="*/ 2147483647 w 515"/>
                <a:gd name="T27" fmla="*/ 2147483647 h 442"/>
                <a:gd name="T28" fmla="*/ 2147483647 w 515"/>
                <a:gd name="T29" fmla="*/ 2147483647 h 442"/>
                <a:gd name="T30" fmla="*/ 2147483647 w 515"/>
                <a:gd name="T31" fmla="*/ 2147483647 h 442"/>
                <a:gd name="T32" fmla="*/ 2147483647 w 515"/>
                <a:gd name="T33" fmla="*/ 2147483647 h 442"/>
                <a:gd name="T34" fmla="*/ 2147483647 w 515"/>
                <a:gd name="T35" fmla="*/ 2147483647 h 442"/>
                <a:gd name="T36" fmla="*/ 2147483647 w 515"/>
                <a:gd name="T37" fmla="*/ 2147483647 h 442"/>
                <a:gd name="T38" fmla="*/ 2147483647 w 515"/>
                <a:gd name="T39" fmla="*/ 2147483647 h 442"/>
                <a:gd name="T40" fmla="*/ 0 w 515"/>
                <a:gd name="T41" fmla="*/ 2147483647 h 442"/>
                <a:gd name="T42" fmla="*/ 2147483647 w 515"/>
                <a:gd name="T43" fmla="*/ 2147483647 h 442"/>
                <a:gd name="T44" fmla="*/ 2147483647 w 515"/>
                <a:gd name="T45" fmla="*/ 2147483647 h 442"/>
                <a:gd name="T46" fmla="*/ 2147483647 w 515"/>
                <a:gd name="T47" fmla="*/ 2147483647 h 442"/>
                <a:gd name="T48" fmla="*/ 2147483647 w 515"/>
                <a:gd name="T49" fmla="*/ 2147483647 h 442"/>
                <a:gd name="T50" fmla="*/ 2147483647 w 515"/>
                <a:gd name="T51" fmla="*/ 2147483647 h 442"/>
                <a:gd name="T52" fmla="*/ 2147483647 w 515"/>
                <a:gd name="T53" fmla="*/ 2147483647 h 442"/>
                <a:gd name="T54" fmla="*/ 2147483647 w 515"/>
                <a:gd name="T55" fmla="*/ 2147483647 h 442"/>
                <a:gd name="T56" fmla="*/ 2147483647 w 515"/>
                <a:gd name="T57" fmla="*/ 2147483647 h 442"/>
                <a:gd name="T58" fmla="*/ 2147483647 w 515"/>
                <a:gd name="T59" fmla="*/ 2147483647 h 442"/>
                <a:gd name="T60" fmla="*/ 2147483647 w 515"/>
                <a:gd name="T61" fmla="*/ 2147483647 h 442"/>
                <a:gd name="T62" fmla="*/ 2147483647 w 515"/>
                <a:gd name="T63" fmla="*/ 2147483647 h 442"/>
                <a:gd name="T64" fmla="*/ 2147483647 w 515"/>
                <a:gd name="T65" fmla="*/ 2147483647 h 4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5"/>
                <a:gd name="T100" fmla="*/ 0 h 442"/>
                <a:gd name="T101" fmla="*/ 515 w 515"/>
                <a:gd name="T102" fmla="*/ 442 h 4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5" h="442">
                  <a:moveTo>
                    <a:pt x="432" y="391"/>
                  </a:moveTo>
                  <a:lnTo>
                    <a:pt x="415" y="380"/>
                  </a:lnTo>
                  <a:lnTo>
                    <a:pt x="426" y="347"/>
                  </a:lnTo>
                  <a:lnTo>
                    <a:pt x="443" y="320"/>
                  </a:lnTo>
                  <a:lnTo>
                    <a:pt x="459" y="297"/>
                  </a:lnTo>
                  <a:lnTo>
                    <a:pt x="470" y="308"/>
                  </a:lnTo>
                  <a:lnTo>
                    <a:pt x="476" y="303"/>
                  </a:lnTo>
                  <a:lnTo>
                    <a:pt x="487" y="297"/>
                  </a:lnTo>
                  <a:lnTo>
                    <a:pt x="515" y="259"/>
                  </a:lnTo>
                  <a:lnTo>
                    <a:pt x="515" y="248"/>
                  </a:lnTo>
                  <a:lnTo>
                    <a:pt x="515" y="226"/>
                  </a:lnTo>
                  <a:lnTo>
                    <a:pt x="504" y="231"/>
                  </a:lnTo>
                  <a:lnTo>
                    <a:pt x="493" y="214"/>
                  </a:lnTo>
                  <a:lnTo>
                    <a:pt x="493" y="193"/>
                  </a:lnTo>
                  <a:lnTo>
                    <a:pt x="487" y="176"/>
                  </a:lnTo>
                  <a:lnTo>
                    <a:pt x="470" y="165"/>
                  </a:lnTo>
                  <a:lnTo>
                    <a:pt x="465" y="165"/>
                  </a:lnTo>
                  <a:lnTo>
                    <a:pt x="433" y="165"/>
                  </a:lnTo>
                  <a:lnTo>
                    <a:pt x="422" y="156"/>
                  </a:lnTo>
                  <a:lnTo>
                    <a:pt x="427" y="144"/>
                  </a:lnTo>
                  <a:lnTo>
                    <a:pt x="438" y="110"/>
                  </a:lnTo>
                  <a:lnTo>
                    <a:pt x="449" y="76"/>
                  </a:lnTo>
                  <a:lnTo>
                    <a:pt x="415" y="72"/>
                  </a:lnTo>
                  <a:lnTo>
                    <a:pt x="404" y="44"/>
                  </a:lnTo>
                  <a:lnTo>
                    <a:pt x="366" y="50"/>
                  </a:lnTo>
                  <a:lnTo>
                    <a:pt x="343" y="16"/>
                  </a:lnTo>
                  <a:lnTo>
                    <a:pt x="315" y="11"/>
                  </a:lnTo>
                  <a:lnTo>
                    <a:pt x="300" y="11"/>
                  </a:lnTo>
                  <a:lnTo>
                    <a:pt x="272" y="0"/>
                  </a:lnTo>
                  <a:lnTo>
                    <a:pt x="260" y="16"/>
                  </a:lnTo>
                  <a:lnTo>
                    <a:pt x="244" y="22"/>
                  </a:lnTo>
                  <a:lnTo>
                    <a:pt x="232" y="33"/>
                  </a:lnTo>
                  <a:lnTo>
                    <a:pt x="189" y="55"/>
                  </a:lnTo>
                  <a:lnTo>
                    <a:pt x="149" y="33"/>
                  </a:lnTo>
                  <a:lnTo>
                    <a:pt x="128" y="38"/>
                  </a:lnTo>
                  <a:lnTo>
                    <a:pt x="117" y="11"/>
                  </a:lnTo>
                  <a:lnTo>
                    <a:pt x="111" y="6"/>
                  </a:lnTo>
                  <a:lnTo>
                    <a:pt x="73" y="27"/>
                  </a:lnTo>
                  <a:lnTo>
                    <a:pt x="0" y="61"/>
                  </a:lnTo>
                  <a:lnTo>
                    <a:pt x="2" y="84"/>
                  </a:lnTo>
                  <a:lnTo>
                    <a:pt x="2" y="102"/>
                  </a:lnTo>
                  <a:lnTo>
                    <a:pt x="0" y="116"/>
                  </a:lnTo>
                  <a:lnTo>
                    <a:pt x="34" y="154"/>
                  </a:lnTo>
                  <a:lnTo>
                    <a:pt x="45" y="132"/>
                  </a:lnTo>
                  <a:lnTo>
                    <a:pt x="73" y="138"/>
                  </a:lnTo>
                  <a:lnTo>
                    <a:pt x="89" y="182"/>
                  </a:lnTo>
                  <a:lnTo>
                    <a:pt x="106" y="204"/>
                  </a:lnTo>
                  <a:lnTo>
                    <a:pt x="149" y="210"/>
                  </a:lnTo>
                  <a:lnTo>
                    <a:pt x="172" y="248"/>
                  </a:lnTo>
                  <a:lnTo>
                    <a:pt x="228" y="254"/>
                  </a:lnTo>
                  <a:lnTo>
                    <a:pt x="238" y="275"/>
                  </a:lnTo>
                  <a:lnTo>
                    <a:pt x="205" y="280"/>
                  </a:lnTo>
                  <a:lnTo>
                    <a:pt x="211" y="320"/>
                  </a:lnTo>
                  <a:lnTo>
                    <a:pt x="244" y="341"/>
                  </a:lnTo>
                  <a:lnTo>
                    <a:pt x="277" y="314"/>
                  </a:lnTo>
                  <a:lnTo>
                    <a:pt x="283" y="292"/>
                  </a:lnTo>
                  <a:lnTo>
                    <a:pt x="304" y="286"/>
                  </a:lnTo>
                  <a:lnTo>
                    <a:pt x="306" y="323"/>
                  </a:lnTo>
                  <a:lnTo>
                    <a:pt x="298" y="363"/>
                  </a:lnTo>
                  <a:lnTo>
                    <a:pt x="343" y="391"/>
                  </a:lnTo>
                  <a:lnTo>
                    <a:pt x="387" y="441"/>
                  </a:lnTo>
                  <a:lnTo>
                    <a:pt x="404" y="442"/>
                  </a:lnTo>
                  <a:lnTo>
                    <a:pt x="431" y="441"/>
                  </a:lnTo>
                  <a:lnTo>
                    <a:pt x="450" y="430"/>
                  </a:lnTo>
                  <a:lnTo>
                    <a:pt x="452" y="419"/>
                  </a:lnTo>
                  <a:lnTo>
                    <a:pt x="445" y="403"/>
                  </a:lnTo>
                  <a:lnTo>
                    <a:pt x="432" y="391"/>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3" name="Freeform 72"/>
            <p:cNvSpPr>
              <a:spLocks/>
            </p:cNvSpPr>
            <p:nvPr/>
          </p:nvSpPr>
          <p:spPr bwMode="auto">
            <a:xfrm>
              <a:off x="3201988" y="3617913"/>
              <a:ext cx="411163" cy="393700"/>
            </a:xfrm>
            <a:custGeom>
              <a:avLst/>
              <a:gdLst>
                <a:gd name="T0" fmla="*/ 2147483647 w 548"/>
                <a:gd name="T1" fmla="*/ 2147483647 h 573"/>
                <a:gd name="T2" fmla="*/ 2147483647 w 548"/>
                <a:gd name="T3" fmla="*/ 2147483647 h 573"/>
                <a:gd name="T4" fmla="*/ 2147483647 w 548"/>
                <a:gd name="T5" fmla="*/ 2147483647 h 573"/>
                <a:gd name="T6" fmla="*/ 2147483647 w 548"/>
                <a:gd name="T7" fmla="*/ 2147483647 h 573"/>
                <a:gd name="T8" fmla="*/ 2147483647 w 548"/>
                <a:gd name="T9" fmla="*/ 2147483647 h 573"/>
                <a:gd name="T10" fmla="*/ 2147483647 w 548"/>
                <a:gd name="T11" fmla="*/ 2147483647 h 573"/>
                <a:gd name="T12" fmla="*/ 2147483647 w 548"/>
                <a:gd name="T13" fmla="*/ 2147483647 h 573"/>
                <a:gd name="T14" fmla="*/ 2147483647 w 548"/>
                <a:gd name="T15" fmla="*/ 2147483647 h 573"/>
                <a:gd name="T16" fmla="*/ 2147483647 w 548"/>
                <a:gd name="T17" fmla="*/ 2147483647 h 573"/>
                <a:gd name="T18" fmla="*/ 2147483647 w 548"/>
                <a:gd name="T19" fmla="*/ 2147483647 h 573"/>
                <a:gd name="T20" fmla="*/ 2147483647 w 548"/>
                <a:gd name="T21" fmla="*/ 2147483647 h 573"/>
                <a:gd name="T22" fmla="*/ 2147483647 w 548"/>
                <a:gd name="T23" fmla="*/ 2147483647 h 573"/>
                <a:gd name="T24" fmla="*/ 2147483647 w 548"/>
                <a:gd name="T25" fmla="*/ 2147483647 h 573"/>
                <a:gd name="T26" fmla="*/ 2147483647 w 548"/>
                <a:gd name="T27" fmla="*/ 2147483647 h 573"/>
                <a:gd name="T28" fmla="*/ 2147483647 w 548"/>
                <a:gd name="T29" fmla="*/ 2147483647 h 573"/>
                <a:gd name="T30" fmla="*/ 2147483647 w 548"/>
                <a:gd name="T31" fmla="*/ 2147483647 h 573"/>
                <a:gd name="T32" fmla="*/ 2147483647 w 548"/>
                <a:gd name="T33" fmla="*/ 2147483647 h 573"/>
                <a:gd name="T34" fmla="*/ 2147483647 w 548"/>
                <a:gd name="T35" fmla="*/ 2147483647 h 573"/>
                <a:gd name="T36" fmla="*/ 2147483647 w 548"/>
                <a:gd name="T37" fmla="*/ 2147483647 h 573"/>
                <a:gd name="T38" fmla="*/ 2147483647 w 548"/>
                <a:gd name="T39" fmla="*/ 2147483647 h 573"/>
                <a:gd name="T40" fmla="*/ 2147483647 w 548"/>
                <a:gd name="T41" fmla="*/ 2147483647 h 573"/>
                <a:gd name="T42" fmla="*/ 2147483647 w 548"/>
                <a:gd name="T43" fmla="*/ 2147483647 h 573"/>
                <a:gd name="T44" fmla="*/ 2147483647 w 548"/>
                <a:gd name="T45" fmla="*/ 2147483647 h 573"/>
                <a:gd name="T46" fmla="*/ 2147483647 w 548"/>
                <a:gd name="T47" fmla="*/ 2147483647 h 573"/>
                <a:gd name="T48" fmla="*/ 2147483647 w 548"/>
                <a:gd name="T49" fmla="*/ 2147483647 h 573"/>
                <a:gd name="T50" fmla="*/ 2147483647 w 548"/>
                <a:gd name="T51" fmla="*/ 2147483647 h 573"/>
                <a:gd name="T52" fmla="*/ 2147483647 w 548"/>
                <a:gd name="T53" fmla="*/ 2147483647 h 573"/>
                <a:gd name="T54" fmla="*/ 2147483647 w 548"/>
                <a:gd name="T55" fmla="*/ 2147483647 h 573"/>
                <a:gd name="T56" fmla="*/ 2147483647 w 548"/>
                <a:gd name="T57" fmla="*/ 2147483647 h 573"/>
                <a:gd name="T58" fmla="*/ 2147483647 w 548"/>
                <a:gd name="T59" fmla="*/ 2147483647 h 573"/>
                <a:gd name="T60" fmla="*/ 2147483647 w 548"/>
                <a:gd name="T61" fmla="*/ 2147483647 h 573"/>
                <a:gd name="T62" fmla="*/ 2147483647 w 548"/>
                <a:gd name="T63" fmla="*/ 2147483647 h 573"/>
                <a:gd name="T64" fmla="*/ 2147483647 w 548"/>
                <a:gd name="T65" fmla="*/ 2147483647 h 573"/>
                <a:gd name="T66" fmla="*/ 2147483647 w 548"/>
                <a:gd name="T67" fmla="*/ 2147483647 h 573"/>
                <a:gd name="T68" fmla="*/ 2147483647 w 548"/>
                <a:gd name="T69" fmla="*/ 2147483647 h 573"/>
                <a:gd name="T70" fmla="*/ 2147483647 w 548"/>
                <a:gd name="T71" fmla="*/ 2147483647 h 573"/>
                <a:gd name="T72" fmla="*/ 2147483647 w 548"/>
                <a:gd name="T73" fmla="*/ 2147483647 h 573"/>
                <a:gd name="T74" fmla="*/ 2147483647 w 548"/>
                <a:gd name="T75" fmla="*/ 2147483647 h 573"/>
                <a:gd name="T76" fmla="*/ 2147483647 w 548"/>
                <a:gd name="T77" fmla="*/ 2147483647 h 573"/>
                <a:gd name="T78" fmla="*/ 2147483647 w 548"/>
                <a:gd name="T79" fmla="*/ 2147483647 h 573"/>
                <a:gd name="T80" fmla="*/ 2147483647 w 548"/>
                <a:gd name="T81" fmla="*/ 2147483647 h 573"/>
                <a:gd name="T82" fmla="*/ 2147483647 w 548"/>
                <a:gd name="T83" fmla="*/ 2147483647 h 573"/>
                <a:gd name="T84" fmla="*/ 2147483647 w 548"/>
                <a:gd name="T85" fmla="*/ 2147483647 h 573"/>
                <a:gd name="T86" fmla="*/ 2147483647 w 548"/>
                <a:gd name="T87" fmla="*/ 2147483647 h 573"/>
                <a:gd name="T88" fmla="*/ 2147483647 w 548"/>
                <a:gd name="T89" fmla="*/ 2147483647 h 573"/>
                <a:gd name="T90" fmla="*/ 2147483647 w 548"/>
                <a:gd name="T91" fmla="*/ 2147483647 h 573"/>
                <a:gd name="T92" fmla="*/ 2147483647 w 548"/>
                <a:gd name="T93" fmla="*/ 2147483647 h 573"/>
                <a:gd name="T94" fmla="*/ 2147483647 w 548"/>
                <a:gd name="T95" fmla="*/ 2147483647 h 573"/>
                <a:gd name="T96" fmla="*/ 2147483647 w 548"/>
                <a:gd name="T97" fmla="*/ 2147483647 h 573"/>
                <a:gd name="T98" fmla="*/ 0 w 548"/>
                <a:gd name="T99" fmla="*/ 2147483647 h 5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8"/>
                <a:gd name="T151" fmla="*/ 0 h 573"/>
                <a:gd name="T152" fmla="*/ 548 w 548"/>
                <a:gd name="T153" fmla="*/ 573 h 5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8" h="573">
                  <a:moveTo>
                    <a:pt x="6" y="419"/>
                  </a:moveTo>
                  <a:lnTo>
                    <a:pt x="17" y="446"/>
                  </a:lnTo>
                  <a:lnTo>
                    <a:pt x="38" y="441"/>
                  </a:lnTo>
                  <a:lnTo>
                    <a:pt x="78" y="463"/>
                  </a:lnTo>
                  <a:lnTo>
                    <a:pt x="121" y="441"/>
                  </a:lnTo>
                  <a:lnTo>
                    <a:pt x="133" y="430"/>
                  </a:lnTo>
                  <a:lnTo>
                    <a:pt x="149" y="424"/>
                  </a:lnTo>
                  <a:lnTo>
                    <a:pt x="161" y="408"/>
                  </a:lnTo>
                  <a:lnTo>
                    <a:pt x="189" y="419"/>
                  </a:lnTo>
                  <a:lnTo>
                    <a:pt x="204" y="419"/>
                  </a:lnTo>
                  <a:lnTo>
                    <a:pt x="232" y="424"/>
                  </a:lnTo>
                  <a:lnTo>
                    <a:pt x="255" y="458"/>
                  </a:lnTo>
                  <a:lnTo>
                    <a:pt x="293" y="452"/>
                  </a:lnTo>
                  <a:lnTo>
                    <a:pt x="304" y="480"/>
                  </a:lnTo>
                  <a:lnTo>
                    <a:pt x="338" y="484"/>
                  </a:lnTo>
                  <a:lnTo>
                    <a:pt x="327" y="518"/>
                  </a:lnTo>
                  <a:lnTo>
                    <a:pt x="316" y="552"/>
                  </a:lnTo>
                  <a:lnTo>
                    <a:pt x="312" y="561"/>
                  </a:lnTo>
                  <a:lnTo>
                    <a:pt x="322" y="573"/>
                  </a:lnTo>
                  <a:lnTo>
                    <a:pt x="354" y="573"/>
                  </a:lnTo>
                  <a:lnTo>
                    <a:pt x="359" y="573"/>
                  </a:lnTo>
                  <a:lnTo>
                    <a:pt x="365" y="535"/>
                  </a:lnTo>
                  <a:lnTo>
                    <a:pt x="363" y="512"/>
                  </a:lnTo>
                  <a:lnTo>
                    <a:pt x="370" y="501"/>
                  </a:lnTo>
                  <a:lnTo>
                    <a:pt x="382" y="496"/>
                  </a:lnTo>
                  <a:lnTo>
                    <a:pt x="387" y="480"/>
                  </a:lnTo>
                  <a:lnTo>
                    <a:pt x="370" y="474"/>
                  </a:lnTo>
                  <a:lnTo>
                    <a:pt x="387" y="458"/>
                  </a:lnTo>
                  <a:lnTo>
                    <a:pt x="393" y="430"/>
                  </a:lnTo>
                  <a:lnTo>
                    <a:pt x="376" y="397"/>
                  </a:lnTo>
                  <a:lnTo>
                    <a:pt x="365" y="369"/>
                  </a:lnTo>
                  <a:lnTo>
                    <a:pt x="359" y="342"/>
                  </a:lnTo>
                  <a:lnTo>
                    <a:pt x="420" y="336"/>
                  </a:lnTo>
                  <a:lnTo>
                    <a:pt x="459" y="342"/>
                  </a:lnTo>
                  <a:lnTo>
                    <a:pt x="480" y="325"/>
                  </a:lnTo>
                  <a:lnTo>
                    <a:pt x="480" y="297"/>
                  </a:lnTo>
                  <a:lnTo>
                    <a:pt x="470" y="297"/>
                  </a:lnTo>
                  <a:lnTo>
                    <a:pt x="470" y="281"/>
                  </a:lnTo>
                  <a:lnTo>
                    <a:pt x="492" y="281"/>
                  </a:lnTo>
                  <a:lnTo>
                    <a:pt x="503" y="265"/>
                  </a:lnTo>
                  <a:lnTo>
                    <a:pt x="514" y="259"/>
                  </a:lnTo>
                  <a:lnTo>
                    <a:pt x="508" y="237"/>
                  </a:lnTo>
                  <a:lnTo>
                    <a:pt x="520" y="221"/>
                  </a:lnTo>
                  <a:lnTo>
                    <a:pt x="480" y="210"/>
                  </a:lnTo>
                  <a:lnTo>
                    <a:pt x="470" y="187"/>
                  </a:lnTo>
                  <a:lnTo>
                    <a:pt x="480" y="166"/>
                  </a:lnTo>
                  <a:lnTo>
                    <a:pt x="520" y="176"/>
                  </a:lnTo>
                  <a:lnTo>
                    <a:pt x="514" y="149"/>
                  </a:lnTo>
                  <a:lnTo>
                    <a:pt x="531" y="121"/>
                  </a:lnTo>
                  <a:lnTo>
                    <a:pt x="542" y="94"/>
                  </a:lnTo>
                  <a:lnTo>
                    <a:pt x="547" y="64"/>
                  </a:lnTo>
                  <a:lnTo>
                    <a:pt x="548" y="47"/>
                  </a:lnTo>
                  <a:lnTo>
                    <a:pt x="548" y="34"/>
                  </a:lnTo>
                  <a:lnTo>
                    <a:pt x="542" y="34"/>
                  </a:lnTo>
                  <a:lnTo>
                    <a:pt x="520" y="34"/>
                  </a:lnTo>
                  <a:lnTo>
                    <a:pt x="492" y="6"/>
                  </a:lnTo>
                  <a:lnTo>
                    <a:pt x="442" y="0"/>
                  </a:lnTo>
                  <a:lnTo>
                    <a:pt x="393" y="6"/>
                  </a:lnTo>
                  <a:lnTo>
                    <a:pt x="310" y="34"/>
                  </a:lnTo>
                  <a:lnTo>
                    <a:pt x="299" y="89"/>
                  </a:lnTo>
                  <a:lnTo>
                    <a:pt x="304" y="116"/>
                  </a:lnTo>
                  <a:lnTo>
                    <a:pt x="338" y="121"/>
                  </a:lnTo>
                  <a:lnTo>
                    <a:pt x="332" y="138"/>
                  </a:lnTo>
                  <a:lnTo>
                    <a:pt x="332" y="176"/>
                  </a:lnTo>
                  <a:lnTo>
                    <a:pt x="310" y="182"/>
                  </a:lnTo>
                  <a:lnTo>
                    <a:pt x="282" y="199"/>
                  </a:lnTo>
                  <a:lnTo>
                    <a:pt x="255" y="227"/>
                  </a:lnTo>
                  <a:lnTo>
                    <a:pt x="232" y="221"/>
                  </a:lnTo>
                  <a:lnTo>
                    <a:pt x="255" y="187"/>
                  </a:lnTo>
                  <a:lnTo>
                    <a:pt x="249" y="155"/>
                  </a:lnTo>
                  <a:lnTo>
                    <a:pt x="282" y="149"/>
                  </a:lnTo>
                  <a:lnTo>
                    <a:pt x="259" y="100"/>
                  </a:lnTo>
                  <a:lnTo>
                    <a:pt x="238" y="100"/>
                  </a:lnTo>
                  <a:lnTo>
                    <a:pt x="216" y="94"/>
                  </a:lnTo>
                  <a:lnTo>
                    <a:pt x="204" y="121"/>
                  </a:lnTo>
                  <a:lnTo>
                    <a:pt x="189" y="166"/>
                  </a:lnTo>
                  <a:lnTo>
                    <a:pt x="189" y="199"/>
                  </a:lnTo>
                  <a:lnTo>
                    <a:pt x="161" y="237"/>
                  </a:lnTo>
                  <a:lnTo>
                    <a:pt x="144" y="281"/>
                  </a:lnTo>
                  <a:lnTo>
                    <a:pt x="123" y="299"/>
                  </a:lnTo>
                  <a:lnTo>
                    <a:pt x="106" y="320"/>
                  </a:lnTo>
                  <a:lnTo>
                    <a:pt x="121" y="331"/>
                  </a:lnTo>
                  <a:lnTo>
                    <a:pt x="144" y="348"/>
                  </a:lnTo>
                  <a:lnTo>
                    <a:pt x="117" y="342"/>
                  </a:lnTo>
                  <a:lnTo>
                    <a:pt x="89" y="353"/>
                  </a:lnTo>
                  <a:lnTo>
                    <a:pt x="61" y="342"/>
                  </a:lnTo>
                  <a:lnTo>
                    <a:pt x="66" y="363"/>
                  </a:lnTo>
                  <a:lnTo>
                    <a:pt x="94" y="380"/>
                  </a:lnTo>
                  <a:lnTo>
                    <a:pt x="133" y="403"/>
                  </a:lnTo>
                  <a:lnTo>
                    <a:pt x="121" y="419"/>
                  </a:lnTo>
                  <a:lnTo>
                    <a:pt x="94" y="414"/>
                  </a:lnTo>
                  <a:lnTo>
                    <a:pt x="94" y="391"/>
                  </a:lnTo>
                  <a:lnTo>
                    <a:pt x="66" y="380"/>
                  </a:lnTo>
                  <a:lnTo>
                    <a:pt x="34" y="375"/>
                  </a:lnTo>
                  <a:lnTo>
                    <a:pt x="38" y="408"/>
                  </a:lnTo>
                  <a:lnTo>
                    <a:pt x="78" y="414"/>
                  </a:lnTo>
                  <a:lnTo>
                    <a:pt x="89" y="430"/>
                  </a:lnTo>
                  <a:lnTo>
                    <a:pt x="66" y="441"/>
                  </a:lnTo>
                  <a:lnTo>
                    <a:pt x="44" y="419"/>
                  </a:lnTo>
                  <a:lnTo>
                    <a:pt x="0" y="414"/>
                  </a:lnTo>
                  <a:lnTo>
                    <a:pt x="6" y="419"/>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4" name="Freeform 73"/>
            <p:cNvSpPr>
              <a:spLocks/>
            </p:cNvSpPr>
            <p:nvPr/>
          </p:nvSpPr>
          <p:spPr bwMode="auto">
            <a:xfrm>
              <a:off x="2273301" y="3940175"/>
              <a:ext cx="1423987" cy="1306513"/>
            </a:xfrm>
            <a:custGeom>
              <a:avLst/>
              <a:gdLst>
                <a:gd name="T0" fmla="*/ 2147483647 w 1890"/>
                <a:gd name="T1" fmla="*/ 2147483647 h 1905"/>
                <a:gd name="T2" fmla="*/ 2147483647 w 1890"/>
                <a:gd name="T3" fmla="*/ 2147483647 h 1905"/>
                <a:gd name="T4" fmla="*/ 2147483647 w 1890"/>
                <a:gd name="T5" fmla="*/ 2147483647 h 1905"/>
                <a:gd name="T6" fmla="*/ 2147483647 w 1890"/>
                <a:gd name="T7" fmla="*/ 2147483647 h 1905"/>
                <a:gd name="T8" fmla="*/ 2147483647 w 1890"/>
                <a:gd name="T9" fmla="*/ 2147483647 h 1905"/>
                <a:gd name="T10" fmla="*/ 2147483647 w 1890"/>
                <a:gd name="T11" fmla="*/ 2147483647 h 1905"/>
                <a:gd name="T12" fmla="*/ 2147483647 w 1890"/>
                <a:gd name="T13" fmla="*/ 2147483647 h 1905"/>
                <a:gd name="T14" fmla="*/ 2147483647 w 1890"/>
                <a:gd name="T15" fmla="*/ 2147483647 h 1905"/>
                <a:gd name="T16" fmla="*/ 2147483647 w 1890"/>
                <a:gd name="T17" fmla="*/ 2147483647 h 1905"/>
                <a:gd name="T18" fmla="*/ 2147483647 w 1890"/>
                <a:gd name="T19" fmla="*/ 2147483647 h 1905"/>
                <a:gd name="T20" fmla="*/ 2147483647 w 1890"/>
                <a:gd name="T21" fmla="*/ 2147483647 h 1905"/>
                <a:gd name="T22" fmla="*/ 2147483647 w 1890"/>
                <a:gd name="T23" fmla="*/ 2147483647 h 1905"/>
                <a:gd name="T24" fmla="*/ 2147483647 w 1890"/>
                <a:gd name="T25" fmla="*/ 2147483647 h 1905"/>
                <a:gd name="T26" fmla="*/ 2147483647 w 1890"/>
                <a:gd name="T27" fmla="*/ 2147483647 h 1905"/>
                <a:gd name="T28" fmla="*/ 2147483647 w 1890"/>
                <a:gd name="T29" fmla="*/ 2147483647 h 1905"/>
                <a:gd name="T30" fmla="*/ 2147483647 w 1890"/>
                <a:gd name="T31" fmla="*/ 2147483647 h 1905"/>
                <a:gd name="T32" fmla="*/ 2147483647 w 1890"/>
                <a:gd name="T33" fmla="*/ 2147483647 h 1905"/>
                <a:gd name="T34" fmla="*/ 2147483647 w 1890"/>
                <a:gd name="T35" fmla="*/ 2147483647 h 1905"/>
                <a:gd name="T36" fmla="*/ 2147483647 w 1890"/>
                <a:gd name="T37" fmla="*/ 2147483647 h 1905"/>
                <a:gd name="T38" fmla="*/ 2147483647 w 1890"/>
                <a:gd name="T39" fmla="*/ 2147483647 h 1905"/>
                <a:gd name="T40" fmla="*/ 2147483647 w 1890"/>
                <a:gd name="T41" fmla="*/ 2147483647 h 1905"/>
                <a:gd name="T42" fmla="*/ 2147483647 w 1890"/>
                <a:gd name="T43" fmla="*/ 2147483647 h 1905"/>
                <a:gd name="T44" fmla="*/ 2147483647 w 1890"/>
                <a:gd name="T45" fmla="*/ 2147483647 h 1905"/>
                <a:gd name="T46" fmla="*/ 2147483647 w 1890"/>
                <a:gd name="T47" fmla="*/ 2147483647 h 1905"/>
                <a:gd name="T48" fmla="*/ 2147483647 w 1890"/>
                <a:gd name="T49" fmla="*/ 2147483647 h 1905"/>
                <a:gd name="T50" fmla="*/ 2147483647 w 1890"/>
                <a:gd name="T51" fmla="*/ 2147483647 h 1905"/>
                <a:gd name="T52" fmla="*/ 2147483647 w 1890"/>
                <a:gd name="T53" fmla="*/ 2147483647 h 1905"/>
                <a:gd name="T54" fmla="*/ 2147483647 w 1890"/>
                <a:gd name="T55" fmla="*/ 2147483647 h 1905"/>
                <a:gd name="T56" fmla="*/ 2147483647 w 1890"/>
                <a:gd name="T57" fmla="*/ 2147483647 h 1905"/>
                <a:gd name="T58" fmla="*/ 2147483647 w 1890"/>
                <a:gd name="T59" fmla="*/ 2147483647 h 1905"/>
                <a:gd name="T60" fmla="*/ 2147483647 w 1890"/>
                <a:gd name="T61" fmla="*/ 2147483647 h 1905"/>
                <a:gd name="T62" fmla="*/ 2147483647 w 1890"/>
                <a:gd name="T63" fmla="*/ 2147483647 h 1905"/>
                <a:gd name="T64" fmla="*/ 2147483647 w 1890"/>
                <a:gd name="T65" fmla="*/ 2147483647 h 1905"/>
                <a:gd name="T66" fmla="*/ 2147483647 w 1890"/>
                <a:gd name="T67" fmla="*/ 2147483647 h 1905"/>
                <a:gd name="T68" fmla="*/ 2147483647 w 1890"/>
                <a:gd name="T69" fmla="*/ 2147483647 h 1905"/>
                <a:gd name="T70" fmla="*/ 2147483647 w 1890"/>
                <a:gd name="T71" fmla="*/ 2147483647 h 1905"/>
                <a:gd name="T72" fmla="*/ 2147483647 w 1890"/>
                <a:gd name="T73" fmla="*/ 2147483647 h 1905"/>
                <a:gd name="T74" fmla="*/ 2147483647 w 1890"/>
                <a:gd name="T75" fmla="*/ 2147483647 h 1905"/>
                <a:gd name="T76" fmla="*/ 2147483647 w 1890"/>
                <a:gd name="T77" fmla="*/ 2147483647 h 1905"/>
                <a:gd name="T78" fmla="*/ 2147483647 w 1890"/>
                <a:gd name="T79" fmla="*/ 2147483647 h 1905"/>
                <a:gd name="T80" fmla="*/ 2147483647 w 1890"/>
                <a:gd name="T81" fmla="*/ 2147483647 h 1905"/>
                <a:gd name="T82" fmla="*/ 2147483647 w 1890"/>
                <a:gd name="T83" fmla="*/ 2147483647 h 1905"/>
                <a:gd name="T84" fmla="*/ 2147483647 w 1890"/>
                <a:gd name="T85" fmla="*/ 2147483647 h 1905"/>
                <a:gd name="T86" fmla="*/ 2147483647 w 1890"/>
                <a:gd name="T87" fmla="*/ 2147483647 h 1905"/>
                <a:gd name="T88" fmla="*/ 2147483647 w 1890"/>
                <a:gd name="T89" fmla="*/ 2147483647 h 1905"/>
                <a:gd name="T90" fmla="*/ 2147483647 w 1890"/>
                <a:gd name="T91" fmla="*/ 2147483647 h 1905"/>
                <a:gd name="T92" fmla="*/ 2147483647 w 1890"/>
                <a:gd name="T93" fmla="*/ 2147483647 h 1905"/>
                <a:gd name="T94" fmla="*/ 2147483647 w 1890"/>
                <a:gd name="T95" fmla="*/ 2147483647 h 1905"/>
                <a:gd name="T96" fmla="*/ 2147483647 w 1890"/>
                <a:gd name="T97" fmla="*/ 2147483647 h 1905"/>
                <a:gd name="T98" fmla="*/ 2147483647 w 1890"/>
                <a:gd name="T99" fmla="*/ 2147483647 h 1905"/>
                <a:gd name="T100" fmla="*/ 2147483647 w 1890"/>
                <a:gd name="T101" fmla="*/ 2147483647 h 1905"/>
                <a:gd name="T102" fmla="*/ 2147483647 w 1890"/>
                <a:gd name="T103" fmla="*/ 2147483647 h 1905"/>
                <a:gd name="T104" fmla="*/ 2147483647 w 1890"/>
                <a:gd name="T105" fmla="*/ 2147483647 h 19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90"/>
                <a:gd name="T160" fmla="*/ 0 h 1905"/>
                <a:gd name="T161" fmla="*/ 1890 w 1890"/>
                <a:gd name="T162" fmla="*/ 1905 h 190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90" h="1905">
                  <a:moveTo>
                    <a:pt x="1729" y="1178"/>
                  </a:moveTo>
                  <a:lnTo>
                    <a:pt x="1697" y="1172"/>
                  </a:lnTo>
                  <a:lnTo>
                    <a:pt x="1691" y="1172"/>
                  </a:lnTo>
                  <a:lnTo>
                    <a:pt x="1669" y="1184"/>
                  </a:lnTo>
                  <a:lnTo>
                    <a:pt x="1663" y="1212"/>
                  </a:lnTo>
                  <a:lnTo>
                    <a:pt x="1674" y="1234"/>
                  </a:lnTo>
                  <a:lnTo>
                    <a:pt x="1680" y="1255"/>
                  </a:lnTo>
                  <a:lnTo>
                    <a:pt x="1702" y="1272"/>
                  </a:lnTo>
                  <a:lnTo>
                    <a:pt x="1712" y="1299"/>
                  </a:lnTo>
                  <a:lnTo>
                    <a:pt x="1702" y="1316"/>
                  </a:lnTo>
                  <a:lnTo>
                    <a:pt x="1674" y="1338"/>
                  </a:lnTo>
                  <a:lnTo>
                    <a:pt x="1652" y="1333"/>
                  </a:lnTo>
                  <a:lnTo>
                    <a:pt x="1630" y="1333"/>
                  </a:lnTo>
                  <a:lnTo>
                    <a:pt x="1642" y="1365"/>
                  </a:lnTo>
                  <a:lnTo>
                    <a:pt x="1642" y="1393"/>
                  </a:lnTo>
                  <a:lnTo>
                    <a:pt x="1680" y="1404"/>
                  </a:lnTo>
                  <a:lnTo>
                    <a:pt x="1685" y="1427"/>
                  </a:lnTo>
                  <a:lnTo>
                    <a:pt x="1673" y="1449"/>
                  </a:lnTo>
                  <a:lnTo>
                    <a:pt x="1657" y="1476"/>
                  </a:lnTo>
                  <a:lnTo>
                    <a:pt x="1660" y="1503"/>
                  </a:lnTo>
                  <a:lnTo>
                    <a:pt x="1669" y="1531"/>
                  </a:lnTo>
                  <a:lnTo>
                    <a:pt x="1718" y="1558"/>
                  </a:lnTo>
                  <a:lnTo>
                    <a:pt x="1746" y="1558"/>
                  </a:lnTo>
                  <a:lnTo>
                    <a:pt x="1774" y="1558"/>
                  </a:lnTo>
                  <a:lnTo>
                    <a:pt x="1791" y="1575"/>
                  </a:lnTo>
                  <a:lnTo>
                    <a:pt x="1768" y="1606"/>
                  </a:lnTo>
                  <a:lnTo>
                    <a:pt x="1746" y="1635"/>
                  </a:lnTo>
                  <a:lnTo>
                    <a:pt x="1746" y="1630"/>
                  </a:lnTo>
                  <a:lnTo>
                    <a:pt x="1723" y="1639"/>
                  </a:lnTo>
                  <a:lnTo>
                    <a:pt x="1708" y="1641"/>
                  </a:lnTo>
                  <a:lnTo>
                    <a:pt x="1669" y="1679"/>
                  </a:lnTo>
                  <a:lnTo>
                    <a:pt x="1663" y="1707"/>
                  </a:lnTo>
                  <a:lnTo>
                    <a:pt x="1636" y="1701"/>
                  </a:lnTo>
                  <a:lnTo>
                    <a:pt x="1608" y="1729"/>
                  </a:lnTo>
                  <a:lnTo>
                    <a:pt x="1619" y="1768"/>
                  </a:lnTo>
                  <a:lnTo>
                    <a:pt x="1591" y="1768"/>
                  </a:lnTo>
                  <a:lnTo>
                    <a:pt x="1565" y="1775"/>
                  </a:lnTo>
                  <a:lnTo>
                    <a:pt x="1536" y="1784"/>
                  </a:lnTo>
                  <a:lnTo>
                    <a:pt x="1481" y="1768"/>
                  </a:lnTo>
                  <a:lnTo>
                    <a:pt x="1421" y="1751"/>
                  </a:lnTo>
                  <a:lnTo>
                    <a:pt x="1376" y="1718"/>
                  </a:lnTo>
                  <a:lnTo>
                    <a:pt x="1387" y="1696"/>
                  </a:lnTo>
                  <a:lnTo>
                    <a:pt x="1370" y="1679"/>
                  </a:lnTo>
                  <a:lnTo>
                    <a:pt x="1365" y="1701"/>
                  </a:lnTo>
                  <a:lnTo>
                    <a:pt x="1340" y="1705"/>
                  </a:lnTo>
                  <a:lnTo>
                    <a:pt x="1310" y="1701"/>
                  </a:lnTo>
                  <a:lnTo>
                    <a:pt x="1260" y="1675"/>
                  </a:lnTo>
                  <a:lnTo>
                    <a:pt x="1227" y="1679"/>
                  </a:lnTo>
                  <a:lnTo>
                    <a:pt x="1210" y="1647"/>
                  </a:lnTo>
                  <a:lnTo>
                    <a:pt x="1188" y="1648"/>
                  </a:lnTo>
                  <a:lnTo>
                    <a:pt x="1159" y="1665"/>
                  </a:lnTo>
                  <a:lnTo>
                    <a:pt x="1105" y="1701"/>
                  </a:lnTo>
                  <a:lnTo>
                    <a:pt x="1039" y="1735"/>
                  </a:lnTo>
                  <a:lnTo>
                    <a:pt x="1022" y="1801"/>
                  </a:lnTo>
                  <a:lnTo>
                    <a:pt x="1019" y="1827"/>
                  </a:lnTo>
                  <a:lnTo>
                    <a:pt x="1017" y="1856"/>
                  </a:lnTo>
                  <a:lnTo>
                    <a:pt x="1039" y="1900"/>
                  </a:lnTo>
                  <a:lnTo>
                    <a:pt x="994" y="1883"/>
                  </a:lnTo>
                  <a:lnTo>
                    <a:pt x="962" y="1883"/>
                  </a:lnTo>
                  <a:lnTo>
                    <a:pt x="956" y="1905"/>
                  </a:lnTo>
                  <a:lnTo>
                    <a:pt x="917" y="1905"/>
                  </a:lnTo>
                  <a:lnTo>
                    <a:pt x="896" y="1883"/>
                  </a:lnTo>
                  <a:lnTo>
                    <a:pt x="873" y="1883"/>
                  </a:lnTo>
                  <a:lnTo>
                    <a:pt x="856" y="1894"/>
                  </a:lnTo>
                  <a:lnTo>
                    <a:pt x="813" y="1856"/>
                  </a:lnTo>
                  <a:lnTo>
                    <a:pt x="824" y="1839"/>
                  </a:lnTo>
                  <a:lnTo>
                    <a:pt x="797" y="1822"/>
                  </a:lnTo>
                  <a:lnTo>
                    <a:pt x="762" y="1811"/>
                  </a:lnTo>
                  <a:lnTo>
                    <a:pt x="752" y="1807"/>
                  </a:lnTo>
                  <a:lnTo>
                    <a:pt x="702" y="1783"/>
                  </a:lnTo>
                  <a:lnTo>
                    <a:pt x="675" y="1774"/>
                  </a:lnTo>
                  <a:lnTo>
                    <a:pt x="652" y="1774"/>
                  </a:lnTo>
                  <a:lnTo>
                    <a:pt x="641" y="1796"/>
                  </a:lnTo>
                  <a:lnTo>
                    <a:pt x="592" y="1796"/>
                  </a:lnTo>
                  <a:lnTo>
                    <a:pt x="552" y="1784"/>
                  </a:lnTo>
                  <a:lnTo>
                    <a:pt x="531" y="1784"/>
                  </a:lnTo>
                  <a:lnTo>
                    <a:pt x="492" y="1745"/>
                  </a:lnTo>
                  <a:lnTo>
                    <a:pt x="442" y="1756"/>
                  </a:lnTo>
                  <a:lnTo>
                    <a:pt x="414" y="1713"/>
                  </a:lnTo>
                  <a:lnTo>
                    <a:pt x="386" y="1713"/>
                  </a:lnTo>
                  <a:lnTo>
                    <a:pt x="354" y="1685"/>
                  </a:lnTo>
                  <a:lnTo>
                    <a:pt x="316" y="1663"/>
                  </a:lnTo>
                  <a:lnTo>
                    <a:pt x="320" y="1635"/>
                  </a:lnTo>
                  <a:lnTo>
                    <a:pt x="310" y="1624"/>
                  </a:lnTo>
                  <a:lnTo>
                    <a:pt x="282" y="1624"/>
                  </a:lnTo>
                  <a:lnTo>
                    <a:pt x="254" y="1597"/>
                  </a:lnTo>
                  <a:lnTo>
                    <a:pt x="316" y="1558"/>
                  </a:lnTo>
                  <a:lnTo>
                    <a:pt x="354" y="1482"/>
                  </a:lnTo>
                  <a:lnTo>
                    <a:pt x="386" y="1355"/>
                  </a:lnTo>
                  <a:lnTo>
                    <a:pt x="409" y="1234"/>
                  </a:lnTo>
                  <a:lnTo>
                    <a:pt x="420" y="1181"/>
                  </a:lnTo>
                  <a:lnTo>
                    <a:pt x="442" y="1140"/>
                  </a:lnTo>
                  <a:lnTo>
                    <a:pt x="469" y="1172"/>
                  </a:lnTo>
                  <a:lnTo>
                    <a:pt x="486" y="1212"/>
                  </a:lnTo>
                  <a:lnTo>
                    <a:pt x="509" y="1272"/>
                  </a:lnTo>
                  <a:lnTo>
                    <a:pt x="497" y="1217"/>
                  </a:lnTo>
                  <a:lnTo>
                    <a:pt x="492" y="1162"/>
                  </a:lnTo>
                  <a:lnTo>
                    <a:pt x="462" y="1129"/>
                  </a:lnTo>
                  <a:lnTo>
                    <a:pt x="431" y="1096"/>
                  </a:lnTo>
                  <a:lnTo>
                    <a:pt x="442" y="1062"/>
                  </a:lnTo>
                  <a:lnTo>
                    <a:pt x="458" y="1030"/>
                  </a:lnTo>
                  <a:lnTo>
                    <a:pt x="442" y="996"/>
                  </a:lnTo>
                  <a:lnTo>
                    <a:pt x="464" y="981"/>
                  </a:lnTo>
                  <a:lnTo>
                    <a:pt x="452" y="966"/>
                  </a:lnTo>
                  <a:lnTo>
                    <a:pt x="425" y="952"/>
                  </a:lnTo>
                  <a:lnTo>
                    <a:pt x="371" y="925"/>
                  </a:lnTo>
                  <a:lnTo>
                    <a:pt x="359" y="881"/>
                  </a:lnTo>
                  <a:lnTo>
                    <a:pt x="331" y="832"/>
                  </a:lnTo>
                  <a:lnTo>
                    <a:pt x="320" y="798"/>
                  </a:lnTo>
                  <a:lnTo>
                    <a:pt x="337" y="815"/>
                  </a:lnTo>
                  <a:lnTo>
                    <a:pt x="359" y="792"/>
                  </a:lnTo>
                  <a:lnTo>
                    <a:pt x="331" y="771"/>
                  </a:lnTo>
                  <a:lnTo>
                    <a:pt x="343" y="737"/>
                  </a:lnTo>
                  <a:lnTo>
                    <a:pt x="293" y="726"/>
                  </a:lnTo>
                  <a:lnTo>
                    <a:pt x="304" y="705"/>
                  </a:lnTo>
                  <a:lnTo>
                    <a:pt x="304" y="682"/>
                  </a:lnTo>
                  <a:lnTo>
                    <a:pt x="265" y="666"/>
                  </a:lnTo>
                  <a:lnTo>
                    <a:pt x="237" y="648"/>
                  </a:lnTo>
                  <a:lnTo>
                    <a:pt x="216" y="671"/>
                  </a:lnTo>
                  <a:lnTo>
                    <a:pt x="216" y="628"/>
                  </a:lnTo>
                  <a:lnTo>
                    <a:pt x="177" y="616"/>
                  </a:lnTo>
                  <a:lnTo>
                    <a:pt x="138" y="584"/>
                  </a:lnTo>
                  <a:lnTo>
                    <a:pt x="110" y="578"/>
                  </a:lnTo>
                  <a:lnTo>
                    <a:pt x="88" y="550"/>
                  </a:lnTo>
                  <a:lnTo>
                    <a:pt x="50" y="573"/>
                  </a:lnTo>
                  <a:lnTo>
                    <a:pt x="33" y="529"/>
                  </a:lnTo>
                  <a:lnTo>
                    <a:pt x="0" y="501"/>
                  </a:lnTo>
                  <a:lnTo>
                    <a:pt x="33" y="490"/>
                  </a:lnTo>
                  <a:lnTo>
                    <a:pt x="67" y="490"/>
                  </a:lnTo>
                  <a:lnTo>
                    <a:pt x="72" y="457"/>
                  </a:lnTo>
                  <a:lnTo>
                    <a:pt x="55" y="435"/>
                  </a:lnTo>
                  <a:lnTo>
                    <a:pt x="22" y="457"/>
                  </a:lnTo>
                  <a:lnTo>
                    <a:pt x="1" y="429"/>
                  </a:lnTo>
                  <a:lnTo>
                    <a:pt x="12" y="391"/>
                  </a:lnTo>
                  <a:lnTo>
                    <a:pt x="40" y="386"/>
                  </a:lnTo>
                  <a:lnTo>
                    <a:pt x="72" y="385"/>
                  </a:lnTo>
                  <a:lnTo>
                    <a:pt x="122" y="374"/>
                  </a:lnTo>
                  <a:lnTo>
                    <a:pt x="144" y="391"/>
                  </a:lnTo>
                  <a:lnTo>
                    <a:pt x="165" y="385"/>
                  </a:lnTo>
                  <a:lnTo>
                    <a:pt x="188" y="374"/>
                  </a:lnTo>
                  <a:lnTo>
                    <a:pt x="221" y="369"/>
                  </a:lnTo>
                  <a:lnTo>
                    <a:pt x="239" y="368"/>
                  </a:lnTo>
                  <a:lnTo>
                    <a:pt x="254" y="369"/>
                  </a:lnTo>
                  <a:lnTo>
                    <a:pt x="276" y="397"/>
                  </a:lnTo>
                  <a:lnTo>
                    <a:pt x="288" y="418"/>
                  </a:lnTo>
                  <a:lnTo>
                    <a:pt x="304" y="463"/>
                  </a:lnTo>
                  <a:lnTo>
                    <a:pt x="337" y="435"/>
                  </a:lnTo>
                  <a:lnTo>
                    <a:pt x="376" y="429"/>
                  </a:lnTo>
                  <a:lnTo>
                    <a:pt x="386" y="446"/>
                  </a:lnTo>
                  <a:lnTo>
                    <a:pt x="403" y="446"/>
                  </a:lnTo>
                  <a:lnTo>
                    <a:pt x="414" y="467"/>
                  </a:lnTo>
                  <a:lnTo>
                    <a:pt x="414" y="440"/>
                  </a:lnTo>
                  <a:lnTo>
                    <a:pt x="431" y="435"/>
                  </a:lnTo>
                  <a:lnTo>
                    <a:pt x="448" y="457"/>
                  </a:lnTo>
                  <a:lnTo>
                    <a:pt x="497" y="467"/>
                  </a:lnTo>
                  <a:lnTo>
                    <a:pt x="481" y="418"/>
                  </a:lnTo>
                  <a:lnTo>
                    <a:pt x="492" y="391"/>
                  </a:lnTo>
                  <a:lnTo>
                    <a:pt x="492" y="373"/>
                  </a:lnTo>
                  <a:lnTo>
                    <a:pt x="492" y="349"/>
                  </a:lnTo>
                  <a:lnTo>
                    <a:pt x="481" y="308"/>
                  </a:lnTo>
                  <a:lnTo>
                    <a:pt x="458" y="286"/>
                  </a:lnTo>
                  <a:lnTo>
                    <a:pt x="454" y="246"/>
                  </a:lnTo>
                  <a:lnTo>
                    <a:pt x="464" y="208"/>
                  </a:lnTo>
                  <a:lnTo>
                    <a:pt x="514" y="231"/>
                  </a:lnTo>
                  <a:lnTo>
                    <a:pt x="552" y="219"/>
                  </a:lnTo>
                  <a:lnTo>
                    <a:pt x="564" y="247"/>
                  </a:lnTo>
                  <a:lnTo>
                    <a:pt x="547" y="280"/>
                  </a:lnTo>
                  <a:lnTo>
                    <a:pt x="558" y="314"/>
                  </a:lnTo>
                  <a:lnTo>
                    <a:pt x="597" y="314"/>
                  </a:lnTo>
                  <a:lnTo>
                    <a:pt x="613" y="336"/>
                  </a:lnTo>
                  <a:lnTo>
                    <a:pt x="652" y="319"/>
                  </a:lnTo>
                  <a:lnTo>
                    <a:pt x="684" y="333"/>
                  </a:lnTo>
                  <a:lnTo>
                    <a:pt x="718" y="346"/>
                  </a:lnTo>
                  <a:lnTo>
                    <a:pt x="762" y="308"/>
                  </a:lnTo>
                  <a:lnTo>
                    <a:pt x="752" y="264"/>
                  </a:lnTo>
                  <a:lnTo>
                    <a:pt x="796" y="247"/>
                  </a:lnTo>
                  <a:lnTo>
                    <a:pt x="832" y="244"/>
                  </a:lnTo>
                  <a:lnTo>
                    <a:pt x="858" y="242"/>
                  </a:lnTo>
                  <a:lnTo>
                    <a:pt x="873" y="247"/>
                  </a:lnTo>
                  <a:lnTo>
                    <a:pt x="890" y="225"/>
                  </a:lnTo>
                  <a:lnTo>
                    <a:pt x="939" y="219"/>
                  </a:lnTo>
                  <a:lnTo>
                    <a:pt x="962" y="198"/>
                  </a:lnTo>
                  <a:lnTo>
                    <a:pt x="962" y="143"/>
                  </a:lnTo>
                  <a:lnTo>
                    <a:pt x="979" y="104"/>
                  </a:lnTo>
                  <a:lnTo>
                    <a:pt x="989" y="38"/>
                  </a:lnTo>
                  <a:lnTo>
                    <a:pt x="1055" y="11"/>
                  </a:lnTo>
                  <a:lnTo>
                    <a:pt x="1117" y="11"/>
                  </a:lnTo>
                  <a:lnTo>
                    <a:pt x="1121" y="11"/>
                  </a:lnTo>
                  <a:lnTo>
                    <a:pt x="1121" y="0"/>
                  </a:lnTo>
                  <a:lnTo>
                    <a:pt x="1123" y="23"/>
                  </a:lnTo>
                  <a:lnTo>
                    <a:pt x="1123" y="41"/>
                  </a:lnTo>
                  <a:lnTo>
                    <a:pt x="1121" y="55"/>
                  </a:lnTo>
                  <a:lnTo>
                    <a:pt x="1155" y="93"/>
                  </a:lnTo>
                  <a:lnTo>
                    <a:pt x="1166" y="71"/>
                  </a:lnTo>
                  <a:lnTo>
                    <a:pt x="1194" y="77"/>
                  </a:lnTo>
                  <a:lnTo>
                    <a:pt x="1210" y="121"/>
                  </a:lnTo>
                  <a:lnTo>
                    <a:pt x="1227" y="143"/>
                  </a:lnTo>
                  <a:lnTo>
                    <a:pt x="1270" y="149"/>
                  </a:lnTo>
                  <a:lnTo>
                    <a:pt x="1293" y="187"/>
                  </a:lnTo>
                  <a:lnTo>
                    <a:pt x="1349" y="193"/>
                  </a:lnTo>
                  <a:lnTo>
                    <a:pt x="1359" y="214"/>
                  </a:lnTo>
                  <a:lnTo>
                    <a:pt x="1326" y="219"/>
                  </a:lnTo>
                  <a:lnTo>
                    <a:pt x="1332" y="259"/>
                  </a:lnTo>
                  <a:lnTo>
                    <a:pt x="1365" y="280"/>
                  </a:lnTo>
                  <a:lnTo>
                    <a:pt x="1398" y="253"/>
                  </a:lnTo>
                  <a:lnTo>
                    <a:pt x="1404" y="231"/>
                  </a:lnTo>
                  <a:lnTo>
                    <a:pt x="1425" y="225"/>
                  </a:lnTo>
                  <a:lnTo>
                    <a:pt x="1427" y="262"/>
                  </a:lnTo>
                  <a:lnTo>
                    <a:pt x="1419" y="302"/>
                  </a:lnTo>
                  <a:lnTo>
                    <a:pt x="1464" y="330"/>
                  </a:lnTo>
                  <a:lnTo>
                    <a:pt x="1508" y="380"/>
                  </a:lnTo>
                  <a:lnTo>
                    <a:pt x="1536" y="382"/>
                  </a:lnTo>
                  <a:lnTo>
                    <a:pt x="1560" y="374"/>
                  </a:lnTo>
                  <a:lnTo>
                    <a:pt x="1559" y="374"/>
                  </a:lnTo>
                  <a:lnTo>
                    <a:pt x="1591" y="391"/>
                  </a:lnTo>
                  <a:lnTo>
                    <a:pt x="1602" y="374"/>
                  </a:lnTo>
                  <a:lnTo>
                    <a:pt x="1619" y="380"/>
                  </a:lnTo>
                  <a:lnTo>
                    <a:pt x="1625" y="391"/>
                  </a:lnTo>
                  <a:lnTo>
                    <a:pt x="1652" y="401"/>
                  </a:lnTo>
                  <a:lnTo>
                    <a:pt x="1680" y="463"/>
                  </a:lnTo>
                  <a:lnTo>
                    <a:pt x="1691" y="440"/>
                  </a:lnTo>
                  <a:lnTo>
                    <a:pt x="1718" y="451"/>
                  </a:lnTo>
                  <a:lnTo>
                    <a:pt x="1718" y="467"/>
                  </a:lnTo>
                  <a:lnTo>
                    <a:pt x="1748" y="464"/>
                  </a:lnTo>
                  <a:lnTo>
                    <a:pt x="1765" y="463"/>
                  </a:lnTo>
                  <a:lnTo>
                    <a:pt x="1780" y="463"/>
                  </a:lnTo>
                  <a:lnTo>
                    <a:pt x="1812" y="484"/>
                  </a:lnTo>
                  <a:lnTo>
                    <a:pt x="1835" y="484"/>
                  </a:lnTo>
                  <a:lnTo>
                    <a:pt x="1863" y="495"/>
                  </a:lnTo>
                  <a:lnTo>
                    <a:pt x="1890" y="506"/>
                  </a:lnTo>
                  <a:lnTo>
                    <a:pt x="1878" y="545"/>
                  </a:lnTo>
                  <a:lnTo>
                    <a:pt x="1851" y="567"/>
                  </a:lnTo>
                  <a:lnTo>
                    <a:pt x="1835" y="578"/>
                  </a:lnTo>
                  <a:lnTo>
                    <a:pt x="1823" y="616"/>
                  </a:lnTo>
                  <a:lnTo>
                    <a:pt x="1818" y="650"/>
                  </a:lnTo>
                  <a:lnTo>
                    <a:pt x="1795" y="682"/>
                  </a:lnTo>
                  <a:lnTo>
                    <a:pt x="1791" y="722"/>
                  </a:lnTo>
                  <a:lnTo>
                    <a:pt x="1785" y="760"/>
                  </a:lnTo>
                  <a:lnTo>
                    <a:pt x="1785" y="798"/>
                  </a:lnTo>
                  <a:lnTo>
                    <a:pt x="1791" y="798"/>
                  </a:lnTo>
                  <a:lnTo>
                    <a:pt x="1763" y="837"/>
                  </a:lnTo>
                  <a:lnTo>
                    <a:pt x="1735" y="837"/>
                  </a:lnTo>
                  <a:lnTo>
                    <a:pt x="1724" y="815"/>
                  </a:lnTo>
                  <a:lnTo>
                    <a:pt x="1703" y="820"/>
                  </a:lnTo>
                  <a:lnTo>
                    <a:pt x="1691" y="853"/>
                  </a:lnTo>
                  <a:lnTo>
                    <a:pt x="1708" y="858"/>
                  </a:lnTo>
                  <a:lnTo>
                    <a:pt x="1691" y="881"/>
                  </a:lnTo>
                  <a:lnTo>
                    <a:pt x="1657" y="898"/>
                  </a:lnTo>
                  <a:lnTo>
                    <a:pt x="1646" y="925"/>
                  </a:lnTo>
                  <a:lnTo>
                    <a:pt x="1620" y="936"/>
                  </a:lnTo>
                  <a:lnTo>
                    <a:pt x="1614" y="969"/>
                  </a:lnTo>
                  <a:lnTo>
                    <a:pt x="1597" y="991"/>
                  </a:lnTo>
                  <a:lnTo>
                    <a:pt x="1564" y="1014"/>
                  </a:lnTo>
                  <a:lnTo>
                    <a:pt x="1570" y="1024"/>
                  </a:lnTo>
                  <a:lnTo>
                    <a:pt x="1553" y="1040"/>
                  </a:lnTo>
                  <a:lnTo>
                    <a:pt x="1564" y="1051"/>
                  </a:lnTo>
                  <a:lnTo>
                    <a:pt x="1553" y="1085"/>
                  </a:lnTo>
                  <a:lnTo>
                    <a:pt x="1542" y="1112"/>
                  </a:lnTo>
                  <a:lnTo>
                    <a:pt x="1574" y="1096"/>
                  </a:lnTo>
                  <a:lnTo>
                    <a:pt x="1586" y="1062"/>
                  </a:lnTo>
                  <a:lnTo>
                    <a:pt x="1619" y="1046"/>
                  </a:lnTo>
                  <a:lnTo>
                    <a:pt x="1657" y="1051"/>
                  </a:lnTo>
                  <a:lnTo>
                    <a:pt x="1657" y="1090"/>
                  </a:lnTo>
                  <a:lnTo>
                    <a:pt x="1658" y="1123"/>
                  </a:lnTo>
                  <a:lnTo>
                    <a:pt x="1686" y="1151"/>
                  </a:lnTo>
                  <a:lnTo>
                    <a:pt x="1697" y="1178"/>
                  </a:lnTo>
                  <a:lnTo>
                    <a:pt x="1697" y="1172"/>
                  </a:lnTo>
                  <a:lnTo>
                    <a:pt x="1729" y="1178"/>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5" name="Freeform 74"/>
            <p:cNvSpPr>
              <a:spLocks/>
            </p:cNvSpPr>
            <p:nvPr/>
          </p:nvSpPr>
          <p:spPr bwMode="auto">
            <a:xfrm>
              <a:off x="2838451" y="5181600"/>
              <a:ext cx="55562" cy="47625"/>
            </a:xfrm>
            <a:custGeom>
              <a:avLst/>
              <a:gdLst>
                <a:gd name="T0" fmla="*/ 846794412 w 74"/>
                <a:gd name="T1" fmla="*/ 0 h 67"/>
                <a:gd name="T2" fmla="*/ 0 w 74"/>
                <a:gd name="T3" fmla="*/ 2147483647 h 67"/>
                <a:gd name="T4" fmla="*/ 2147483647 w 74"/>
                <a:gd name="T5" fmla="*/ 2147483647 h 67"/>
                <a:gd name="T6" fmla="*/ 2147483647 w 74"/>
                <a:gd name="T7" fmla="*/ 2147483647 h 67"/>
                <a:gd name="T8" fmla="*/ 2147483647 w 74"/>
                <a:gd name="T9" fmla="*/ 2147483647 h 67"/>
                <a:gd name="T10" fmla="*/ 2147483647 w 74"/>
                <a:gd name="T11" fmla="*/ 2147483647 h 67"/>
                <a:gd name="T12" fmla="*/ 2147483647 w 74"/>
                <a:gd name="T13" fmla="*/ 2147483647 h 67"/>
                <a:gd name="T14" fmla="*/ 2147483647 w 74"/>
                <a:gd name="T15" fmla="*/ 2147483647 h 67"/>
                <a:gd name="T16" fmla="*/ 846794412 w 74"/>
                <a:gd name="T17" fmla="*/ 0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67"/>
                <a:gd name="T29" fmla="*/ 74 w 74"/>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67">
                  <a:moveTo>
                    <a:pt x="2" y="0"/>
                  </a:moveTo>
                  <a:lnTo>
                    <a:pt x="0" y="30"/>
                  </a:lnTo>
                  <a:lnTo>
                    <a:pt x="8" y="67"/>
                  </a:lnTo>
                  <a:lnTo>
                    <a:pt x="29" y="62"/>
                  </a:lnTo>
                  <a:lnTo>
                    <a:pt x="68" y="45"/>
                  </a:lnTo>
                  <a:lnTo>
                    <a:pt x="74" y="28"/>
                  </a:lnTo>
                  <a:lnTo>
                    <a:pt x="68" y="17"/>
                  </a:lnTo>
                  <a:lnTo>
                    <a:pt x="40" y="12"/>
                  </a:lnTo>
                  <a:lnTo>
                    <a:pt x="2"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6" name="Freeform 76"/>
            <p:cNvSpPr>
              <a:spLocks/>
            </p:cNvSpPr>
            <p:nvPr/>
          </p:nvSpPr>
          <p:spPr bwMode="auto">
            <a:xfrm>
              <a:off x="3533776" y="5059363"/>
              <a:ext cx="53975" cy="30162"/>
            </a:xfrm>
            <a:custGeom>
              <a:avLst/>
              <a:gdLst/>
              <a:ahLst/>
              <a:cxnLst>
                <a:cxn ang="0">
                  <a:pos x="72" y="0"/>
                </a:cxn>
                <a:cxn ang="0">
                  <a:pos x="66" y="0"/>
                </a:cxn>
                <a:cxn ang="0">
                  <a:pos x="28" y="11"/>
                </a:cxn>
                <a:cxn ang="0">
                  <a:pos x="0" y="45"/>
                </a:cxn>
                <a:cxn ang="0">
                  <a:pos x="34" y="45"/>
                </a:cxn>
                <a:cxn ang="0">
                  <a:pos x="55" y="33"/>
                </a:cxn>
                <a:cxn ang="0">
                  <a:pos x="66" y="11"/>
                </a:cxn>
                <a:cxn ang="0">
                  <a:pos x="72" y="0"/>
                </a:cxn>
              </a:cxnLst>
              <a:rect l="0" t="0" r="r" b="b"/>
              <a:pathLst>
                <a:path w="72" h="45">
                  <a:moveTo>
                    <a:pt x="72" y="0"/>
                  </a:moveTo>
                  <a:lnTo>
                    <a:pt x="66" y="0"/>
                  </a:lnTo>
                  <a:lnTo>
                    <a:pt x="28" y="11"/>
                  </a:lnTo>
                  <a:lnTo>
                    <a:pt x="0" y="45"/>
                  </a:lnTo>
                  <a:lnTo>
                    <a:pt x="34" y="45"/>
                  </a:lnTo>
                  <a:lnTo>
                    <a:pt x="55" y="33"/>
                  </a:lnTo>
                  <a:lnTo>
                    <a:pt x="66" y="11"/>
                  </a:lnTo>
                  <a:lnTo>
                    <a:pt x="72" y="0"/>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37" name="Freeform 77"/>
            <p:cNvSpPr>
              <a:spLocks/>
            </p:cNvSpPr>
            <p:nvPr/>
          </p:nvSpPr>
          <p:spPr bwMode="auto">
            <a:xfrm>
              <a:off x="2906713" y="5613400"/>
              <a:ext cx="146050" cy="106363"/>
            </a:xfrm>
            <a:custGeom>
              <a:avLst/>
              <a:gdLst>
                <a:gd name="T0" fmla="*/ 0 w 194"/>
                <a:gd name="T1" fmla="*/ 2147483647 h 154"/>
                <a:gd name="T2" fmla="*/ 2147483647 w 194"/>
                <a:gd name="T3" fmla="*/ 2147483647 h 154"/>
                <a:gd name="T4" fmla="*/ 2147483647 w 194"/>
                <a:gd name="T5" fmla="*/ 2147483647 h 154"/>
                <a:gd name="T6" fmla="*/ 2147483647 w 194"/>
                <a:gd name="T7" fmla="*/ 0 h 154"/>
                <a:gd name="T8" fmla="*/ 2147483647 w 194"/>
                <a:gd name="T9" fmla="*/ 2147483647 h 154"/>
                <a:gd name="T10" fmla="*/ 2147483647 w 194"/>
                <a:gd name="T11" fmla="*/ 2147483647 h 154"/>
                <a:gd name="T12" fmla="*/ 2147483647 w 194"/>
                <a:gd name="T13" fmla="*/ 2147483647 h 154"/>
                <a:gd name="T14" fmla="*/ 2147483647 w 194"/>
                <a:gd name="T15" fmla="*/ 2147483647 h 154"/>
                <a:gd name="T16" fmla="*/ 2147483647 w 194"/>
                <a:gd name="T17" fmla="*/ 2147483647 h 154"/>
                <a:gd name="T18" fmla="*/ 2147483647 w 194"/>
                <a:gd name="T19" fmla="*/ 2147483647 h 154"/>
                <a:gd name="T20" fmla="*/ 2147483647 w 194"/>
                <a:gd name="T21" fmla="*/ 2147483647 h 154"/>
                <a:gd name="T22" fmla="*/ 2147483647 w 194"/>
                <a:gd name="T23" fmla="*/ 2147483647 h 154"/>
                <a:gd name="T24" fmla="*/ 2147483647 w 194"/>
                <a:gd name="T25" fmla="*/ 2147483647 h 154"/>
                <a:gd name="T26" fmla="*/ 2147483647 w 194"/>
                <a:gd name="T27" fmla="*/ 2147483647 h 154"/>
                <a:gd name="T28" fmla="*/ 2147483647 w 194"/>
                <a:gd name="T29" fmla="*/ 2147483647 h 154"/>
                <a:gd name="T30" fmla="*/ 2147483647 w 194"/>
                <a:gd name="T31" fmla="*/ 2147483647 h 154"/>
                <a:gd name="T32" fmla="*/ 2147483647 w 194"/>
                <a:gd name="T33" fmla="*/ 2147483647 h 154"/>
                <a:gd name="T34" fmla="*/ 2147483647 w 194"/>
                <a:gd name="T35" fmla="*/ 2147483647 h 154"/>
                <a:gd name="T36" fmla="*/ 2147483647 w 194"/>
                <a:gd name="T37" fmla="*/ 2147483647 h 154"/>
                <a:gd name="T38" fmla="*/ 0 w 194"/>
                <a:gd name="T39" fmla="*/ 2147483647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4"/>
                <a:gd name="T61" fmla="*/ 0 h 154"/>
                <a:gd name="T62" fmla="*/ 194 w 194"/>
                <a:gd name="T63" fmla="*/ 154 h 1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4" h="154">
                  <a:moveTo>
                    <a:pt x="0" y="66"/>
                  </a:moveTo>
                  <a:lnTo>
                    <a:pt x="77" y="10"/>
                  </a:lnTo>
                  <a:lnTo>
                    <a:pt x="94" y="10"/>
                  </a:lnTo>
                  <a:lnTo>
                    <a:pt x="111" y="0"/>
                  </a:lnTo>
                  <a:lnTo>
                    <a:pt x="133" y="6"/>
                  </a:lnTo>
                  <a:lnTo>
                    <a:pt x="139" y="38"/>
                  </a:lnTo>
                  <a:lnTo>
                    <a:pt x="160" y="55"/>
                  </a:lnTo>
                  <a:lnTo>
                    <a:pt x="188" y="50"/>
                  </a:lnTo>
                  <a:lnTo>
                    <a:pt x="194" y="72"/>
                  </a:lnTo>
                  <a:lnTo>
                    <a:pt x="171" y="93"/>
                  </a:lnTo>
                  <a:lnTo>
                    <a:pt x="154" y="127"/>
                  </a:lnTo>
                  <a:lnTo>
                    <a:pt x="122" y="154"/>
                  </a:lnTo>
                  <a:lnTo>
                    <a:pt x="111" y="131"/>
                  </a:lnTo>
                  <a:lnTo>
                    <a:pt x="77" y="127"/>
                  </a:lnTo>
                  <a:lnTo>
                    <a:pt x="60" y="121"/>
                  </a:lnTo>
                  <a:lnTo>
                    <a:pt x="66" y="77"/>
                  </a:lnTo>
                  <a:lnTo>
                    <a:pt x="39" y="82"/>
                  </a:lnTo>
                  <a:lnTo>
                    <a:pt x="22" y="93"/>
                  </a:lnTo>
                  <a:lnTo>
                    <a:pt x="5" y="82"/>
                  </a:lnTo>
                  <a:lnTo>
                    <a:pt x="0" y="66"/>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8" name="Freeform 78"/>
            <p:cNvSpPr>
              <a:spLocks/>
            </p:cNvSpPr>
            <p:nvPr/>
          </p:nvSpPr>
          <p:spPr bwMode="auto">
            <a:xfrm>
              <a:off x="2757488" y="5722938"/>
              <a:ext cx="44450" cy="38100"/>
            </a:xfrm>
            <a:custGeom>
              <a:avLst/>
              <a:gdLst>
                <a:gd name="T0" fmla="*/ 2147483647 w 61"/>
                <a:gd name="T1" fmla="*/ 0 h 55"/>
                <a:gd name="T2" fmla="*/ 2147483647 w 61"/>
                <a:gd name="T3" fmla="*/ 0 h 55"/>
                <a:gd name="T4" fmla="*/ 2147483647 w 61"/>
                <a:gd name="T5" fmla="*/ 2147483647 h 55"/>
                <a:gd name="T6" fmla="*/ 2147483647 w 61"/>
                <a:gd name="T7" fmla="*/ 2147483647 h 55"/>
                <a:gd name="T8" fmla="*/ 2147483647 w 61"/>
                <a:gd name="T9" fmla="*/ 2147483647 h 55"/>
                <a:gd name="T10" fmla="*/ 2147483647 w 61"/>
                <a:gd name="T11" fmla="*/ 2147483647 h 55"/>
                <a:gd name="T12" fmla="*/ 0 w 61"/>
                <a:gd name="T13" fmla="*/ 2147483647 h 55"/>
                <a:gd name="T14" fmla="*/ 0 w 61"/>
                <a:gd name="T15" fmla="*/ 2147483647 h 55"/>
                <a:gd name="T16" fmla="*/ 2147483647 w 61"/>
                <a:gd name="T17" fmla="*/ 0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55"/>
                <a:gd name="T29" fmla="*/ 61 w 61"/>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55">
                  <a:moveTo>
                    <a:pt x="6" y="0"/>
                  </a:moveTo>
                  <a:lnTo>
                    <a:pt x="11" y="0"/>
                  </a:lnTo>
                  <a:lnTo>
                    <a:pt x="49" y="6"/>
                  </a:lnTo>
                  <a:lnTo>
                    <a:pt x="61" y="17"/>
                  </a:lnTo>
                  <a:lnTo>
                    <a:pt x="50" y="38"/>
                  </a:lnTo>
                  <a:lnTo>
                    <a:pt x="28" y="55"/>
                  </a:lnTo>
                  <a:lnTo>
                    <a:pt x="0" y="50"/>
                  </a:lnTo>
                  <a:lnTo>
                    <a:pt x="0" y="23"/>
                  </a:lnTo>
                  <a:lnTo>
                    <a:pt x="6" y="0"/>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39" name="Freeform 79"/>
            <p:cNvSpPr>
              <a:spLocks/>
            </p:cNvSpPr>
            <p:nvPr/>
          </p:nvSpPr>
          <p:spPr bwMode="auto">
            <a:xfrm>
              <a:off x="3101976" y="5610225"/>
              <a:ext cx="66675" cy="41275"/>
            </a:xfrm>
            <a:custGeom>
              <a:avLst/>
              <a:gdLst>
                <a:gd name="T0" fmla="*/ 0 w 88"/>
                <a:gd name="T1" fmla="*/ 2147483647 h 60"/>
                <a:gd name="T2" fmla="*/ 2147483647 w 88"/>
                <a:gd name="T3" fmla="*/ 0 h 60"/>
                <a:gd name="T4" fmla="*/ 2147483647 w 88"/>
                <a:gd name="T5" fmla="*/ 0 h 60"/>
                <a:gd name="T6" fmla="*/ 2147483647 w 88"/>
                <a:gd name="T7" fmla="*/ 0 h 60"/>
                <a:gd name="T8" fmla="*/ 2147483647 w 88"/>
                <a:gd name="T9" fmla="*/ 2147483647 h 60"/>
                <a:gd name="T10" fmla="*/ 2147483647 w 88"/>
                <a:gd name="T11" fmla="*/ 2147483647 h 60"/>
                <a:gd name="T12" fmla="*/ 2147483647 w 88"/>
                <a:gd name="T13" fmla="*/ 2147483647 h 60"/>
                <a:gd name="T14" fmla="*/ 2147483647 w 88"/>
                <a:gd name="T15" fmla="*/ 2147483647 h 60"/>
                <a:gd name="T16" fmla="*/ 2147483647 w 88"/>
                <a:gd name="T17" fmla="*/ 2147483647 h 60"/>
                <a:gd name="T18" fmla="*/ 0 w 88"/>
                <a:gd name="T19" fmla="*/ 2147483647 h 60"/>
                <a:gd name="T20" fmla="*/ 0 w 88"/>
                <a:gd name="T21" fmla="*/ 2147483647 h 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60"/>
                <a:gd name="T35" fmla="*/ 88 w 88"/>
                <a:gd name="T36" fmla="*/ 60 h 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60">
                  <a:moveTo>
                    <a:pt x="0" y="5"/>
                  </a:moveTo>
                  <a:lnTo>
                    <a:pt x="11" y="0"/>
                  </a:lnTo>
                  <a:lnTo>
                    <a:pt x="26" y="0"/>
                  </a:lnTo>
                  <a:lnTo>
                    <a:pt x="48" y="0"/>
                  </a:lnTo>
                  <a:lnTo>
                    <a:pt x="83" y="11"/>
                  </a:lnTo>
                  <a:lnTo>
                    <a:pt x="88" y="32"/>
                  </a:lnTo>
                  <a:lnTo>
                    <a:pt x="77" y="60"/>
                  </a:lnTo>
                  <a:lnTo>
                    <a:pt x="55" y="38"/>
                  </a:lnTo>
                  <a:lnTo>
                    <a:pt x="21" y="27"/>
                  </a:lnTo>
                  <a:lnTo>
                    <a:pt x="0" y="27"/>
                  </a:lnTo>
                  <a:lnTo>
                    <a:pt x="0" y="5"/>
                  </a:lnTo>
                  <a:close/>
                </a:path>
              </a:pathLst>
            </a:custGeom>
            <a:grpFill/>
            <a:ln w="11176">
              <a:noFill/>
              <a:prstDash val="solid"/>
              <a:round/>
              <a:headEnd/>
              <a:tailEnd/>
            </a:ln>
          </p:spPr>
          <p:txBody>
            <a:bodyPr/>
            <a:lstStyle/>
            <a:p>
              <a:pPr>
                <a:defRPr/>
              </a:pPr>
              <a:endParaRPr lang="fr-FR" sz="2400">
                <a:solidFill>
                  <a:srgbClr val="000000"/>
                </a:solidFill>
              </a:endParaRPr>
            </a:p>
          </p:txBody>
        </p:sp>
        <p:sp>
          <p:nvSpPr>
            <p:cNvPr id="240" name="Freeform 80"/>
            <p:cNvSpPr>
              <a:spLocks/>
            </p:cNvSpPr>
            <p:nvPr/>
          </p:nvSpPr>
          <p:spPr bwMode="auto">
            <a:xfrm>
              <a:off x="1350963" y="5072063"/>
              <a:ext cx="531813" cy="771525"/>
            </a:xfrm>
            <a:custGeom>
              <a:avLst/>
              <a:gdLst>
                <a:gd name="T0" fmla="*/ 2147483647 w 708"/>
                <a:gd name="T1" fmla="*/ 2147483647 h 1123"/>
                <a:gd name="T2" fmla="*/ 2147483647 w 708"/>
                <a:gd name="T3" fmla="*/ 2147483647 h 1123"/>
                <a:gd name="T4" fmla="*/ 2147483647 w 708"/>
                <a:gd name="T5" fmla="*/ 2147483647 h 1123"/>
                <a:gd name="T6" fmla="*/ 2147483647 w 708"/>
                <a:gd name="T7" fmla="*/ 2147483647 h 1123"/>
                <a:gd name="T8" fmla="*/ 0 w 708"/>
                <a:gd name="T9" fmla="*/ 2147483647 h 1123"/>
                <a:gd name="T10" fmla="*/ 2147483647 w 708"/>
                <a:gd name="T11" fmla="*/ 2147483647 h 1123"/>
                <a:gd name="T12" fmla="*/ 2147483647 w 708"/>
                <a:gd name="T13" fmla="*/ 2147483647 h 1123"/>
                <a:gd name="T14" fmla="*/ 2147483647 w 708"/>
                <a:gd name="T15" fmla="*/ 2147483647 h 1123"/>
                <a:gd name="T16" fmla="*/ 2147483647 w 708"/>
                <a:gd name="T17" fmla="*/ 2147483647 h 1123"/>
                <a:gd name="T18" fmla="*/ 2147483647 w 708"/>
                <a:gd name="T19" fmla="*/ 2147483647 h 1123"/>
                <a:gd name="T20" fmla="*/ 2147483647 w 708"/>
                <a:gd name="T21" fmla="*/ 2147483647 h 1123"/>
                <a:gd name="T22" fmla="*/ 2147483647 w 708"/>
                <a:gd name="T23" fmla="*/ 2147483647 h 1123"/>
                <a:gd name="T24" fmla="*/ 2147483647 w 708"/>
                <a:gd name="T25" fmla="*/ 2147483647 h 1123"/>
                <a:gd name="T26" fmla="*/ 2147483647 w 708"/>
                <a:gd name="T27" fmla="*/ 2147483647 h 1123"/>
                <a:gd name="T28" fmla="*/ 2147483647 w 708"/>
                <a:gd name="T29" fmla="*/ 2147483647 h 1123"/>
                <a:gd name="T30" fmla="*/ 2147483647 w 708"/>
                <a:gd name="T31" fmla="*/ 2147483647 h 1123"/>
                <a:gd name="T32" fmla="*/ 2147483647 w 708"/>
                <a:gd name="T33" fmla="*/ 2147483647 h 1123"/>
                <a:gd name="T34" fmla="*/ 2147483647 w 708"/>
                <a:gd name="T35" fmla="*/ 2147483647 h 1123"/>
                <a:gd name="T36" fmla="*/ 2147483647 w 708"/>
                <a:gd name="T37" fmla="*/ 2147483647 h 1123"/>
                <a:gd name="T38" fmla="*/ 2147483647 w 708"/>
                <a:gd name="T39" fmla="*/ 2147483647 h 1123"/>
                <a:gd name="T40" fmla="*/ 2147483647 w 708"/>
                <a:gd name="T41" fmla="*/ 2147483647 h 1123"/>
                <a:gd name="T42" fmla="*/ 2147483647 w 708"/>
                <a:gd name="T43" fmla="*/ 2147483647 h 1123"/>
                <a:gd name="T44" fmla="*/ 2147483647 w 708"/>
                <a:gd name="T45" fmla="*/ 2147483647 h 1123"/>
                <a:gd name="T46" fmla="*/ 2147483647 w 708"/>
                <a:gd name="T47" fmla="*/ 2147483647 h 1123"/>
                <a:gd name="T48" fmla="*/ 2147483647 w 708"/>
                <a:gd name="T49" fmla="*/ 2147483647 h 1123"/>
                <a:gd name="T50" fmla="*/ 2147483647 w 708"/>
                <a:gd name="T51" fmla="*/ 0 h 1123"/>
                <a:gd name="T52" fmla="*/ 2147483647 w 708"/>
                <a:gd name="T53" fmla="*/ 2147483647 h 1123"/>
                <a:gd name="T54" fmla="*/ 2147483647 w 708"/>
                <a:gd name="T55" fmla="*/ 2147483647 h 1123"/>
                <a:gd name="T56" fmla="*/ 2147483647 w 708"/>
                <a:gd name="T57" fmla="*/ 2147483647 h 1123"/>
                <a:gd name="T58" fmla="*/ 2147483647 w 708"/>
                <a:gd name="T59" fmla="*/ 2147483647 h 1123"/>
                <a:gd name="T60" fmla="*/ 2147483647 w 708"/>
                <a:gd name="T61" fmla="*/ 2147483647 h 1123"/>
                <a:gd name="T62" fmla="*/ 2147483647 w 708"/>
                <a:gd name="T63" fmla="*/ 2147483647 h 1123"/>
                <a:gd name="T64" fmla="*/ 2147483647 w 708"/>
                <a:gd name="T65" fmla="*/ 2147483647 h 1123"/>
                <a:gd name="T66" fmla="*/ 2147483647 w 708"/>
                <a:gd name="T67" fmla="*/ 2147483647 h 1123"/>
                <a:gd name="T68" fmla="*/ 2147483647 w 708"/>
                <a:gd name="T69" fmla="*/ 2147483647 h 1123"/>
                <a:gd name="T70" fmla="*/ 2147483647 w 708"/>
                <a:gd name="T71" fmla="*/ 2147483647 h 1123"/>
                <a:gd name="T72" fmla="*/ 2147483647 w 708"/>
                <a:gd name="T73" fmla="*/ 2147483647 h 1123"/>
                <a:gd name="T74" fmla="*/ 2147483647 w 708"/>
                <a:gd name="T75" fmla="*/ 2147483647 h 1123"/>
                <a:gd name="T76" fmla="*/ 2147483647 w 708"/>
                <a:gd name="T77" fmla="*/ 2147483647 h 1123"/>
                <a:gd name="T78" fmla="*/ 2147483647 w 708"/>
                <a:gd name="T79" fmla="*/ 2147483647 h 1123"/>
                <a:gd name="T80" fmla="*/ 2147483647 w 708"/>
                <a:gd name="T81" fmla="*/ 2147483647 h 1123"/>
                <a:gd name="T82" fmla="*/ 2147483647 w 708"/>
                <a:gd name="T83" fmla="*/ 2147483647 h 1123"/>
                <a:gd name="T84" fmla="*/ 2147483647 w 708"/>
                <a:gd name="T85" fmla="*/ 2147483647 h 1123"/>
                <a:gd name="T86" fmla="*/ 2147483647 w 708"/>
                <a:gd name="T87" fmla="*/ 2147483647 h 1123"/>
                <a:gd name="T88" fmla="*/ 2147483647 w 708"/>
                <a:gd name="T89" fmla="*/ 2147483647 h 1123"/>
                <a:gd name="T90" fmla="*/ 2147483647 w 708"/>
                <a:gd name="T91" fmla="*/ 2147483647 h 1123"/>
                <a:gd name="T92" fmla="*/ 2147483647 w 708"/>
                <a:gd name="T93" fmla="*/ 2147483647 h 1123"/>
                <a:gd name="T94" fmla="*/ 2147483647 w 708"/>
                <a:gd name="T95" fmla="*/ 2147483647 h 1123"/>
                <a:gd name="T96" fmla="*/ 2147483647 w 708"/>
                <a:gd name="T97" fmla="*/ 2147483647 h 1123"/>
                <a:gd name="T98" fmla="*/ 2147483647 w 708"/>
                <a:gd name="T99" fmla="*/ 2147483647 h 112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08"/>
                <a:gd name="T151" fmla="*/ 0 h 1123"/>
                <a:gd name="T152" fmla="*/ 708 w 708"/>
                <a:gd name="T153" fmla="*/ 1123 h 112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08" h="1123">
                  <a:moveTo>
                    <a:pt x="277" y="1096"/>
                  </a:moveTo>
                  <a:lnTo>
                    <a:pt x="227" y="1118"/>
                  </a:lnTo>
                  <a:lnTo>
                    <a:pt x="200" y="1123"/>
                  </a:lnTo>
                  <a:lnTo>
                    <a:pt x="172" y="1123"/>
                  </a:lnTo>
                  <a:lnTo>
                    <a:pt x="155" y="1096"/>
                  </a:lnTo>
                  <a:lnTo>
                    <a:pt x="83" y="1074"/>
                  </a:lnTo>
                  <a:lnTo>
                    <a:pt x="65" y="1074"/>
                  </a:lnTo>
                  <a:lnTo>
                    <a:pt x="39" y="1075"/>
                  </a:lnTo>
                  <a:lnTo>
                    <a:pt x="16" y="1075"/>
                  </a:lnTo>
                  <a:lnTo>
                    <a:pt x="0" y="1069"/>
                  </a:lnTo>
                  <a:lnTo>
                    <a:pt x="15" y="1043"/>
                  </a:lnTo>
                  <a:lnTo>
                    <a:pt x="39" y="1014"/>
                  </a:lnTo>
                  <a:lnTo>
                    <a:pt x="66" y="947"/>
                  </a:lnTo>
                  <a:lnTo>
                    <a:pt x="83" y="892"/>
                  </a:lnTo>
                  <a:lnTo>
                    <a:pt x="83" y="854"/>
                  </a:lnTo>
                  <a:lnTo>
                    <a:pt x="106" y="832"/>
                  </a:lnTo>
                  <a:lnTo>
                    <a:pt x="106" y="788"/>
                  </a:lnTo>
                  <a:lnTo>
                    <a:pt x="134" y="783"/>
                  </a:lnTo>
                  <a:lnTo>
                    <a:pt x="128" y="749"/>
                  </a:lnTo>
                  <a:lnTo>
                    <a:pt x="78" y="760"/>
                  </a:lnTo>
                  <a:lnTo>
                    <a:pt x="45" y="760"/>
                  </a:lnTo>
                  <a:lnTo>
                    <a:pt x="55" y="732"/>
                  </a:lnTo>
                  <a:lnTo>
                    <a:pt x="55" y="705"/>
                  </a:lnTo>
                  <a:lnTo>
                    <a:pt x="72" y="716"/>
                  </a:lnTo>
                  <a:lnTo>
                    <a:pt x="94" y="711"/>
                  </a:lnTo>
                  <a:lnTo>
                    <a:pt x="111" y="688"/>
                  </a:lnTo>
                  <a:lnTo>
                    <a:pt x="100" y="662"/>
                  </a:lnTo>
                  <a:lnTo>
                    <a:pt x="77" y="675"/>
                  </a:lnTo>
                  <a:lnTo>
                    <a:pt x="51" y="694"/>
                  </a:lnTo>
                  <a:lnTo>
                    <a:pt x="17" y="683"/>
                  </a:lnTo>
                  <a:lnTo>
                    <a:pt x="34" y="634"/>
                  </a:lnTo>
                  <a:lnTo>
                    <a:pt x="72" y="556"/>
                  </a:lnTo>
                  <a:lnTo>
                    <a:pt x="122" y="518"/>
                  </a:lnTo>
                  <a:lnTo>
                    <a:pt x="155" y="463"/>
                  </a:lnTo>
                  <a:lnTo>
                    <a:pt x="194" y="414"/>
                  </a:lnTo>
                  <a:lnTo>
                    <a:pt x="200" y="386"/>
                  </a:lnTo>
                  <a:lnTo>
                    <a:pt x="221" y="358"/>
                  </a:lnTo>
                  <a:lnTo>
                    <a:pt x="238" y="314"/>
                  </a:lnTo>
                  <a:lnTo>
                    <a:pt x="283" y="231"/>
                  </a:lnTo>
                  <a:lnTo>
                    <a:pt x="287" y="176"/>
                  </a:lnTo>
                  <a:lnTo>
                    <a:pt x="295" y="150"/>
                  </a:lnTo>
                  <a:lnTo>
                    <a:pt x="293" y="131"/>
                  </a:lnTo>
                  <a:lnTo>
                    <a:pt x="289" y="109"/>
                  </a:lnTo>
                  <a:lnTo>
                    <a:pt x="281" y="71"/>
                  </a:lnTo>
                  <a:lnTo>
                    <a:pt x="281" y="55"/>
                  </a:lnTo>
                  <a:lnTo>
                    <a:pt x="287" y="44"/>
                  </a:lnTo>
                  <a:lnTo>
                    <a:pt x="293" y="27"/>
                  </a:lnTo>
                  <a:lnTo>
                    <a:pt x="299" y="27"/>
                  </a:lnTo>
                  <a:lnTo>
                    <a:pt x="349" y="0"/>
                  </a:lnTo>
                  <a:lnTo>
                    <a:pt x="381" y="7"/>
                  </a:lnTo>
                  <a:lnTo>
                    <a:pt x="405" y="7"/>
                  </a:lnTo>
                  <a:lnTo>
                    <a:pt x="421" y="0"/>
                  </a:lnTo>
                  <a:lnTo>
                    <a:pt x="425" y="23"/>
                  </a:lnTo>
                  <a:lnTo>
                    <a:pt x="404" y="55"/>
                  </a:lnTo>
                  <a:lnTo>
                    <a:pt x="410" y="77"/>
                  </a:lnTo>
                  <a:lnTo>
                    <a:pt x="459" y="61"/>
                  </a:lnTo>
                  <a:lnTo>
                    <a:pt x="487" y="83"/>
                  </a:lnTo>
                  <a:lnTo>
                    <a:pt x="537" y="95"/>
                  </a:lnTo>
                  <a:lnTo>
                    <a:pt x="576" y="78"/>
                  </a:lnTo>
                  <a:lnTo>
                    <a:pt x="596" y="84"/>
                  </a:lnTo>
                  <a:lnTo>
                    <a:pt x="619" y="93"/>
                  </a:lnTo>
                  <a:lnTo>
                    <a:pt x="669" y="99"/>
                  </a:lnTo>
                  <a:lnTo>
                    <a:pt x="669" y="132"/>
                  </a:lnTo>
                  <a:lnTo>
                    <a:pt x="652" y="149"/>
                  </a:lnTo>
                  <a:lnTo>
                    <a:pt x="658" y="171"/>
                  </a:lnTo>
                  <a:lnTo>
                    <a:pt x="691" y="171"/>
                  </a:lnTo>
                  <a:lnTo>
                    <a:pt x="708" y="193"/>
                  </a:lnTo>
                  <a:lnTo>
                    <a:pt x="681" y="228"/>
                  </a:lnTo>
                  <a:lnTo>
                    <a:pt x="636" y="253"/>
                  </a:lnTo>
                  <a:lnTo>
                    <a:pt x="621" y="260"/>
                  </a:lnTo>
                  <a:lnTo>
                    <a:pt x="582" y="280"/>
                  </a:lnTo>
                  <a:lnTo>
                    <a:pt x="570" y="348"/>
                  </a:lnTo>
                  <a:lnTo>
                    <a:pt x="559" y="391"/>
                  </a:lnTo>
                  <a:lnTo>
                    <a:pt x="553" y="446"/>
                  </a:lnTo>
                  <a:lnTo>
                    <a:pt x="504" y="463"/>
                  </a:lnTo>
                  <a:lnTo>
                    <a:pt x="511" y="489"/>
                  </a:lnTo>
                  <a:lnTo>
                    <a:pt x="520" y="518"/>
                  </a:lnTo>
                  <a:lnTo>
                    <a:pt x="493" y="551"/>
                  </a:lnTo>
                  <a:lnTo>
                    <a:pt x="487" y="579"/>
                  </a:lnTo>
                  <a:lnTo>
                    <a:pt x="459" y="573"/>
                  </a:lnTo>
                  <a:lnTo>
                    <a:pt x="427" y="569"/>
                  </a:lnTo>
                  <a:lnTo>
                    <a:pt x="410" y="569"/>
                  </a:lnTo>
                  <a:lnTo>
                    <a:pt x="398" y="574"/>
                  </a:lnTo>
                  <a:lnTo>
                    <a:pt x="413" y="607"/>
                  </a:lnTo>
                  <a:lnTo>
                    <a:pt x="421" y="643"/>
                  </a:lnTo>
                  <a:lnTo>
                    <a:pt x="425" y="677"/>
                  </a:lnTo>
                  <a:lnTo>
                    <a:pt x="445" y="690"/>
                  </a:lnTo>
                  <a:lnTo>
                    <a:pt x="465" y="711"/>
                  </a:lnTo>
                  <a:lnTo>
                    <a:pt x="437" y="749"/>
                  </a:lnTo>
                  <a:lnTo>
                    <a:pt x="393" y="766"/>
                  </a:lnTo>
                  <a:lnTo>
                    <a:pt x="365" y="832"/>
                  </a:lnTo>
                  <a:lnTo>
                    <a:pt x="387" y="887"/>
                  </a:lnTo>
                  <a:lnTo>
                    <a:pt x="415" y="898"/>
                  </a:lnTo>
                  <a:lnTo>
                    <a:pt x="393" y="937"/>
                  </a:lnTo>
                  <a:lnTo>
                    <a:pt x="355" y="942"/>
                  </a:lnTo>
                  <a:lnTo>
                    <a:pt x="310" y="975"/>
                  </a:lnTo>
                  <a:lnTo>
                    <a:pt x="283" y="1019"/>
                  </a:lnTo>
                  <a:lnTo>
                    <a:pt x="280" y="1057"/>
                  </a:lnTo>
                  <a:lnTo>
                    <a:pt x="289" y="1096"/>
                  </a:lnTo>
                  <a:lnTo>
                    <a:pt x="277" y="1096"/>
                  </a:lnTo>
                  <a:close/>
                </a:path>
              </a:pathLst>
            </a:custGeom>
            <a:grpFill/>
            <a:ln w="11176" cap="flat" cmpd="sng">
              <a:noFill/>
              <a:prstDash val="solid"/>
              <a:round/>
              <a:headEnd type="none" w="med" len="med"/>
              <a:tailEnd type="none" w="med" len="med"/>
            </a:ln>
          </p:spPr>
          <p:txBody>
            <a:bodyPr/>
            <a:lstStyle/>
            <a:p>
              <a:pPr>
                <a:defRPr/>
              </a:pPr>
              <a:endParaRPr lang="fr-FR" sz="2400">
                <a:solidFill>
                  <a:srgbClr val="000000"/>
                </a:solidFill>
              </a:endParaRPr>
            </a:p>
          </p:txBody>
        </p:sp>
        <p:sp>
          <p:nvSpPr>
            <p:cNvPr id="241" name="Freeform 81"/>
            <p:cNvSpPr>
              <a:spLocks/>
            </p:cNvSpPr>
            <p:nvPr/>
          </p:nvSpPr>
          <p:spPr bwMode="auto">
            <a:xfrm>
              <a:off x="2232026" y="2727325"/>
              <a:ext cx="835025" cy="1265238"/>
            </a:xfrm>
            <a:custGeom>
              <a:avLst/>
              <a:gdLst>
                <a:gd name="T0" fmla="*/ 2147483647 w 1110"/>
                <a:gd name="T1" fmla="*/ 2147483647 h 1845"/>
                <a:gd name="T2" fmla="*/ 2147483647 w 1110"/>
                <a:gd name="T3" fmla="*/ 2147483647 h 1845"/>
                <a:gd name="T4" fmla="*/ 2147483647 w 1110"/>
                <a:gd name="T5" fmla="*/ 2147483647 h 1845"/>
                <a:gd name="T6" fmla="*/ 2147483647 w 1110"/>
                <a:gd name="T7" fmla="*/ 2147483647 h 1845"/>
                <a:gd name="T8" fmla="*/ 2147483647 w 1110"/>
                <a:gd name="T9" fmla="*/ 2147483647 h 1845"/>
                <a:gd name="T10" fmla="*/ 2147483647 w 1110"/>
                <a:gd name="T11" fmla="*/ 2147483647 h 1845"/>
                <a:gd name="T12" fmla="*/ 2147483647 w 1110"/>
                <a:gd name="T13" fmla="*/ 2147483647 h 1845"/>
                <a:gd name="T14" fmla="*/ 2147483647 w 1110"/>
                <a:gd name="T15" fmla="*/ 2147483647 h 1845"/>
                <a:gd name="T16" fmla="*/ 2147483647 w 1110"/>
                <a:gd name="T17" fmla="*/ 2147483647 h 1845"/>
                <a:gd name="T18" fmla="*/ 2147483647 w 1110"/>
                <a:gd name="T19" fmla="*/ 2147483647 h 1845"/>
                <a:gd name="T20" fmla="*/ 2147483647 w 1110"/>
                <a:gd name="T21" fmla="*/ 2147483647 h 1845"/>
                <a:gd name="T22" fmla="*/ 2147483647 w 1110"/>
                <a:gd name="T23" fmla="*/ 2147483647 h 1845"/>
                <a:gd name="T24" fmla="*/ 2147483647 w 1110"/>
                <a:gd name="T25" fmla="*/ 2147483647 h 1845"/>
                <a:gd name="T26" fmla="*/ 2147483647 w 1110"/>
                <a:gd name="T27" fmla="*/ 2147483647 h 1845"/>
                <a:gd name="T28" fmla="*/ 2147483647 w 1110"/>
                <a:gd name="T29" fmla="*/ 2147483647 h 1845"/>
                <a:gd name="T30" fmla="*/ 2147483647 w 1110"/>
                <a:gd name="T31" fmla="*/ 2147483647 h 1845"/>
                <a:gd name="T32" fmla="*/ 2147483647 w 1110"/>
                <a:gd name="T33" fmla="*/ 2147483647 h 1845"/>
                <a:gd name="T34" fmla="*/ 2147483647 w 1110"/>
                <a:gd name="T35" fmla="*/ 2147483647 h 1845"/>
                <a:gd name="T36" fmla="*/ 2147483647 w 1110"/>
                <a:gd name="T37" fmla="*/ 2147483647 h 1845"/>
                <a:gd name="T38" fmla="*/ 2147483647 w 1110"/>
                <a:gd name="T39" fmla="*/ 2147483647 h 1845"/>
                <a:gd name="T40" fmla="*/ 2147483647 w 1110"/>
                <a:gd name="T41" fmla="*/ 2147483647 h 1845"/>
                <a:gd name="T42" fmla="*/ 2147483647 w 1110"/>
                <a:gd name="T43" fmla="*/ 2147483647 h 1845"/>
                <a:gd name="T44" fmla="*/ 2147483647 w 1110"/>
                <a:gd name="T45" fmla="*/ 2147483647 h 1845"/>
                <a:gd name="T46" fmla="*/ 2147483647 w 1110"/>
                <a:gd name="T47" fmla="*/ 2147483647 h 1845"/>
                <a:gd name="T48" fmla="*/ 2147483647 w 1110"/>
                <a:gd name="T49" fmla="*/ 2147483647 h 1845"/>
                <a:gd name="T50" fmla="*/ 2147483647 w 1110"/>
                <a:gd name="T51" fmla="*/ 2147483647 h 1845"/>
                <a:gd name="T52" fmla="*/ 2147483647 w 1110"/>
                <a:gd name="T53" fmla="*/ 2147483647 h 1845"/>
                <a:gd name="T54" fmla="*/ 2147483647 w 1110"/>
                <a:gd name="T55" fmla="*/ 2147483647 h 1845"/>
                <a:gd name="T56" fmla="*/ 2147483647 w 1110"/>
                <a:gd name="T57" fmla="*/ 2147483647 h 1845"/>
                <a:gd name="T58" fmla="*/ 2147483647 w 1110"/>
                <a:gd name="T59" fmla="*/ 2147483647 h 1845"/>
                <a:gd name="T60" fmla="*/ 2147483647 w 1110"/>
                <a:gd name="T61" fmla="*/ 2147483647 h 1845"/>
                <a:gd name="T62" fmla="*/ 2147483647 w 1110"/>
                <a:gd name="T63" fmla="*/ 2147483647 h 1845"/>
                <a:gd name="T64" fmla="*/ 2147483647 w 1110"/>
                <a:gd name="T65" fmla="*/ 2147483647 h 1845"/>
                <a:gd name="T66" fmla="*/ 2147483647 w 1110"/>
                <a:gd name="T67" fmla="*/ 2147483647 h 1845"/>
                <a:gd name="T68" fmla="*/ 2147483647 w 1110"/>
                <a:gd name="T69" fmla="*/ 2147483647 h 1845"/>
                <a:gd name="T70" fmla="*/ 2147483647 w 1110"/>
                <a:gd name="T71" fmla="*/ 2147483647 h 1845"/>
                <a:gd name="T72" fmla="*/ 2147483647 w 1110"/>
                <a:gd name="T73" fmla="*/ 2147483647 h 1845"/>
                <a:gd name="T74" fmla="*/ 2147483647 w 1110"/>
                <a:gd name="T75" fmla="*/ 2147483647 h 1845"/>
                <a:gd name="T76" fmla="*/ 2147483647 w 1110"/>
                <a:gd name="T77" fmla="*/ 2147483647 h 1845"/>
                <a:gd name="T78" fmla="*/ 2147483647 w 1110"/>
                <a:gd name="T79" fmla="*/ 2147483647 h 1845"/>
                <a:gd name="T80" fmla="*/ 2147483647 w 1110"/>
                <a:gd name="T81" fmla="*/ 2147483647 h 1845"/>
                <a:gd name="T82" fmla="*/ 2147483647 w 1110"/>
                <a:gd name="T83" fmla="*/ 2147483647 h 1845"/>
                <a:gd name="T84" fmla="*/ 2147483647 w 1110"/>
                <a:gd name="T85" fmla="*/ 2147483647 h 1845"/>
                <a:gd name="T86" fmla="*/ 2147483647 w 1110"/>
                <a:gd name="T87" fmla="*/ 2147483647 h 1845"/>
                <a:gd name="T88" fmla="*/ 2147483647 w 1110"/>
                <a:gd name="T89" fmla="*/ 2147483647 h 1845"/>
                <a:gd name="T90" fmla="*/ 2147483647 w 1110"/>
                <a:gd name="T91" fmla="*/ 2147483647 h 1845"/>
                <a:gd name="T92" fmla="*/ 2147483647 w 1110"/>
                <a:gd name="T93" fmla="*/ 2147483647 h 1845"/>
                <a:gd name="T94" fmla="*/ 2147483647 w 1110"/>
                <a:gd name="T95" fmla="*/ 2147483647 h 1845"/>
                <a:gd name="T96" fmla="*/ 2147483647 w 1110"/>
                <a:gd name="T97" fmla="*/ 2147483647 h 1845"/>
                <a:gd name="T98" fmla="*/ 2147483647 w 1110"/>
                <a:gd name="T99" fmla="*/ 2147483647 h 1845"/>
                <a:gd name="T100" fmla="*/ 2147483647 w 1110"/>
                <a:gd name="T101" fmla="*/ 2147483647 h 1845"/>
                <a:gd name="T102" fmla="*/ 2147483647 w 1110"/>
                <a:gd name="T103" fmla="*/ 2147483647 h 1845"/>
                <a:gd name="T104" fmla="*/ 2147483647 w 1110"/>
                <a:gd name="T105" fmla="*/ 2147483647 h 1845"/>
                <a:gd name="T106" fmla="*/ 2147483647 w 1110"/>
                <a:gd name="T107" fmla="*/ 2147483647 h 1845"/>
                <a:gd name="T108" fmla="*/ 2147483647 w 1110"/>
                <a:gd name="T109" fmla="*/ 2147483647 h 184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10"/>
                <a:gd name="T166" fmla="*/ 0 h 1845"/>
                <a:gd name="T167" fmla="*/ 1110 w 1110"/>
                <a:gd name="T168" fmla="*/ 1845 h 184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10" h="1845">
                  <a:moveTo>
                    <a:pt x="476" y="0"/>
                  </a:moveTo>
                  <a:lnTo>
                    <a:pt x="504" y="16"/>
                  </a:lnTo>
                  <a:lnTo>
                    <a:pt x="531" y="10"/>
                  </a:lnTo>
                  <a:lnTo>
                    <a:pt x="537" y="27"/>
                  </a:lnTo>
                  <a:lnTo>
                    <a:pt x="590" y="40"/>
                  </a:lnTo>
                  <a:lnTo>
                    <a:pt x="621" y="41"/>
                  </a:lnTo>
                  <a:lnTo>
                    <a:pt x="648" y="38"/>
                  </a:lnTo>
                  <a:lnTo>
                    <a:pt x="663" y="27"/>
                  </a:lnTo>
                  <a:lnTo>
                    <a:pt x="708" y="32"/>
                  </a:lnTo>
                  <a:lnTo>
                    <a:pt x="709" y="44"/>
                  </a:lnTo>
                  <a:lnTo>
                    <a:pt x="704" y="62"/>
                  </a:lnTo>
                  <a:lnTo>
                    <a:pt x="686" y="93"/>
                  </a:lnTo>
                  <a:lnTo>
                    <a:pt x="614" y="142"/>
                  </a:lnTo>
                  <a:lnTo>
                    <a:pt x="581" y="159"/>
                  </a:lnTo>
                  <a:lnTo>
                    <a:pt x="537" y="181"/>
                  </a:lnTo>
                  <a:lnTo>
                    <a:pt x="581" y="197"/>
                  </a:lnTo>
                  <a:lnTo>
                    <a:pt x="565" y="225"/>
                  </a:lnTo>
                  <a:lnTo>
                    <a:pt x="525" y="236"/>
                  </a:lnTo>
                  <a:lnTo>
                    <a:pt x="525" y="263"/>
                  </a:lnTo>
                  <a:lnTo>
                    <a:pt x="587" y="231"/>
                  </a:lnTo>
                  <a:lnTo>
                    <a:pt x="608" y="236"/>
                  </a:lnTo>
                  <a:lnTo>
                    <a:pt x="625" y="225"/>
                  </a:lnTo>
                  <a:lnTo>
                    <a:pt x="647" y="239"/>
                  </a:lnTo>
                  <a:lnTo>
                    <a:pt x="669" y="252"/>
                  </a:lnTo>
                  <a:lnTo>
                    <a:pt x="680" y="236"/>
                  </a:lnTo>
                  <a:lnTo>
                    <a:pt x="708" y="240"/>
                  </a:lnTo>
                  <a:lnTo>
                    <a:pt x="735" y="252"/>
                  </a:lnTo>
                  <a:lnTo>
                    <a:pt x="796" y="264"/>
                  </a:lnTo>
                  <a:lnTo>
                    <a:pt x="810" y="288"/>
                  </a:lnTo>
                  <a:lnTo>
                    <a:pt x="814" y="318"/>
                  </a:lnTo>
                  <a:lnTo>
                    <a:pt x="780" y="352"/>
                  </a:lnTo>
                  <a:lnTo>
                    <a:pt x="758" y="390"/>
                  </a:lnTo>
                  <a:lnTo>
                    <a:pt x="719" y="451"/>
                  </a:lnTo>
                  <a:lnTo>
                    <a:pt x="691" y="501"/>
                  </a:lnTo>
                  <a:lnTo>
                    <a:pt x="648" y="517"/>
                  </a:lnTo>
                  <a:lnTo>
                    <a:pt x="669" y="539"/>
                  </a:lnTo>
                  <a:lnTo>
                    <a:pt x="675" y="561"/>
                  </a:lnTo>
                  <a:lnTo>
                    <a:pt x="636" y="577"/>
                  </a:lnTo>
                  <a:lnTo>
                    <a:pt x="593" y="567"/>
                  </a:lnTo>
                  <a:lnTo>
                    <a:pt x="587" y="588"/>
                  </a:lnTo>
                  <a:lnTo>
                    <a:pt x="559" y="588"/>
                  </a:lnTo>
                  <a:lnTo>
                    <a:pt x="570" y="611"/>
                  </a:lnTo>
                  <a:lnTo>
                    <a:pt x="603" y="616"/>
                  </a:lnTo>
                  <a:lnTo>
                    <a:pt x="631" y="600"/>
                  </a:lnTo>
                  <a:lnTo>
                    <a:pt x="659" y="611"/>
                  </a:lnTo>
                  <a:lnTo>
                    <a:pt x="703" y="649"/>
                  </a:lnTo>
                  <a:lnTo>
                    <a:pt x="752" y="726"/>
                  </a:lnTo>
                  <a:lnTo>
                    <a:pt x="758" y="781"/>
                  </a:lnTo>
                  <a:lnTo>
                    <a:pt x="774" y="864"/>
                  </a:lnTo>
                  <a:lnTo>
                    <a:pt x="791" y="947"/>
                  </a:lnTo>
                  <a:lnTo>
                    <a:pt x="857" y="996"/>
                  </a:lnTo>
                  <a:lnTo>
                    <a:pt x="874" y="1046"/>
                  </a:lnTo>
                  <a:lnTo>
                    <a:pt x="890" y="1068"/>
                  </a:lnTo>
                  <a:lnTo>
                    <a:pt x="890" y="1112"/>
                  </a:lnTo>
                  <a:lnTo>
                    <a:pt x="904" y="1147"/>
                  </a:lnTo>
                  <a:lnTo>
                    <a:pt x="918" y="1184"/>
                  </a:lnTo>
                  <a:lnTo>
                    <a:pt x="884" y="1184"/>
                  </a:lnTo>
                  <a:lnTo>
                    <a:pt x="906" y="1216"/>
                  </a:lnTo>
                  <a:lnTo>
                    <a:pt x="929" y="1250"/>
                  </a:lnTo>
                  <a:lnTo>
                    <a:pt x="929" y="1294"/>
                  </a:lnTo>
                  <a:lnTo>
                    <a:pt x="896" y="1327"/>
                  </a:lnTo>
                  <a:lnTo>
                    <a:pt x="912" y="1365"/>
                  </a:lnTo>
                  <a:lnTo>
                    <a:pt x="940" y="1343"/>
                  </a:lnTo>
                  <a:lnTo>
                    <a:pt x="967" y="1327"/>
                  </a:lnTo>
                  <a:lnTo>
                    <a:pt x="1001" y="1331"/>
                  </a:lnTo>
                  <a:lnTo>
                    <a:pt x="1035" y="1343"/>
                  </a:lnTo>
                  <a:lnTo>
                    <a:pt x="1074" y="1363"/>
                  </a:lnTo>
                  <a:lnTo>
                    <a:pt x="1105" y="1393"/>
                  </a:lnTo>
                  <a:lnTo>
                    <a:pt x="1110" y="1432"/>
                  </a:lnTo>
                  <a:lnTo>
                    <a:pt x="1101" y="1475"/>
                  </a:lnTo>
                  <a:lnTo>
                    <a:pt x="1067" y="1503"/>
                  </a:lnTo>
                  <a:lnTo>
                    <a:pt x="1078" y="1526"/>
                  </a:lnTo>
                  <a:lnTo>
                    <a:pt x="1035" y="1553"/>
                  </a:lnTo>
                  <a:lnTo>
                    <a:pt x="1023" y="1580"/>
                  </a:lnTo>
                  <a:lnTo>
                    <a:pt x="1012" y="1592"/>
                  </a:lnTo>
                  <a:lnTo>
                    <a:pt x="990" y="1580"/>
                  </a:lnTo>
                  <a:lnTo>
                    <a:pt x="956" y="1592"/>
                  </a:lnTo>
                  <a:lnTo>
                    <a:pt x="979" y="1607"/>
                  </a:lnTo>
                  <a:lnTo>
                    <a:pt x="973" y="1619"/>
                  </a:lnTo>
                  <a:lnTo>
                    <a:pt x="943" y="1632"/>
                  </a:lnTo>
                  <a:lnTo>
                    <a:pt x="918" y="1652"/>
                  </a:lnTo>
                  <a:lnTo>
                    <a:pt x="956" y="1685"/>
                  </a:lnTo>
                  <a:lnTo>
                    <a:pt x="995" y="1679"/>
                  </a:lnTo>
                  <a:lnTo>
                    <a:pt x="1023" y="1680"/>
                  </a:lnTo>
                  <a:lnTo>
                    <a:pt x="1045" y="1690"/>
                  </a:lnTo>
                  <a:lnTo>
                    <a:pt x="1035" y="1713"/>
                  </a:lnTo>
                  <a:lnTo>
                    <a:pt x="1035" y="1740"/>
                  </a:lnTo>
                  <a:lnTo>
                    <a:pt x="984" y="1740"/>
                  </a:lnTo>
                  <a:lnTo>
                    <a:pt x="952" y="1768"/>
                  </a:lnTo>
                  <a:lnTo>
                    <a:pt x="918" y="1768"/>
                  </a:lnTo>
                  <a:lnTo>
                    <a:pt x="852" y="1806"/>
                  </a:lnTo>
                  <a:lnTo>
                    <a:pt x="814" y="1795"/>
                  </a:lnTo>
                  <a:lnTo>
                    <a:pt x="786" y="1779"/>
                  </a:lnTo>
                  <a:lnTo>
                    <a:pt x="759" y="1774"/>
                  </a:lnTo>
                  <a:lnTo>
                    <a:pt x="731" y="1773"/>
                  </a:lnTo>
                  <a:lnTo>
                    <a:pt x="708" y="1789"/>
                  </a:lnTo>
                  <a:lnTo>
                    <a:pt x="691" y="1762"/>
                  </a:lnTo>
                  <a:lnTo>
                    <a:pt x="659" y="1768"/>
                  </a:lnTo>
                  <a:lnTo>
                    <a:pt x="659" y="1789"/>
                  </a:lnTo>
                  <a:lnTo>
                    <a:pt x="631" y="1817"/>
                  </a:lnTo>
                  <a:lnTo>
                    <a:pt x="614" y="1800"/>
                  </a:lnTo>
                  <a:lnTo>
                    <a:pt x="597" y="1779"/>
                  </a:lnTo>
                  <a:lnTo>
                    <a:pt x="553" y="1773"/>
                  </a:lnTo>
                  <a:lnTo>
                    <a:pt x="542" y="1795"/>
                  </a:lnTo>
                  <a:lnTo>
                    <a:pt x="498" y="1779"/>
                  </a:lnTo>
                  <a:lnTo>
                    <a:pt x="465" y="1795"/>
                  </a:lnTo>
                  <a:lnTo>
                    <a:pt x="432" y="1768"/>
                  </a:lnTo>
                  <a:lnTo>
                    <a:pt x="415" y="1734"/>
                  </a:lnTo>
                  <a:lnTo>
                    <a:pt x="403" y="1732"/>
                  </a:lnTo>
                  <a:lnTo>
                    <a:pt x="382" y="1733"/>
                  </a:lnTo>
                  <a:lnTo>
                    <a:pt x="349" y="1745"/>
                  </a:lnTo>
                  <a:lnTo>
                    <a:pt x="321" y="1783"/>
                  </a:lnTo>
                  <a:lnTo>
                    <a:pt x="303" y="1817"/>
                  </a:lnTo>
                  <a:lnTo>
                    <a:pt x="277" y="1845"/>
                  </a:lnTo>
                  <a:lnTo>
                    <a:pt x="244" y="1817"/>
                  </a:lnTo>
                  <a:lnTo>
                    <a:pt x="211" y="1789"/>
                  </a:lnTo>
                  <a:lnTo>
                    <a:pt x="166" y="1779"/>
                  </a:lnTo>
                  <a:lnTo>
                    <a:pt x="134" y="1806"/>
                  </a:lnTo>
                  <a:lnTo>
                    <a:pt x="95" y="1817"/>
                  </a:lnTo>
                  <a:lnTo>
                    <a:pt x="56" y="1817"/>
                  </a:lnTo>
                  <a:lnTo>
                    <a:pt x="0" y="1806"/>
                  </a:lnTo>
                  <a:lnTo>
                    <a:pt x="12" y="1783"/>
                  </a:lnTo>
                  <a:lnTo>
                    <a:pt x="62" y="1779"/>
                  </a:lnTo>
                  <a:lnTo>
                    <a:pt x="106" y="1751"/>
                  </a:lnTo>
                  <a:lnTo>
                    <a:pt x="123" y="1723"/>
                  </a:lnTo>
                  <a:lnTo>
                    <a:pt x="144" y="1729"/>
                  </a:lnTo>
                  <a:lnTo>
                    <a:pt x="200" y="1690"/>
                  </a:lnTo>
                  <a:lnTo>
                    <a:pt x="194" y="1658"/>
                  </a:lnTo>
                  <a:lnTo>
                    <a:pt x="217" y="1641"/>
                  </a:lnTo>
                  <a:lnTo>
                    <a:pt x="244" y="1652"/>
                  </a:lnTo>
                  <a:lnTo>
                    <a:pt x="261" y="1607"/>
                  </a:lnTo>
                  <a:lnTo>
                    <a:pt x="316" y="1602"/>
                  </a:lnTo>
                  <a:lnTo>
                    <a:pt x="327" y="1619"/>
                  </a:lnTo>
                  <a:lnTo>
                    <a:pt x="360" y="1624"/>
                  </a:lnTo>
                  <a:lnTo>
                    <a:pt x="402" y="1631"/>
                  </a:lnTo>
                  <a:lnTo>
                    <a:pt x="422" y="1634"/>
                  </a:lnTo>
                  <a:lnTo>
                    <a:pt x="438" y="1630"/>
                  </a:lnTo>
                  <a:lnTo>
                    <a:pt x="432" y="1607"/>
                  </a:lnTo>
                  <a:lnTo>
                    <a:pt x="486" y="1575"/>
                  </a:lnTo>
                  <a:lnTo>
                    <a:pt x="531" y="1553"/>
                  </a:lnTo>
                  <a:lnTo>
                    <a:pt x="520" y="1550"/>
                  </a:lnTo>
                  <a:lnTo>
                    <a:pt x="493" y="1548"/>
                  </a:lnTo>
                  <a:lnTo>
                    <a:pt x="438" y="1558"/>
                  </a:lnTo>
                  <a:lnTo>
                    <a:pt x="399" y="1592"/>
                  </a:lnTo>
                  <a:lnTo>
                    <a:pt x="355" y="1586"/>
                  </a:lnTo>
                  <a:lnTo>
                    <a:pt x="327" y="1541"/>
                  </a:lnTo>
                  <a:lnTo>
                    <a:pt x="272" y="1541"/>
                  </a:lnTo>
                  <a:lnTo>
                    <a:pt x="266" y="1481"/>
                  </a:lnTo>
                  <a:lnTo>
                    <a:pt x="221" y="1481"/>
                  </a:lnTo>
                  <a:lnTo>
                    <a:pt x="194" y="1503"/>
                  </a:lnTo>
                  <a:lnTo>
                    <a:pt x="155" y="1498"/>
                  </a:lnTo>
                  <a:lnTo>
                    <a:pt x="138" y="1465"/>
                  </a:lnTo>
                  <a:lnTo>
                    <a:pt x="161" y="1437"/>
                  </a:lnTo>
                  <a:lnTo>
                    <a:pt x="151" y="1415"/>
                  </a:lnTo>
                  <a:lnTo>
                    <a:pt x="178" y="1403"/>
                  </a:lnTo>
                  <a:lnTo>
                    <a:pt x="206" y="1406"/>
                  </a:lnTo>
                  <a:lnTo>
                    <a:pt x="233" y="1409"/>
                  </a:lnTo>
                  <a:lnTo>
                    <a:pt x="289" y="1382"/>
                  </a:lnTo>
                  <a:lnTo>
                    <a:pt x="338" y="1365"/>
                  </a:lnTo>
                  <a:lnTo>
                    <a:pt x="349" y="1305"/>
                  </a:lnTo>
                  <a:lnTo>
                    <a:pt x="351" y="1267"/>
                  </a:lnTo>
                  <a:lnTo>
                    <a:pt x="351" y="1246"/>
                  </a:lnTo>
                  <a:lnTo>
                    <a:pt x="344" y="1233"/>
                  </a:lnTo>
                  <a:lnTo>
                    <a:pt x="304" y="1244"/>
                  </a:lnTo>
                  <a:lnTo>
                    <a:pt x="266" y="1261"/>
                  </a:lnTo>
                  <a:lnTo>
                    <a:pt x="255" y="1244"/>
                  </a:lnTo>
                  <a:lnTo>
                    <a:pt x="289" y="1222"/>
                  </a:lnTo>
                  <a:lnTo>
                    <a:pt x="327" y="1200"/>
                  </a:lnTo>
                  <a:lnTo>
                    <a:pt x="310" y="1172"/>
                  </a:lnTo>
                  <a:lnTo>
                    <a:pt x="310" y="1144"/>
                  </a:lnTo>
                  <a:lnTo>
                    <a:pt x="332" y="1129"/>
                  </a:lnTo>
                  <a:lnTo>
                    <a:pt x="355" y="1156"/>
                  </a:lnTo>
                  <a:lnTo>
                    <a:pt x="376" y="1172"/>
                  </a:lnTo>
                  <a:lnTo>
                    <a:pt x="399" y="1161"/>
                  </a:lnTo>
                  <a:lnTo>
                    <a:pt x="438" y="1172"/>
                  </a:lnTo>
                  <a:lnTo>
                    <a:pt x="470" y="1172"/>
                  </a:lnTo>
                  <a:lnTo>
                    <a:pt x="525" y="1167"/>
                  </a:lnTo>
                  <a:lnTo>
                    <a:pt x="498" y="1144"/>
                  </a:lnTo>
                  <a:lnTo>
                    <a:pt x="498" y="1112"/>
                  </a:lnTo>
                  <a:lnTo>
                    <a:pt x="520" y="1101"/>
                  </a:lnTo>
                  <a:lnTo>
                    <a:pt x="510" y="1084"/>
                  </a:lnTo>
                  <a:lnTo>
                    <a:pt x="514" y="1040"/>
                  </a:lnTo>
                  <a:lnTo>
                    <a:pt x="553" y="1023"/>
                  </a:lnTo>
                  <a:lnTo>
                    <a:pt x="576" y="991"/>
                  </a:lnTo>
                  <a:lnTo>
                    <a:pt x="525" y="991"/>
                  </a:lnTo>
                  <a:lnTo>
                    <a:pt x="525" y="1013"/>
                  </a:lnTo>
                  <a:lnTo>
                    <a:pt x="498" y="1019"/>
                  </a:lnTo>
                  <a:lnTo>
                    <a:pt x="487" y="968"/>
                  </a:lnTo>
                  <a:lnTo>
                    <a:pt x="482" y="930"/>
                  </a:lnTo>
                  <a:lnTo>
                    <a:pt x="465" y="908"/>
                  </a:lnTo>
                  <a:lnTo>
                    <a:pt x="493" y="864"/>
                  </a:lnTo>
                  <a:lnTo>
                    <a:pt x="542" y="832"/>
                  </a:lnTo>
                  <a:lnTo>
                    <a:pt x="504" y="815"/>
                  </a:lnTo>
                  <a:lnTo>
                    <a:pt x="454" y="832"/>
                  </a:lnTo>
                  <a:lnTo>
                    <a:pt x="432" y="853"/>
                  </a:lnTo>
                  <a:lnTo>
                    <a:pt x="404" y="826"/>
                  </a:lnTo>
                  <a:lnTo>
                    <a:pt x="393" y="870"/>
                  </a:lnTo>
                  <a:lnTo>
                    <a:pt x="360" y="842"/>
                  </a:lnTo>
                  <a:lnTo>
                    <a:pt x="327" y="820"/>
                  </a:lnTo>
                  <a:lnTo>
                    <a:pt x="327" y="859"/>
                  </a:lnTo>
                  <a:lnTo>
                    <a:pt x="316" y="864"/>
                  </a:lnTo>
                  <a:lnTo>
                    <a:pt x="304" y="809"/>
                  </a:lnTo>
                  <a:lnTo>
                    <a:pt x="272" y="804"/>
                  </a:lnTo>
                  <a:lnTo>
                    <a:pt x="283" y="770"/>
                  </a:lnTo>
                  <a:lnTo>
                    <a:pt x="332" y="749"/>
                  </a:lnTo>
                  <a:lnTo>
                    <a:pt x="355" y="721"/>
                  </a:lnTo>
                  <a:lnTo>
                    <a:pt x="387" y="677"/>
                  </a:lnTo>
                  <a:lnTo>
                    <a:pt x="376" y="639"/>
                  </a:lnTo>
                  <a:lnTo>
                    <a:pt x="372" y="611"/>
                  </a:lnTo>
                  <a:lnTo>
                    <a:pt x="399" y="588"/>
                  </a:lnTo>
                  <a:lnTo>
                    <a:pt x="360" y="583"/>
                  </a:lnTo>
                  <a:lnTo>
                    <a:pt x="349" y="616"/>
                  </a:lnTo>
                  <a:lnTo>
                    <a:pt x="338" y="588"/>
                  </a:lnTo>
                  <a:lnTo>
                    <a:pt x="316" y="600"/>
                  </a:lnTo>
                  <a:lnTo>
                    <a:pt x="332" y="628"/>
                  </a:lnTo>
                  <a:lnTo>
                    <a:pt x="338" y="666"/>
                  </a:lnTo>
                  <a:lnTo>
                    <a:pt x="332" y="688"/>
                  </a:lnTo>
                  <a:lnTo>
                    <a:pt x="310" y="688"/>
                  </a:lnTo>
                  <a:lnTo>
                    <a:pt x="293" y="655"/>
                  </a:lnTo>
                  <a:lnTo>
                    <a:pt x="283" y="677"/>
                  </a:lnTo>
                  <a:lnTo>
                    <a:pt x="249" y="704"/>
                  </a:lnTo>
                  <a:lnTo>
                    <a:pt x="233" y="677"/>
                  </a:lnTo>
                  <a:lnTo>
                    <a:pt x="261" y="628"/>
                  </a:lnTo>
                  <a:lnTo>
                    <a:pt x="283" y="600"/>
                  </a:lnTo>
                  <a:lnTo>
                    <a:pt x="299" y="577"/>
                  </a:lnTo>
                  <a:lnTo>
                    <a:pt x="289" y="556"/>
                  </a:lnTo>
                  <a:lnTo>
                    <a:pt x="304" y="528"/>
                  </a:lnTo>
                  <a:lnTo>
                    <a:pt x="310" y="473"/>
                  </a:lnTo>
                  <a:lnTo>
                    <a:pt x="338" y="451"/>
                  </a:lnTo>
                  <a:lnTo>
                    <a:pt x="338" y="401"/>
                  </a:lnTo>
                  <a:lnTo>
                    <a:pt x="316" y="418"/>
                  </a:lnTo>
                  <a:lnTo>
                    <a:pt x="310" y="435"/>
                  </a:lnTo>
                  <a:lnTo>
                    <a:pt x="289" y="473"/>
                  </a:lnTo>
                  <a:lnTo>
                    <a:pt x="275" y="468"/>
                  </a:lnTo>
                  <a:lnTo>
                    <a:pt x="251" y="473"/>
                  </a:lnTo>
                  <a:lnTo>
                    <a:pt x="227" y="475"/>
                  </a:lnTo>
                  <a:lnTo>
                    <a:pt x="208" y="462"/>
                  </a:lnTo>
                  <a:lnTo>
                    <a:pt x="266" y="429"/>
                  </a:lnTo>
                  <a:lnTo>
                    <a:pt x="238" y="412"/>
                  </a:lnTo>
                  <a:lnTo>
                    <a:pt x="249" y="374"/>
                  </a:lnTo>
                  <a:lnTo>
                    <a:pt x="304" y="380"/>
                  </a:lnTo>
                  <a:lnTo>
                    <a:pt x="304" y="346"/>
                  </a:lnTo>
                  <a:lnTo>
                    <a:pt x="310" y="329"/>
                  </a:lnTo>
                  <a:lnTo>
                    <a:pt x="327" y="335"/>
                  </a:lnTo>
                  <a:lnTo>
                    <a:pt x="332" y="318"/>
                  </a:lnTo>
                  <a:lnTo>
                    <a:pt x="310" y="308"/>
                  </a:lnTo>
                  <a:lnTo>
                    <a:pt x="283" y="318"/>
                  </a:lnTo>
                  <a:lnTo>
                    <a:pt x="277" y="302"/>
                  </a:lnTo>
                  <a:lnTo>
                    <a:pt x="299" y="280"/>
                  </a:lnTo>
                  <a:lnTo>
                    <a:pt x="277" y="275"/>
                  </a:lnTo>
                  <a:lnTo>
                    <a:pt x="261" y="291"/>
                  </a:lnTo>
                  <a:lnTo>
                    <a:pt x="233" y="269"/>
                  </a:lnTo>
                  <a:lnTo>
                    <a:pt x="255" y="236"/>
                  </a:lnTo>
                  <a:lnTo>
                    <a:pt x="227" y="225"/>
                  </a:lnTo>
                  <a:lnTo>
                    <a:pt x="233" y="193"/>
                  </a:lnTo>
                  <a:lnTo>
                    <a:pt x="272" y="203"/>
                  </a:lnTo>
                  <a:lnTo>
                    <a:pt x="272" y="165"/>
                  </a:lnTo>
                  <a:lnTo>
                    <a:pt x="293" y="165"/>
                  </a:lnTo>
                  <a:lnTo>
                    <a:pt x="304" y="203"/>
                  </a:lnTo>
                  <a:lnTo>
                    <a:pt x="310" y="236"/>
                  </a:lnTo>
                  <a:lnTo>
                    <a:pt x="310" y="263"/>
                  </a:lnTo>
                  <a:lnTo>
                    <a:pt x="349" y="269"/>
                  </a:lnTo>
                  <a:lnTo>
                    <a:pt x="332" y="220"/>
                  </a:lnTo>
                  <a:lnTo>
                    <a:pt x="355" y="203"/>
                  </a:lnTo>
                  <a:lnTo>
                    <a:pt x="355" y="181"/>
                  </a:lnTo>
                  <a:lnTo>
                    <a:pt x="344" y="159"/>
                  </a:lnTo>
                  <a:lnTo>
                    <a:pt x="372" y="131"/>
                  </a:lnTo>
                  <a:lnTo>
                    <a:pt x="400" y="135"/>
                  </a:lnTo>
                  <a:lnTo>
                    <a:pt x="416" y="139"/>
                  </a:lnTo>
                  <a:lnTo>
                    <a:pt x="427" y="137"/>
                  </a:lnTo>
                  <a:lnTo>
                    <a:pt x="415" y="98"/>
                  </a:lnTo>
                  <a:lnTo>
                    <a:pt x="432" y="87"/>
                  </a:lnTo>
                  <a:lnTo>
                    <a:pt x="421" y="55"/>
                  </a:lnTo>
                  <a:lnTo>
                    <a:pt x="448" y="55"/>
                  </a:lnTo>
                  <a:lnTo>
                    <a:pt x="454" y="32"/>
                  </a:lnTo>
                  <a:lnTo>
                    <a:pt x="465" y="4"/>
                  </a:lnTo>
                  <a:lnTo>
                    <a:pt x="476" y="49"/>
                  </a:lnTo>
                  <a:lnTo>
                    <a:pt x="487" y="32"/>
                  </a:lnTo>
                  <a:lnTo>
                    <a:pt x="476" y="0"/>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42" name="Freeform 82"/>
            <p:cNvSpPr>
              <a:spLocks/>
            </p:cNvSpPr>
            <p:nvPr/>
          </p:nvSpPr>
          <p:spPr bwMode="auto">
            <a:xfrm>
              <a:off x="2357438" y="3078163"/>
              <a:ext cx="82550" cy="74612"/>
            </a:xfrm>
            <a:custGeom>
              <a:avLst/>
              <a:gdLst>
                <a:gd name="T0" fmla="*/ 2147483647 w 111"/>
                <a:gd name="T1" fmla="*/ 0 h 111"/>
                <a:gd name="T2" fmla="*/ 2147483647 w 111"/>
                <a:gd name="T3" fmla="*/ 2147483647 h 111"/>
                <a:gd name="T4" fmla="*/ 2147483647 w 111"/>
                <a:gd name="T5" fmla="*/ 2147483647 h 111"/>
                <a:gd name="T6" fmla="*/ 2147483647 w 111"/>
                <a:gd name="T7" fmla="*/ 2147483647 h 111"/>
                <a:gd name="T8" fmla="*/ 0 w 111"/>
                <a:gd name="T9" fmla="*/ 2147483647 h 111"/>
                <a:gd name="T10" fmla="*/ 2147483647 w 111"/>
                <a:gd name="T11" fmla="*/ 2147483647 h 111"/>
                <a:gd name="T12" fmla="*/ 2147483647 w 111"/>
                <a:gd name="T13" fmla="*/ 2147483647 h 111"/>
                <a:gd name="T14" fmla="*/ 2147483647 w 111"/>
                <a:gd name="T15" fmla="*/ 2147483647 h 111"/>
                <a:gd name="T16" fmla="*/ 2147483647 w 111"/>
                <a:gd name="T17" fmla="*/ 2147483647 h 111"/>
                <a:gd name="T18" fmla="*/ 2147483647 w 111"/>
                <a:gd name="T19" fmla="*/ 2147483647 h 111"/>
                <a:gd name="T20" fmla="*/ 2147483647 w 111"/>
                <a:gd name="T21" fmla="*/ 2147483647 h 111"/>
                <a:gd name="T22" fmla="*/ 2147483647 w 111"/>
                <a:gd name="T23" fmla="*/ 2147483647 h 111"/>
                <a:gd name="T24" fmla="*/ 2147483647 w 111"/>
                <a:gd name="T25" fmla="*/ 0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1"/>
                <a:gd name="T40" fmla="*/ 0 h 111"/>
                <a:gd name="T41" fmla="*/ 111 w 111"/>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1" h="111">
                  <a:moveTo>
                    <a:pt x="111" y="0"/>
                  </a:moveTo>
                  <a:lnTo>
                    <a:pt x="72" y="34"/>
                  </a:lnTo>
                  <a:lnTo>
                    <a:pt x="51" y="39"/>
                  </a:lnTo>
                  <a:lnTo>
                    <a:pt x="17" y="50"/>
                  </a:lnTo>
                  <a:lnTo>
                    <a:pt x="0" y="72"/>
                  </a:lnTo>
                  <a:lnTo>
                    <a:pt x="12" y="89"/>
                  </a:lnTo>
                  <a:lnTo>
                    <a:pt x="28" y="72"/>
                  </a:lnTo>
                  <a:lnTo>
                    <a:pt x="17" y="111"/>
                  </a:lnTo>
                  <a:lnTo>
                    <a:pt x="45" y="105"/>
                  </a:lnTo>
                  <a:lnTo>
                    <a:pt x="72" y="77"/>
                  </a:lnTo>
                  <a:lnTo>
                    <a:pt x="83" y="50"/>
                  </a:lnTo>
                  <a:lnTo>
                    <a:pt x="111" y="22"/>
                  </a:lnTo>
                  <a:lnTo>
                    <a:pt x="111" y="0"/>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43" name="Freeform 83"/>
            <p:cNvSpPr>
              <a:spLocks/>
            </p:cNvSpPr>
            <p:nvPr/>
          </p:nvSpPr>
          <p:spPr bwMode="auto">
            <a:xfrm>
              <a:off x="2460626" y="3357563"/>
              <a:ext cx="50800" cy="42862"/>
            </a:xfrm>
            <a:custGeom>
              <a:avLst/>
              <a:gdLst>
                <a:gd name="T0" fmla="*/ 2147483647 w 68"/>
                <a:gd name="T1" fmla="*/ 0 h 61"/>
                <a:gd name="T2" fmla="*/ 2147483647 w 68"/>
                <a:gd name="T3" fmla="*/ 2147483647 h 61"/>
                <a:gd name="T4" fmla="*/ 2147483647 w 68"/>
                <a:gd name="T5" fmla="*/ 2147483647 h 61"/>
                <a:gd name="T6" fmla="*/ 0 w 68"/>
                <a:gd name="T7" fmla="*/ 2147483647 h 61"/>
                <a:gd name="T8" fmla="*/ 2147483647 w 68"/>
                <a:gd name="T9" fmla="*/ 2147483647 h 61"/>
                <a:gd name="T10" fmla="*/ 2147483647 w 68"/>
                <a:gd name="T11" fmla="*/ 2147483647 h 61"/>
                <a:gd name="T12" fmla="*/ 2147483647 w 68"/>
                <a:gd name="T13" fmla="*/ 2147483647 h 61"/>
                <a:gd name="T14" fmla="*/ 2147483647 w 68"/>
                <a:gd name="T15" fmla="*/ 2147483647 h 61"/>
                <a:gd name="T16" fmla="*/ 2147483647 w 68"/>
                <a:gd name="T17" fmla="*/ 0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61"/>
                <a:gd name="T29" fmla="*/ 68 w 68"/>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61">
                  <a:moveTo>
                    <a:pt x="56" y="0"/>
                  </a:moveTo>
                  <a:lnTo>
                    <a:pt x="40" y="17"/>
                  </a:lnTo>
                  <a:lnTo>
                    <a:pt x="17" y="34"/>
                  </a:lnTo>
                  <a:lnTo>
                    <a:pt x="0" y="61"/>
                  </a:lnTo>
                  <a:lnTo>
                    <a:pt x="28" y="61"/>
                  </a:lnTo>
                  <a:lnTo>
                    <a:pt x="45" y="44"/>
                  </a:lnTo>
                  <a:lnTo>
                    <a:pt x="68" y="38"/>
                  </a:lnTo>
                  <a:lnTo>
                    <a:pt x="68" y="17"/>
                  </a:lnTo>
                  <a:lnTo>
                    <a:pt x="56" y="0"/>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44" name="Freeform 84"/>
            <p:cNvSpPr>
              <a:spLocks/>
            </p:cNvSpPr>
            <p:nvPr/>
          </p:nvSpPr>
          <p:spPr bwMode="auto">
            <a:xfrm>
              <a:off x="2373313" y="2730500"/>
              <a:ext cx="104775" cy="98425"/>
            </a:xfrm>
            <a:custGeom>
              <a:avLst/>
              <a:gdLst>
                <a:gd name="T0" fmla="*/ 2147483647 w 138"/>
                <a:gd name="T1" fmla="*/ 2147483647 h 144"/>
                <a:gd name="T2" fmla="*/ 2147483647 w 138"/>
                <a:gd name="T3" fmla="*/ 2147483647 h 144"/>
                <a:gd name="T4" fmla="*/ 2147483647 w 138"/>
                <a:gd name="T5" fmla="*/ 2147483647 h 144"/>
                <a:gd name="T6" fmla="*/ 2147483647 w 138"/>
                <a:gd name="T7" fmla="*/ 2147483647 h 144"/>
                <a:gd name="T8" fmla="*/ 2147483647 w 138"/>
                <a:gd name="T9" fmla="*/ 0 h 144"/>
                <a:gd name="T10" fmla="*/ 2147483647 w 138"/>
                <a:gd name="T11" fmla="*/ 0 h 144"/>
                <a:gd name="T12" fmla="*/ 2147483647 w 138"/>
                <a:gd name="T13" fmla="*/ 2147483647 h 144"/>
                <a:gd name="T14" fmla="*/ 2147483647 w 138"/>
                <a:gd name="T15" fmla="*/ 2147483647 h 144"/>
                <a:gd name="T16" fmla="*/ 2147483647 w 138"/>
                <a:gd name="T17" fmla="*/ 2147483647 h 144"/>
                <a:gd name="T18" fmla="*/ 2147483647 w 138"/>
                <a:gd name="T19" fmla="*/ 2147483647 h 144"/>
                <a:gd name="T20" fmla="*/ 2147483647 w 138"/>
                <a:gd name="T21" fmla="*/ 2147483647 h 144"/>
                <a:gd name="T22" fmla="*/ 2147483647 w 138"/>
                <a:gd name="T23" fmla="*/ 2147483647 h 144"/>
                <a:gd name="T24" fmla="*/ 0 w 138"/>
                <a:gd name="T25" fmla="*/ 2147483647 h 144"/>
                <a:gd name="T26" fmla="*/ 2147483647 w 138"/>
                <a:gd name="T27" fmla="*/ 2147483647 h 144"/>
                <a:gd name="T28" fmla="*/ 2147483647 w 138"/>
                <a:gd name="T29" fmla="*/ 2147483647 h 144"/>
                <a:gd name="T30" fmla="*/ 2147483647 w 138"/>
                <a:gd name="T31" fmla="*/ 2147483647 h 144"/>
                <a:gd name="T32" fmla="*/ 2147483647 w 138"/>
                <a:gd name="T33" fmla="*/ 2147483647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8"/>
                <a:gd name="T52" fmla="*/ 0 h 144"/>
                <a:gd name="T53" fmla="*/ 138 w 138"/>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8" h="144">
                  <a:moveTo>
                    <a:pt x="22" y="51"/>
                  </a:moveTo>
                  <a:lnTo>
                    <a:pt x="44" y="28"/>
                  </a:lnTo>
                  <a:lnTo>
                    <a:pt x="60" y="45"/>
                  </a:lnTo>
                  <a:lnTo>
                    <a:pt x="77" y="23"/>
                  </a:lnTo>
                  <a:lnTo>
                    <a:pt x="104" y="0"/>
                  </a:lnTo>
                  <a:lnTo>
                    <a:pt x="138" y="0"/>
                  </a:lnTo>
                  <a:lnTo>
                    <a:pt x="138" y="23"/>
                  </a:lnTo>
                  <a:lnTo>
                    <a:pt x="138" y="55"/>
                  </a:lnTo>
                  <a:lnTo>
                    <a:pt x="115" y="61"/>
                  </a:lnTo>
                  <a:lnTo>
                    <a:pt x="104" y="106"/>
                  </a:lnTo>
                  <a:lnTo>
                    <a:pt x="72" y="117"/>
                  </a:lnTo>
                  <a:lnTo>
                    <a:pt x="28" y="144"/>
                  </a:lnTo>
                  <a:lnTo>
                    <a:pt x="0" y="127"/>
                  </a:lnTo>
                  <a:lnTo>
                    <a:pt x="32" y="100"/>
                  </a:lnTo>
                  <a:lnTo>
                    <a:pt x="22" y="78"/>
                  </a:lnTo>
                  <a:lnTo>
                    <a:pt x="11" y="55"/>
                  </a:lnTo>
                  <a:lnTo>
                    <a:pt x="22" y="51"/>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45" name="Freeform 86"/>
            <p:cNvSpPr>
              <a:spLocks/>
            </p:cNvSpPr>
            <p:nvPr/>
          </p:nvSpPr>
          <p:spPr bwMode="auto">
            <a:xfrm>
              <a:off x="2327276" y="2820988"/>
              <a:ext cx="46037" cy="95250"/>
            </a:xfrm>
            <a:custGeom>
              <a:avLst/>
              <a:gdLst>
                <a:gd name="T0" fmla="*/ 2147483647 w 61"/>
                <a:gd name="T1" fmla="*/ 2147483647 h 138"/>
                <a:gd name="T2" fmla="*/ 2147483647 w 61"/>
                <a:gd name="T3" fmla="*/ 2147483647 h 138"/>
                <a:gd name="T4" fmla="*/ 2147483647 w 61"/>
                <a:gd name="T5" fmla="*/ 2147483647 h 138"/>
                <a:gd name="T6" fmla="*/ 2147483647 w 61"/>
                <a:gd name="T7" fmla="*/ 2147483647 h 138"/>
                <a:gd name="T8" fmla="*/ 0 w 61"/>
                <a:gd name="T9" fmla="*/ 2147483647 h 138"/>
                <a:gd name="T10" fmla="*/ 0 w 61"/>
                <a:gd name="T11" fmla="*/ 2147483647 h 138"/>
                <a:gd name="T12" fmla="*/ 2147483647 w 61"/>
                <a:gd name="T13" fmla="*/ 2147483647 h 138"/>
                <a:gd name="T14" fmla="*/ 2147483647 w 61"/>
                <a:gd name="T15" fmla="*/ 2147483647 h 138"/>
                <a:gd name="T16" fmla="*/ 0 w 61"/>
                <a:gd name="T17" fmla="*/ 2147483647 h 138"/>
                <a:gd name="T18" fmla="*/ 2147483647 w 61"/>
                <a:gd name="T19" fmla="*/ 0 h 138"/>
                <a:gd name="T20" fmla="*/ 2147483647 w 61"/>
                <a:gd name="T21" fmla="*/ 2147483647 h 138"/>
                <a:gd name="T22" fmla="*/ 2147483647 w 61"/>
                <a:gd name="T23" fmla="*/ 2147483647 h 1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138"/>
                <a:gd name="T38" fmla="*/ 61 w 61"/>
                <a:gd name="T39" fmla="*/ 138 h 1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138">
                  <a:moveTo>
                    <a:pt x="61" y="28"/>
                  </a:moveTo>
                  <a:lnTo>
                    <a:pt x="38" y="71"/>
                  </a:lnTo>
                  <a:lnTo>
                    <a:pt x="38" y="99"/>
                  </a:lnTo>
                  <a:lnTo>
                    <a:pt x="16" y="138"/>
                  </a:lnTo>
                  <a:lnTo>
                    <a:pt x="0" y="121"/>
                  </a:lnTo>
                  <a:lnTo>
                    <a:pt x="0" y="88"/>
                  </a:lnTo>
                  <a:lnTo>
                    <a:pt x="16" y="66"/>
                  </a:lnTo>
                  <a:lnTo>
                    <a:pt x="23" y="39"/>
                  </a:lnTo>
                  <a:lnTo>
                    <a:pt x="0" y="22"/>
                  </a:lnTo>
                  <a:lnTo>
                    <a:pt x="23" y="0"/>
                  </a:lnTo>
                  <a:lnTo>
                    <a:pt x="44" y="11"/>
                  </a:lnTo>
                  <a:lnTo>
                    <a:pt x="61" y="28"/>
                  </a:lnTo>
                  <a:close/>
                </a:path>
              </a:pathLst>
            </a:custGeom>
            <a:grpFill/>
            <a:ln w="11176">
              <a:noFill/>
              <a:prstDash val="solid"/>
              <a:round/>
              <a:headEnd/>
              <a:tailEnd/>
            </a:ln>
          </p:spPr>
          <p:txBody>
            <a:bodyPr/>
            <a:lstStyle/>
            <a:p>
              <a:pPr>
                <a:defRPr/>
              </a:pPr>
              <a:endParaRPr lang="en-US" sz="2400">
                <a:solidFill>
                  <a:srgbClr val="000000"/>
                </a:solidFill>
              </a:endParaRPr>
            </a:p>
          </p:txBody>
        </p:sp>
        <p:sp>
          <p:nvSpPr>
            <p:cNvPr id="246" name="Freeform 88"/>
            <p:cNvSpPr>
              <a:spLocks/>
            </p:cNvSpPr>
            <p:nvPr/>
          </p:nvSpPr>
          <p:spPr bwMode="auto">
            <a:xfrm>
              <a:off x="2736851" y="2673350"/>
              <a:ext cx="60325" cy="74613"/>
            </a:xfrm>
            <a:custGeom>
              <a:avLst/>
              <a:gdLst>
                <a:gd name="T0" fmla="*/ 2147483647 w 83"/>
                <a:gd name="T1" fmla="*/ 2147483647 h 110"/>
                <a:gd name="T2" fmla="*/ 2147483647 w 83"/>
                <a:gd name="T3" fmla="*/ 2147483647 h 110"/>
                <a:gd name="T4" fmla="*/ 2147483647 w 83"/>
                <a:gd name="T5" fmla="*/ 2147483647 h 110"/>
                <a:gd name="T6" fmla="*/ 2147483647 w 83"/>
                <a:gd name="T7" fmla="*/ 2147483647 h 110"/>
                <a:gd name="T8" fmla="*/ 2147483647 w 83"/>
                <a:gd name="T9" fmla="*/ 0 h 110"/>
                <a:gd name="T10" fmla="*/ 2147483647 w 83"/>
                <a:gd name="T11" fmla="*/ 2147483647 h 110"/>
                <a:gd name="T12" fmla="*/ 2147483647 w 83"/>
                <a:gd name="T13" fmla="*/ 2147483647 h 110"/>
                <a:gd name="T14" fmla="*/ 0 w 83"/>
                <a:gd name="T15" fmla="*/ 2147483647 h 110"/>
                <a:gd name="T16" fmla="*/ 2147483647 w 83"/>
                <a:gd name="T17" fmla="*/ 2147483647 h 110"/>
                <a:gd name="T18" fmla="*/ 2147483647 w 83"/>
                <a:gd name="T19" fmla="*/ 2147483647 h 110"/>
                <a:gd name="T20" fmla="*/ 2147483647 w 83"/>
                <a:gd name="T21" fmla="*/ 2147483647 h 110"/>
                <a:gd name="T22" fmla="*/ 2147483647 w 83"/>
                <a:gd name="T23" fmla="*/ 2147483647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3"/>
                <a:gd name="T37" fmla="*/ 0 h 110"/>
                <a:gd name="T38" fmla="*/ 83 w 83"/>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3" h="110">
                  <a:moveTo>
                    <a:pt x="66" y="110"/>
                  </a:moveTo>
                  <a:lnTo>
                    <a:pt x="56" y="82"/>
                  </a:lnTo>
                  <a:lnTo>
                    <a:pt x="83" y="61"/>
                  </a:lnTo>
                  <a:lnTo>
                    <a:pt x="50" y="44"/>
                  </a:lnTo>
                  <a:lnTo>
                    <a:pt x="62" y="0"/>
                  </a:lnTo>
                  <a:lnTo>
                    <a:pt x="22" y="12"/>
                  </a:lnTo>
                  <a:lnTo>
                    <a:pt x="22" y="44"/>
                  </a:lnTo>
                  <a:lnTo>
                    <a:pt x="0" y="61"/>
                  </a:lnTo>
                  <a:lnTo>
                    <a:pt x="11" y="78"/>
                  </a:lnTo>
                  <a:lnTo>
                    <a:pt x="45" y="67"/>
                  </a:lnTo>
                  <a:lnTo>
                    <a:pt x="50" y="99"/>
                  </a:lnTo>
                  <a:lnTo>
                    <a:pt x="66" y="110"/>
                  </a:lnTo>
                  <a:close/>
                </a:path>
              </a:pathLst>
            </a:custGeom>
            <a:grpFill/>
            <a:ln w="11176">
              <a:noFill/>
              <a:prstDash val="solid"/>
              <a:round/>
              <a:headEnd/>
              <a:tailEnd/>
            </a:ln>
          </p:spPr>
          <p:txBody>
            <a:bodyPr/>
            <a:lstStyle/>
            <a:p>
              <a:pPr>
                <a:defRPr/>
              </a:pPr>
              <a:endParaRPr lang="en-US" sz="2400">
                <a:solidFill>
                  <a:srgbClr val="000000"/>
                </a:solidFill>
              </a:endParaRPr>
            </a:p>
          </p:txBody>
        </p:sp>
      </p:grpSp>
    </p:spTree>
    <p:extLst>
      <p:ext uri="{BB962C8B-B14F-4D97-AF65-F5344CB8AC3E}">
        <p14:creationId xmlns:p14="http://schemas.microsoft.com/office/powerpoint/2010/main" val="4107478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0</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sk-SK" sz="2200" dirty="0" err="1" smtClean="0">
                <a:solidFill>
                  <a:srgbClr val="000000"/>
                </a:solidFill>
                <a:latin typeface="Calibri" panose="020F0502020204030204"/>
              </a:rPr>
              <a:t>Product</a:t>
            </a:r>
            <a:r>
              <a:rPr lang="sk-SK" sz="2200" dirty="0" smtClean="0">
                <a:solidFill>
                  <a:srgbClr val="000000"/>
                </a:solidFill>
                <a:latin typeface="Calibri" panose="020F0502020204030204"/>
              </a:rPr>
              <a:t> and </a:t>
            </a:r>
            <a:r>
              <a:rPr lang="sk-SK" sz="2200" dirty="0" err="1" smtClean="0">
                <a:solidFill>
                  <a:srgbClr val="000000"/>
                </a:solidFill>
                <a:latin typeface="Calibri" panose="020F0502020204030204"/>
              </a:rPr>
              <a:t>Process</a:t>
            </a:r>
            <a:r>
              <a:rPr lang="en-US" sz="2200" dirty="0" smtClean="0">
                <a:solidFill>
                  <a:srgbClr val="000000"/>
                </a:solidFill>
                <a:latin typeface="Calibri" panose="020F0502020204030204"/>
              </a:rPr>
              <a:t> – Main Input</a:t>
            </a:r>
            <a:endParaRPr lang="en-US" sz="2200" dirty="0">
              <a:solidFill>
                <a:srgbClr val="000000"/>
              </a:solidFill>
              <a:latin typeface="Calibri" panose="020F0502020204030204"/>
            </a:endParaRPr>
          </a:p>
        </p:txBody>
      </p:sp>
      <p:sp>
        <p:nvSpPr>
          <p:cNvPr id="18" name="Rectangle 12"/>
          <p:cNvSpPr txBox="1">
            <a:spLocks noChangeArrowheads="1"/>
          </p:cNvSpPr>
          <p:nvPr/>
        </p:nvSpPr>
        <p:spPr>
          <a:xfrm>
            <a:off x="2735262" y="1617160"/>
            <a:ext cx="8345821" cy="1260475"/>
          </a:xfrm>
          <a:prstGeom prst="rect">
            <a:avLst/>
          </a:prstGeom>
          <a:noFill/>
          <a:ln w="19050">
            <a:solidFill>
              <a:srgbClr val="C0C0C0"/>
            </a:solidFill>
          </a:ln>
        </p:spPr>
        <p:txBody>
          <a:bodyPr vert="horz" wrap="square" lIns="90000" tIns="90000" rIns="90000" bIns="9000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fontAlgn="t">
              <a:buNone/>
            </a:pPr>
            <a:r>
              <a:rPr lang="en-US" sz="1600" dirty="0">
                <a:solidFill>
                  <a:srgbClr val="000000"/>
                </a:solidFill>
              </a:rPr>
              <a:t>A FAT of 12,5’ (or lower) would reduce the volume BSPs could offer from thermal units (-10 to -40%), which can have impact on liquidity.</a:t>
            </a:r>
          </a:p>
        </p:txBody>
      </p:sp>
      <p:sp>
        <p:nvSpPr>
          <p:cNvPr id="19" name="AutoShape 11"/>
          <p:cNvSpPr>
            <a:spLocks noChangeArrowheads="1"/>
          </p:cNvSpPr>
          <p:nvPr/>
        </p:nvSpPr>
        <p:spPr bwMode="gray">
          <a:xfrm>
            <a:off x="468313" y="1466850"/>
            <a:ext cx="2176916" cy="1646464"/>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20" name="Rectangle 13"/>
          <p:cNvSpPr>
            <a:spLocks noChangeArrowheads="1"/>
          </p:cNvSpPr>
          <p:nvPr/>
        </p:nvSpPr>
        <p:spPr bwMode="gray">
          <a:xfrm>
            <a:off x="641350" y="1665288"/>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FAT</a:t>
            </a:r>
            <a:endParaRPr lang="en-US" sz="1600" b="1" dirty="0">
              <a:solidFill>
                <a:srgbClr val="000000"/>
              </a:solidFill>
              <a:latin typeface="Arial" panose="020B0604020202020204" pitchFamily="34" charset="0"/>
            </a:endParaRPr>
          </a:p>
        </p:txBody>
      </p:sp>
      <p:sp>
        <p:nvSpPr>
          <p:cNvPr id="9" name="AutoShape 7"/>
          <p:cNvSpPr>
            <a:spLocks noChangeArrowheads="1"/>
          </p:cNvSpPr>
          <p:nvPr/>
        </p:nvSpPr>
        <p:spPr bwMode="auto">
          <a:xfrm rot="5400000">
            <a:off x="6266581" y="1169778"/>
            <a:ext cx="818602" cy="5186041"/>
          </a:xfrm>
          <a:prstGeom prst="homePlate">
            <a:avLst>
              <a:gd name="adj" fmla="val 26255"/>
            </a:avLst>
          </a:prstGeom>
          <a:solidFill>
            <a:srgbClr val="CCCCCC"/>
          </a:solidFill>
          <a:ln w="6350" cap="rnd">
            <a:noFill/>
            <a:miter lim="800000"/>
            <a:headEnd/>
            <a:tailEnd/>
          </a:ln>
        </p:spPr>
        <p:txBody>
          <a:bodyPr rot="10800000" vert="eaVert" wrap="none" lIns="45720" rIns="45720" anchor="ctr"/>
          <a:lstStyle/>
          <a:p>
            <a:pPr algn="ctr" eaLnBrk="0" fontAlgn="base" hangingPunct="0">
              <a:spcBef>
                <a:spcPct val="0"/>
              </a:spcBef>
              <a:spcAft>
                <a:spcPct val="0"/>
              </a:spcAft>
            </a:pPr>
            <a:r>
              <a:rPr lang="en-US" sz="2000" dirty="0" smtClean="0">
                <a:solidFill>
                  <a:srgbClr val="000000"/>
                </a:solidFill>
              </a:rPr>
              <a:t>Current Consideration in the Project</a:t>
            </a:r>
            <a:endParaRPr lang="en-US" sz="2000" dirty="0">
              <a:solidFill>
                <a:srgbClr val="000000"/>
              </a:solidFill>
            </a:endParaRPr>
          </a:p>
        </p:txBody>
      </p:sp>
      <p:sp>
        <p:nvSpPr>
          <p:cNvPr id="2" name="TextBox 1"/>
          <p:cNvSpPr txBox="1"/>
          <p:nvPr/>
        </p:nvSpPr>
        <p:spPr>
          <a:xfrm>
            <a:off x="2645229" y="4172100"/>
            <a:ext cx="8345821" cy="1200329"/>
          </a:xfrm>
          <a:prstGeom prst="rect">
            <a:avLst/>
          </a:prstGeom>
          <a:solidFill>
            <a:schemeClr val="bg1">
              <a:lumMod val="50000"/>
            </a:schemeClr>
          </a:solidFill>
        </p:spPr>
        <p:txBody>
          <a:bodyPr wrap="square" rtlCol="0">
            <a:spAutoFit/>
          </a:bodyPr>
          <a:lstStyle/>
          <a:p>
            <a:pPr algn="just"/>
            <a:r>
              <a:rPr lang="en-US" dirty="0" smtClean="0">
                <a:solidFill>
                  <a:schemeClr val="bg1"/>
                </a:solidFill>
              </a:rPr>
              <a:t>The Project currently </a:t>
            </a:r>
            <a:r>
              <a:rPr lang="en-US" dirty="0" err="1" smtClean="0">
                <a:solidFill>
                  <a:schemeClr val="bg1"/>
                </a:solidFill>
              </a:rPr>
              <a:t>favours</a:t>
            </a:r>
            <a:r>
              <a:rPr lang="en-US" dirty="0" smtClean="0">
                <a:solidFill>
                  <a:schemeClr val="bg1"/>
                </a:solidFill>
              </a:rPr>
              <a:t> to set the FAT as long as possible most likely at 12,5 minutes since as we “consolidate” </a:t>
            </a:r>
            <a:r>
              <a:rPr lang="en-US" dirty="0">
                <a:solidFill>
                  <a:schemeClr val="bg1"/>
                </a:solidFill>
              </a:rPr>
              <a:t>the reserves through E</a:t>
            </a:r>
            <a:r>
              <a:rPr lang="en-US" dirty="0" smtClean="0">
                <a:solidFill>
                  <a:schemeClr val="bg1"/>
                </a:solidFill>
              </a:rPr>
              <a:t>urope </a:t>
            </a:r>
            <a:r>
              <a:rPr lang="en-US" dirty="0">
                <a:solidFill>
                  <a:schemeClr val="bg1"/>
                </a:solidFill>
              </a:rPr>
              <a:t>to get benefits of the </a:t>
            </a:r>
            <a:r>
              <a:rPr lang="en-US" dirty="0" smtClean="0">
                <a:solidFill>
                  <a:schemeClr val="bg1"/>
                </a:solidFill>
              </a:rPr>
              <a:t>cooperation. This sets new requirements on the processing </a:t>
            </a:r>
            <a:r>
              <a:rPr lang="en-US" dirty="0">
                <a:solidFill>
                  <a:schemeClr val="bg1"/>
                </a:solidFill>
              </a:rPr>
              <a:t>time linked to this cooperation: </a:t>
            </a:r>
            <a:r>
              <a:rPr lang="en-US" dirty="0" smtClean="0">
                <a:solidFill>
                  <a:schemeClr val="bg1"/>
                </a:solidFill>
              </a:rPr>
              <a:t>thus the platform will probably need 2.5</a:t>
            </a:r>
            <a:r>
              <a:rPr lang="en-US" dirty="0">
                <a:solidFill>
                  <a:schemeClr val="bg1"/>
                </a:solidFill>
              </a:rPr>
              <a:t>’ </a:t>
            </a:r>
            <a:r>
              <a:rPr lang="en-US" dirty="0" smtClean="0">
                <a:solidFill>
                  <a:schemeClr val="bg1"/>
                </a:solidFill>
              </a:rPr>
              <a:t>for this purpose</a:t>
            </a:r>
            <a:endParaRPr lang="cs-CZ" dirty="0">
              <a:solidFill>
                <a:schemeClr val="bg1"/>
              </a:solidFill>
            </a:endParaRPr>
          </a:p>
        </p:txBody>
      </p:sp>
    </p:spTree>
    <p:extLst>
      <p:ext uri="{BB962C8B-B14F-4D97-AF65-F5344CB8AC3E}">
        <p14:creationId xmlns:p14="http://schemas.microsoft.com/office/powerpoint/2010/main" val="1422456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1</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sk-SK" sz="2200" dirty="0" err="1" smtClean="0">
                <a:solidFill>
                  <a:srgbClr val="000000"/>
                </a:solidFill>
                <a:latin typeface="Calibri" panose="020F0502020204030204"/>
              </a:rPr>
              <a:t>Product</a:t>
            </a:r>
            <a:r>
              <a:rPr lang="sk-SK" sz="2200" dirty="0" smtClean="0">
                <a:solidFill>
                  <a:srgbClr val="000000"/>
                </a:solidFill>
                <a:latin typeface="Calibri" panose="020F0502020204030204"/>
              </a:rPr>
              <a:t> and </a:t>
            </a:r>
            <a:r>
              <a:rPr lang="sk-SK" sz="2200" dirty="0" err="1" smtClean="0">
                <a:solidFill>
                  <a:srgbClr val="000000"/>
                </a:solidFill>
                <a:latin typeface="Calibri" panose="020F0502020204030204"/>
              </a:rPr>
              <a:t>Process</a:t>
            </a:r>
            <a:r>
              <a:rPr lang="en-US" sz="2200" dirty="0" smtClean="0">
                <a:solidFill>
                  <a:srgbClr val="000000"/>
                </a:solidFill>
                <a:latin typeface="Calibri" panose="020F0502020204030204"/>
              </a:rPr>
              <a:t> – Main Input</a:t>
            </a:r>
            <a:endParaRPr lang="en-US" sz="2200" dirty="0">
              <a:solidFill>
                <a:srgbClr val="000000"/>
              </a:solidFill>
              <a:latin typeface="Calibri" panose="020F0502020204030204"/>
            </a:endParaRPr>
          </a:p>
        </p:txBody>
      </p:sp>
      <p:sp>
        <p:nvSpPr>
          <p:cNvPr id="19" name="AutoShape 11"/>
          <p:cNvSpPr>
            <a:spLocks noChangeArrowheads="1"/>
          </p:cNvSpPr>
          <p:nvPr/>
        </p:nvSpPr>
        <p:spPr bwMode="gray">
          <a:xfrm>
            <a:off x="468313" y="1466850"/>
            <a:ext cx="2159000" cy="4508500"/>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21" name="Rectangle 14"/>
          <p:cNvSpPr>
            <a:spLocks noChangeArrowheads="1"/>
          </p:cNvSpPr>
          <p:nvPr/>
        </p:nvSpPr>
        <p:spPr bwMode="auto">
          <a:xfrm>
            <a:off x="2735263" y="1609492"/>
            <a:ext cx="8345820" cy="1260475"/>
          </a:xfrm>
          <a:prstGeom prst="rect">
            <a:avLst/>
          </a:prstGeom>
          <a:noFill/>
          <a:ln w="19050">
            <a:solidFill>
              <a:srgbClr val="C0C0C0"/>
            </a:solidFill>
            <a:miter lim="800000"/>
            <a:headEnd/>
            <a:tailEnd/>
          </a:ln>
          <a:effectLst/>
        </p:spPr>
        <p:txBody>
          <a:bodyPr vert="horz" wrap="square" lIns="90000" tIns="90000" rIns="90000" bIns="90000" anchor="t"/>
          <a:lstStyle/>
          <a:p>
            <a:pPr lvl="0" algn="just" defTabSz="514350">
              <a:spcAft>
                <a:spcPts val="600"/>
              </a:spcAft>
              <a:defRPr/>
            </a:pPr>
            <a:r>
              <a:rPr lang="en-US" sz="1600" dirty="0"/>
              <a:t>Opportunity for the BSPs to have a </a:t>
            </a:r>
            <a:r>
              <a:rPr lang="en-US" sz="1600" b="1" dirty="0"/>
              <a:t>limitation on number of QHs activated</a:t>
            </a:r>
            <a:r>
              <a:rPr lang="en-US" sz="1600" dirty="0"/>
              <a:t> and the use of a “</a:t>
            </a:r>
            <a:r>
              <a:rPr lang="en-US" sz="1600" b="1" dirty="0"/>
              <a:t>resting time</a:t>
            </a:r>
            <a:r>
              <a:rPr lang="en-US" sz="1600" dirty="0"/>
              <a:t>” is considered to be useful for increasing participation from certain technologies (e.g. Storage, hydro and less flexible plants);</a:t>
            </a:r>
          </a:p>
        </p:txBody>
      </p:sp>
      <p:sp>
        <p:nvSpPr>
          <p:cNvPr id="22" name="Rectangle 15"/>
          <p:cNvSpPr>
            <a:spLocks noChangeArrowheads="1"/>
          </p:cNvSpPr>
          <p:nvPr/>
        </p:nvSpPr>
        <p:spPr bwMode="gray">
          <a:xfrm>
            <a:off x="641350" y="1609492"/>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Resting Time</a:t>
            </a:r>
            <a:endParaRPr lang="en-US" sz="1600" b="1" dirty="0">
              <a:solidFill>
                <a:srgbClr val="000000"/>
              </a:solidFill>
              <a:latin typeface="Arial" panose="020B0604020202020204" pitchFamily="34" charset="0"/>
            </a:endParaRPr>
          </a:p>
        </p:txBody>
      </p:sp>
      <p:sp>
        <p:nvSpPr>
          <p:cNvPr id="23" name="Rectangle 16"/>
          <p:cNvSpPr>
            <a:spLocks noChangeArrowheads="1"/>
          </p:cNvSpPr>
          <p:nvPr/>
        </p:nvSpPr>
        <p:spPr bwMode="auto">
          <a:xfrm>
            <a:off x="2735263" y="3066817"/>
            <a:ext cx="8345820" cy="1260475"/>
          </a:xfrm>
          <a:prstGeom prst="rect">
            <a:avLst/>
          </a:prstGeom>
          <a:noFill/>
          <a:ln w="19050">
            <a:solidFill>
              <a:srgbClr val="C0C0C0"/>
            </a:solidFill>
            <a:miter lim="800000"/>
            <a:headEnd/>
            <a:tailEnd/>
          </a:ln>
          <a:effectLst/>
        </p:spPr>
        <p:txBody>
          <a:bodyPr vert="horz" wrap="square" lIns="90000" tIns="90000" rIns="90000" bIns="90000" anchor="t"/>
          <a:lstStyle/>
          <a:p>
            <a:pPr fontAlgn="t"/>
            <a:r>
              <a:rPr lang="en-US" sz="1600" dirty="0" smtClean="0">
                <a:solidFill>
                  <a:srgbClr val="000000"/>
                </a:solidFill>
              </a:rPr>
              <a:t>The feedback was not conclusive, since different preference on questions connected with the sequence were provided by the same stakeholders</a:t>
            </a:r>
          </a:p>
          <a:p>
            <a:pPr fontAlgn="t"/>
            <a:r>
              <a:rPr lang="en-US" sz="1600" b="1" dirty="0" smtClean="0">
                <a:solidFill>
                  <a:srgbClr val="000000"/>
                </a:solidFill>
              </a:rPr>
              <a:t>It seems that BSPs </a:t>
            </a:r>
            <a:r>
              <a:rPr lang="en-US" sz="1600" b="1" dirty="0">
                <a:solidFill>
                  <a:srgbClr val="000000"/>
                </a:solidFill>
              </a:rPr>
              <a:t>prefer DA before SA based on the argument that most of the energy is delivered in the main </a:t>
            </a:r>
            <a:r>
              <a:rPr lang="en-US" sz="1600" b="1" dirty="0" smtClean="0">
                <a:solidFill>
                  <a:srgbClr val="000000"/>
                </a:solidFill>
              </a:rPr>
              <a:t>QH.</a:t>
            </a:r>
            <a:endParaRPr lang="en-US" sz="1600" b="1" dirty="0">
              <a:solidFill>
                <a:srgbClr val="000000"/>
              </a:solidFill>
            </a:endParaRPr>
          </a:p>
          <a:p>
            <a:pPr marL="719138" lvl="2" algn="ctr" fontAlgn="base">
              <a:spcBef>
                <a:spcPct val="20000"/>
              </a:spcBef>
              <a:spcAft>
                <a:spcPct val="0"/>
              </a:spcAft>
              <a:buClr>
                <a:srgbClr val="FFD200"/>
              </a:buClr>
              <a:buSzPct val="100000"/>
            </a:pPr>
            <a:endParaRPr lang="en-US" sz="1600" dirty="0">
              <a:solidFill>
                <a:srgbClr val="646464"/>
              </a:solidFill>
              <a:latin typeface="Arial" panose="020B0604020202020204" pitchFamily="34" charset="0"/>
            </a:endParaRPr>
          </a:p>
        </p:txBody>
      </p:sp>
      <p:sp>
        <p:nvSpPr>
          <p:cNvPr id="24" name="Rectangle 17"/>
          <p:cNvSpPr>
            <a:spLocks noChangeArrowheads="1"/>
          </p:cNvSpPr>
          <p:nvPr/>
        </p:nvSpPr>
        <p:spPr bwMode="gray">
          <a:xfrm>
            <a:off x="641350" y="3066817"/>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Sequence – DA&gt;SA vs.</a:t>
            </a:r>
          </a:p>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SA&gt;DA</a:t>
            </a:r>
            <a:endParaRPr lang="en-US" sz="1600" b="1" dirty="0">
              <a:solidFill>
                <a:srgbClr val="000000"/>
              </a:solidFill>
              <a:latin typeface="Arial" panose="020B0604020202020204" pitchFamily="34" charset="0"/>
            </a:endParaRPr>
          </a:p>
        </p:txBody>
      </p:sp>
      <p:sp>
        <p:nvSpPr>
          <p:cNvPr id="13" name="Rectangle 12"/>
          <p:cNvSpPr txBox="1">
            <a:spLocks noChangeArrowheads="1"/>
          </p:cNvSpPr>
          <p:nvPr/>
        </p:nvSpPr>
        <p:spPr>
          <a:xfrm>
            <a:off x="2735262" y="4524142"/>
            <a:ext cx="8345821" cy="1260475"/>
          </a:xfrm>
          <a:prstGeom prst="rect">
            <a:avLst/>
          </a:prstGeom>
          <a:noFill/>
          <a:ln w="19050">
            <a:solidFill>
              <a:srgbClr val="C0C0C0"/>
            </a:solidFill>
          </a:ln>
        </p:spPr>
        <p:txBody>
          <a:bodyPr vert="horz" wrap="square" lIns="90000" tIns="90000" rIns="90000" bIns="9000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fontAlgn="t">
              <a:buNone/>
            </a:pPr>
            <a:r>
              <a:rPr lang="en-US" sz="1600" b="1" dirty="0">
                <a:solidFill>
                  <a:srgbClr val="000000"/>
                </a:solidFill>
              </a:rPr>
              <a:t>BSP GCT</a:t>
            </a:r>
            <a:r>
              <a:rPr lang="en-US" sz="1600" dirty="0">
                <a:solidFill>
                  <a:srgbClr val="000000"/>
                </a:solidFill>
              </a:rPr>
              <a:t> should be </a:t>
            </a:r>
            <a:r>
              <a:rPr lang="en-US" sz="1600" b="1" dirty="0">
                <a:solidFill>
                  <a:srgbClr val="000000"/>
                </a:solidFill>
              </a:rPr>
              <a:t>defined on a cross project level</a:t>
            </a:r>
            <a:endParaRPr lang="cs-CZ" sz="1600" dirty="0">
              <a:solidFill>
                <a:srgbClr val="000000"/>
              </a:solidFill>
            </a:endParaRPr>
          </a:p>
          <a:p>
            <a:pPr marL="0" indent="0" algn="just" fontAlgn="t">
              <a:buNone/>
            </a:pPr>
            <a:endParaRPr lang="en-US" sz="1600" dirty="0">
              <a:solidFill>
                <a:srgbClr val="000000"/>
              </a:solidFill>
            </a:endParaRPr>
          </a:p>
        </p:txBody>
      </p:sp>
      <p:sp>
        <p:nvSpPr>
          <p:cNvPr id="14" name="Rectangle 13"/>
          <p:cNvSpPr>
            <a:spLocks noChangeArrowheads="1"/>
          </p:cNvSpPr>
          <p:nvPr/>
        </p:nvSpPr>
        <p:spPr bwMode="gray">
          <a:xfrm>
            <a:off x="641351" y="4505760"/>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BSP GCT</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18262848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2</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sk-SK" sz="2200" dirty="0" err="1" smtClean="0">
                <a:solidFill>
                  <a:srgbClr val="000000"/>
                </a:solidFill>
                <a:latin typeface="Calibri" panose="020F0502020204030204"/>
              </a:rPr>
              <a:t>Product</a:t>
            </a:r>
            <a:r>
              <a:rPr lang="sk-SK" sz="2200" dirty="0" smtClean="0">
                <a:solidFill>
                  <a:srgbClr val="000000"/>
                </a:solidFill>
                <a:latin typeface="Calibri" panose="020F0502020204030204"/>
              </a:rPr>
              <a:t> and </a:t>
            </a:r>
            <a:r>
              <a:rPr lang="sk-SK" sz="2200" dirty="0" err="1" smtClean="0">
                <a:solidFill>
                  <a:srgbClr val="000000"/>
                </a:solidFill>
                <a:latin typeface="Calibri" panose="020F0502020204030204"/>
              </a:rPr>
              <a:t>Process</a:t>
            </a:r>
            <a:r>
              <a:rPr lang="en-US" sz="2200" dirty="0" smtClean="0">
                <a:solidFill>
                  <a:srgbClr val="000000"/>
                </a:solidFill>
                <a:latin typeface="Calibri" panose="020F0502020204030204"/>
              </a:rPr>
              <a:t> – Main Input</a:t>
            </a:r>
            <a:endParaRPr lang="en-US" sz="2200" dirty="0">
              <a:solidFill>
                <a:srgbClr val="000000"/>
              </a:solidFill>
              <a:latin typeface="Calibri" panose="020F0502020204030204"/>
            </a:endParaRPr>
          </a:p>
        </p:txBody>
      </p:sp>
      <p:sp>
        <p:nvSpPr>
          <p:cNvPr id="12" name="AutoShape 11"/>
          <p:cNvSpPr>
            <a:spLocks noChangeArrowheads="1"/>
          </p:cNvSpPr>
          <p:nvPr/>
        </p:nvSpPr>
        <p:spPr bwMode="gray">
          <a:xfrm>
            <a:off x="468313" y="1466850"/>
            <a:ext cx="2159000" cy="1564199"/>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14" name="Rectangle 14"/>
          <p:cNvSpPr>
            <a:spLocks noChangeArrowheads="1"/>
          </p:cNvSpPr>
          <p:nvPr/>
        </p:nvSpPr>
        <p:spPr bwMode="auto">
          <a:xfrm>
            <a:off x="2790370" y="1173216"/>
            <a:ext cx="8345820" cy="1781309"/>
          </a:xfrm>
          <a:prstGeom prst="rect">
            <a:avLst/>
          </a:prstGeom>
          <a:noFill/>
          <a:ln w="19050">
            <a:solidFill>
              <a:srgbClr val="C0C0C0"/>
            </a:solidFill>
            <a:miter lim="800000"/>
            <a:headEnd/>
            <a:tailEnd/>
          </a:ln>
          <a:effectLst/>
        </p:spPr>
        <p:txBody>
          <a:bodyPr vert="horz" wrap="square" lIns="90000" tIns="90000" rIns="90000" bIns="90000" anchor="t"/>
          <a:lstStyle/>
          <a:p>
            <a:r>
              <a:rPr lang="en-US" sz="1600" dirty="0" smtClean="0">
                <a:solidFill>
                  <a:srgbClr val="000000"/>
                </a:solidFill>
              </a:rPr>
              <a:t>A large portion of the BSPs welcome the feature of linked bids as long as there is not a massive impact on the complexity.</a:t>
            </a:r>
          </a:p>
          <a:p>
            <a:r>
              <a:rPr lang="en-US" sz="1600" dirty="0" smtClean="0">
                <a:solidFill>
                  <a:srgbClr val="000000"/>
                </a:solidFill>
              </a:rPr>
              <a:t>BSPs </a:t>
            </a:r>
            <a:r>
              <a:rPr lang="en-US" sz="1600" dirty="0">
                <a:solidFill>
                  <a:srgbClr val="000000"/>
                </a:solidFill>
              </a:rPr>
              <a:t>asked for the possibility for the to </a:t>
            </a:r>
            <a:r>
              <a:rPr lang="en-US" sz="1600" b="1" dirty="0">
                <a:solidFill>
                  <a:srgbClr val="000000"/>
                </a:solidFill>
              </a:rPr>
              <a:t>link bids between two QHs </a:t>
            </a:r>
            <a:r>
              <a:rPr lang="en-US" sz="1600" dirty="0">
                <a:solidFill>
                  <a:srgbClr val="000000"/>
                </a:solidFill>
              </a:rPr>
              <a:t>for:</a:t>
            </a:r>
          </a:p>
          <a:p>
            <a:pPr marL="342900" indent="-342900">
              <a:buFontTx/>
              <a:buAutoNum type="arabicPeriod"/>
            </a:pPr>
            <a:r>
              <a:rPr lang="en-US" sz="1400" b="1" dirty="0">
                <a:solidFill>
                  <a:srgbClr val="000000"/>
                </a:solidFill>
              </a:rPr>
              <a:t>start-up reasons </a:t>
            </a:r>
            <a:r>
              <a:rPr lang="en-US" sz="1400" dirty="0">
                <a:solidFill>
                  <a:srgbClr val="000000"/>
                </a:solidFill>
              </a:rPr>
              <a:t>(BPS starts-up in QH 0 hence price of the bid in QH 1 is lower) </a:t>
            </a:r>
            <a:endParaRPr lang="en-US" sz="1400" b="1" dirty="0" smtClean="0">
              <a:solidFill>
                <a:srgbClr val="000000"/>
              </a:solidFill>
              <a:sym typeface="Wingdings" panose="05000000000000000000" pitchFamily="2" charset="2"/>
            </a:endParaRPr>
          </a:p>
          <a:p>
            <a:pPr marL="342900" indent="-342900">
              <a:buFontTx/>
              <a:buAutoNum type="arabicPeriod"/>
            </a:pPr>
            <a:r>
              <a:rPr lang="en-US" sz="1400" b="1" dirty="0" smtClean="0">
                <a:solidFill>
                  <a:srgbClr val="000000"/>
                </a:solidFill>
              </a:rPr>
              <a:t>power plant technical reasons </a:t>
            </a:r>
            <a:r>
              <a:rPr lang="en-US" sz="1400" dirty="0" smtClean="0">
                <a:solidFill>
                  <a:srgbClr val="000000"/>
                </a:solidFill>
              </a:rPr>
              <a:t>(need for a minimum delivery period &gt;5’)</a:t>
            </a:r>
          </a:p>
          <a:p>
            <a:r>
              <a:rPr lang="en-US" sz="1600" dirty="0" smtClean="0">
                <a:solidFill>
                  <a:srgbClr val="000000"/>
                </a:solidFill>
              </a:rPr>
              <a:t>BSPs requested more detailed information </a:t>
            </a:r>
            <a:r>
              <a:rPr lang="en-US" sz="1600" dirty="0">
                <a:solidFill>
                  <a:srgbClr val="000000"/>
                </a:solidFill>
              </a:rPr>
              <a:t>and transparency on how linking between bids is performed.</a:t>
            </a:r>
          </a:p>
        </p:txBody>
      </p:sp>
      <p:sp>
        <p:nvSpPr>
          <p:cNvPr id="15" name="Rectangle 15"/>
          <p:cNvSpPr>
            <a:spLocks noChangeArrowheads="1"/>
          </p:cNvSpPr>
          <p:nvPr/>
        </p:nvSpPr>
        <p:spPr bwMode="gray">
          <a:xfrm>
            <a:off x="631372" y="1609629"/>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Linking Bids</a:t>
            </a:r>
            <a:endParaRPr lang="en-US" sz="1600" b="1" dirty="0">
              <a:solidFill>
                <a:srgbClr val="000000"/>
              </a:solidFill>
              <a:latin typeface="Arial" panose="020B0604020202020204" pitchFamily="34" charset="0"/>
            </a:endParaRPr>
          </a:p>
        </p:txBody>
      </p:sp>
      <p:sp>
        <p:nvSpPr>
          <p:cNvPr id="13" name="AutoShape 7"/>
          <p:cNvSpPr>
            <a:spLocks noChangeArrowheads="1"/>
          </p:cNvSpPr>
          <p:nvPr/>
        </p:nvSpPr>
        <p:spPr bwMode="auto">
          <a:xfrm rot="5400000">
            <a:off x="6411721" y="1367181"/>
            <a:ext cx="818602" cy="5186041"/>
          </a:xfrm>
          <a:prstGeom prst="homePlate">
            <a:avLst>
              <a:gd name="adj" fmla="val 26255"/>
            </a:avLst>
          </a:prstGeom>
          <a:solidFill>
            <a:srgbClr val="CCCCCC"/>
          </a:solidFill>
          <a:ln w="6350" cap="rnd">
            <a:noFill/>
            <a:miter lim="800000"/>
            <a:headEnd/>
            <a:tailEnd/>
          </a:ln>
        </p:spPr>
        <p:txBody>
          <a:bodyPr rot="10800000" vert="eaVert" wrap="none" lIns="45720" rIns="45720" anchor="ctr"/>
          <a:lstStyle/>
          <a:p>
            <a:pPr algn="ctr" eaLnBrk="0" fontAlgn="base" hangingPunct="0">
              <a:spcBef>
                <a:spcPct val="0"/>
              </a:spcBef>
              <a:spcAft>
                <a:spcPct val="0"/>
              </a:spcAft>
            </a:pPr>
            <a:r>
              <a:rPr lang="en-US" sz="2000" dirty="0" smtClean="0">
                <a:solidFill>
                  <a:srgbClr val="000000"/>
                </a:solidFill>
              </a:rPr>
              <a:t>Current Consideration in the Project</a:t>
            </a:r>
            <a:endParaRPr lang="en-US" sz="2000" dirty="0">
              <a:solidFill>
                <a:srgbClr val="000000"/>
              </a:solidFill>
            </a:endParaRPr>
          </a:p>
        </p:txBody>
      </p:sp>
      <p:sp>
        <p:nvSpPr>
          <p:cNvPr id="20" name="TextBox 19"/>
          <p:cNvSpPr txBox="1"/>
          <p:nvPr/>
        </p:nvSpPr>
        <p:spPr>
          <a:xfrm>
            <a:off x="2790369" y="4369503"/>
            <a:ext cx="8345821" cy="1200329"/>
          </a:xfrm>
          <a:prstGeom prst="rect">
            <a:avLst/>
          </a:prstGeom>
          <a:solidFill>
            <a:schemeClr val="bg1">
              <a:lumMod val="50000"/>
            </a:schemeClr>
          </a:solidFill>
        </p:spPr>
        <p:txBody>
          <a:bodyPr wrap="square" rtlCol="0">
            <a:spAutoFit/>
          </a:bodyPr>
          <a:lstStyle/>
          <a:p>
            <a:pPr algn="just"/>
            <a:r>
              <a:rPr lang="en-US" dirty="0">
                <a:solidFill>
                  <a:schemeClr val="bg1"/>
                </a:solidFill>
              </a:rPr>
              <a:t>The feature of the linking bids shall be implemented. For the start up costs – possibility of technical linking will be further evaluated. </a:t>
            </a:r>
          </a:p>
          <a:p>
            <a:pPr algn="just"/>
            <a:r>
              <a:rPr lang="en-US" dirty="0">
                <a:solidFill>
                  <a:schemeClr val="bg1"/>
                </a:solidFill>
              </a:rPr>
              <a:t>Optimization for technical reason will </a:t>
            </a:r>
            <a:r>
              <a:rPr lang="en-US" dirty="0" smtClean="0">
                <a:solidFill>
                  <a:schemeClr val="bg1"/>
                </a:solidFill>
              </a:rPr>
              <a:t>most likely not </a:t>
            </a:r>
            <a:r>
              <a:rPr lang="en-US" dirty="0">
                <a:solidFill>
                  <a:schemeClr val="bg1"/>
                </a:solidFill>
              </a:rPr>
              <a:t>be possible – </a:t>
            </a:r>
            <a:r>
              <a:rPr lang="en-US" dirty="0" err="1">
                <a:solidFill>
                  <a:schemeClr val="bg1"/>
                </a:solidFill>
              </a:rPr>
              <a:t>mFRR</a:t>
            </a:r>
            <a:r>
              <a:rPr lang="en-US" dirty="0">
                <a:solidFill>
                  <a:schemeClr val="bg1"/>
                </a:solidFill>
              </a:rPr>
              <a:t> platform will </a:t>
            </a:r>
            <a:r>
              <a:rPr lang="en-US" dirty="0" smtClean="0">
                <a:solidFill>
                  <a:schemeClr val="bg1"/>
                </a:solidFill>
              </a:rPr>
              <a:t>most likely not </a:t>
            </a:r>
            <a:r>
              <a:rPr lang="en-US" dirty="0">
                <a:solidFill>
                  <a:schemeClr val="bg1"/>
                </a:solidFill>
              </a:rPr>
              <a:t>allow linking over a number of </a:t>
            </a:r>
            <a:r>
              <a:rPr lang="en-US" dirty="0" smtClean="0">
                <a:solidFill>
                  <a:schemeClr val="bg1"/>
                </a:solidFill>
              </a:rPr>
              <a:t>QHs</a:t>
            </a:r>
            <a:endParaRPr lang="en-US" dirty="0">
              <a:solidFill>
                <a:schemeClr val="bg1"/>
              </a:solidFill>
            </a:endParaRPr>
          </a:p>
        </p:txBody>
      </p:sp>
    </p:spTree>
    <p:extLst>
      <p:ext uri="{BB962C8B-B14F-4D97-AF65-F5344CB8AC3E}">
        <p14:creationId xmlns:p14="http://schemas.microsoft.com/office/powerpoint/2010/main" val="17279881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3</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sk-SK" sz="2200" dirty="0" err="1" smtClean="0">
                <a:solidFill>
                  <a:srgbClr val="000000"/>
                </a:solidFill>
                <a:latin typeface="Calibri" panose="020F0502020204030204"/>
              </a:rPr>
              <a:t>Product</a:t>
            </a:r>
            <a:r>
              <a:rPr lang="sk-SK" sz="2200" dirty="0" smtClean="0">
                <a:solidFill>
                  <a:srgbClr val="000000"/>
                </a:solidFill>
                <a:latin typeface="Calibri" panose="020F0502020204030204"/>
              </a:rPr>
              <a:t> and </a:t>
            </a:r>
            <a:r>
              <a:rPr lang="sk-SK" sz="2200" dirty="0" err="1" smtClean="0">
                <a:solidFill>
                  <a:srgbClr val="000000"/>
                </a:solidFill>
                <a:latin typeface="Calibri" panose="020F0502020204030204"/>
              </a:rPr>
              <a:t>Process</a:t>
            </a:r>
            <a:r>
              <a:rPr lang="en-US" sz="2200" dirty="0" smtClean="0">
                <a:solidFill>
                  <a:srgbClr val="000000"/>
                </a:solidFill>
                <a:latin typeface="Calibri" panose="020F0502020204030204"/>
              </a:rPr>
              <a:t> – Main Input</a:t>
            </a:r>
            <a:endParaRPr lang="en-US" sz="2200" dirty="0">
              <a:solidFill>
                <a:srgbClr val="000000"/>
              </a:solidFill>
              <a:latin typeface="Calibri" panose="020F0502020204030204"/>
            </a:endParaRPr>
          </a:p>
        </p:txBody>
      </p:sp>
      <p:sp>
        <p:nvSpPr>
          <p:cNvPr id="12" name="AutoShape 11"/>
          <p:cNvSpPr>
            <a:spLocks noChangeArrowheads="1"/>
          </p:cNvSpPr>
          <p:nvPr/>
        </p:nvSpPr>
        <p:spPr bwMode="gray">
          <a:xfrm>
            <a:off x="468313" y="1466851"/>
            <a:ext cx="2159000" cy="1701590"/>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16" name="Rectangle 16"/>
          <p:cNvSpPr>
            <a:spLocks noChangeArrowheads="1"/>
          </p:cNvSpPr>
          <p:nvPr/>
        </p:nvSpPr>
        <p:spPr bwMode="auto">
          <a:xfrm>
            <a:off x="2790370" y="1615905"/>
            <a:ext cx="8345820" cy="1556167"/>
          </a:xfrm>
          <a:prstGeom prst="rect">
            <a:avLst/>
          </a:prstGeom>
          <a:noFill/>
          <a:ln w="19050">
            <a:solidFill>
              <a:srgbClr val="C0C0C0"/>
            </a:solidFill>
            <a:miter lim="800000"/>
            <a:headEnd/>
            <a:tailEnd/>
          </a:ln>
          <a:effectLst/>
        </p:spPr>
        <p:txBody>
          <a:bodyPr vert="horz" wrap="square" lIns="90000" tIns="90000" rIns="90000" bIns="90000" anchor="t"/>
          <a:lstStyle/>
          <a:p>
            <a:pPr defTabSz="514350">
              <a:spcAft>
                <a:spcPts val="600"/>
              </a:spcAft>
              <a:defRPr/>
            </a:pPr>
            <a:r>
              <a:rPr lang="en-US" sz="1600" dirty="0">
                <a:solidFill>
                  <a:srgbClr val="000000"/>
                </a:solidFill>
              </a:rPr>
              <a:t>For </a:t>
            </a:r>
            <a:r>
              <a:rPr lang="en-US" sz="1600" b="1" dirty="0">
                <a:solidFill>
                  <a:srgbClr val="000000"/>
                </a:solidFill>
              </a:rPr>
              <a:t>granularity of bids</a:t>
            </a:r>
            <a:r>
              <a:rPr lang="en-US" sz="1600" dirty="0">
                <a:solidFill>
                  <a:srgbClr val="000000"/>
                </a:solidFill>
              </a:rPr>
              <a:t> a good compromise between liquidity and efficiency/costs for implementation, would be </a:t>
            </a:r>
            <a:r>
              <a:rPr lang="en-US" sz="1600" b="1" dirty="0">
                <a:solidFill>
                  <a:srgbClr val="000000"/>
                </a:solidFill>
              </a:rPr>
              <a:t>1 </a:t>
            </a:r>
            <a:r>
              <a:rPr lang="en-US" sz="1600" b="1" dirty="0" smtClean="0">
                <a:solidFill>
                  <a:srgbClr val="000000"/>
                </a:solidFill>
              </a:rPr>
              <a:t>MW</a:t>
            </a:r>
            <a:r>
              <a:rPr lang="en-US" sz="1600" dirty="0" smtClean="0">
                <a:solidFill>
                  <a:srgbClr val="000000"/>
                </a:solidFill>
              </a:rPr>
              <a:t>. </a:t>
            </a:r>
            <a:r>
              <a:rPr lang="en-US" sz="1600" b="1" dirty="0" smtClean="0">
                <a:solidFill>
                  <a:srgbClr val="000000"/>
                </a:solidFill>
              </a:rPr>
              <a:t>BSPs </a:t>
            </a:r>
            <a:r>
              <a:rPr lang="en-US" sz="1600" b="1" dirty="0">
                <a:solidFill>
                  <a:srgbClr val="000000"/>
                </a:solidFill>
              </a:rPr>
              <a:t>foresee to use indivisible bids. In a portfolio based approach there is no need for indivisible bids but if needed, the maximum volume of indivisible bid should not be too high in order to incentivize flexibility for BSPs. </a:t>
            </a:r>
            <a:endParaRPr lang="en-US" sz="1600" b="1" dirty="0" smtClean="0">
              <a:solidFill>
                <a:srgbClr val="000000"/>
              </a:solidFill>
            </a:endParaRPr>
          </a:p>
          <a:p>
            <a:pPr defTabSz="514350">
              <a:spcAft>
                <a:spcPts val="600"/>
              </a:spcAft>
              <a:defRPr/>
            </a:pPr>
            <a:r>
              <a:rPr lang="en-US" sz="1600" dirty="0" smtClean="0">
                <a:solidFill>
                  <a:srgbClr val="000000"/>
                </a:solidFill>
              </a:rPr>
              <a:t>BSPs </a:t>
            </a:r>
            <a:r>
              <a:rPr lang="en-US" sz="1600" dirty="0">
                <a:solidFill>
                  <a:srgbClr val="000000"/>
                </a:solidFill>
              </a:rPr>
              <a:t>request the possibility to declare a </a:t>
            </a:r>
            <a:r>
              <a:rPr lang="en-US" sz="1600" b="1" dirty="0">
                <a:solidFill>
                  <a:srgbClr val="000000"/>
                </a:solidFill>
              </a:rPr>
              <a:t>minimum activation for technical reasons in divisible bids</a:t>
            </a:r>
            <a:endParaRPr lang="cs-CZ" sz="1600" dirty="0">
              <a:solidFill>
                <a:srgbClr val="000000"/>
              </a:solidFill>
            </a:endParaRPr>
          </a:p>
        </p:txBody>
      </p:sp>
      <p:sp>
        <p:nvSpPr>
          <p:cNvPr id="17" name="Rectangle 17"/>
          <p:cNvSpPr>
            <a:spLocks noChangeArrowheads="1"/>
          </p:cNvSpPr>
          <p:nvPr/>
        </p:nvSpPr>
        <p:spPr bwMode="gray">
          <a:xfrm>
            <a:off x="631372" y="1651810"/>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Indivisibility of Bids</a:t>
            </a:r>
            <a:endParaRPr lang="en-US" sz="1600" b="1" dirty="0">
              <a:solidFill>
                <a:srgbClr val="000000"/>
              </a:solidFill>
              <a:latin typeface="Arial" panose="020B0604020202020204" pitchFamily="34" charset="0"/>
            </a:endParaRPr>
          </a:p>
        </p:txBody>
      </p:sp>
      <p:sp>
        <p:nvSpPr>
          <p:cNvPr id="21" name="AutoShape 7"/>
          <p:cNvSpPr>
            <a:spLocks noChangeArrowheads="1"/>
          </p:cNvSpPr>
          <p:nvPr/>
        </p:nvSpPr>
        <p:spPr bwMode="auto">
          <a:xfrm rot="5400000">
            <a:off x="6310125" y="1376609"/>
            <a:ext cx="818602" cy="5186041"/>
          </a:xfrm>
          <a:prstGeom prst="homePlate">
            <a:avLst>
              <a:gd name="adj" fmla="val 26255"/>
            </a:avLst>
          </a:prstGeom>
          <a:solidFill>
            <a:srgbClr val="CCCCCC"/>
          </a:solidFill>
          <a:ln w="6350" cap="rnd">
            <a:noFill/>
            <a:miter lim="800000"/>
            <a:headEnd/>
            <a:tailEnd/>
          </a:ln>
        </p:spPr>
        <p:txBody>
          <a:bodyPr rot="10800000" vert="eaVert" wrap="none" lIns="45720" rIns="45720" anchor="ctr"/>
          <a:lstStyle/>
          <a:p>
            <a:pPr algn="ctr" eaLnBrk="0" fontAlgn="base" hangingPunct="0">
              <a:spcBef>
                <a:spcPct val="0"/>
              </a:spcBef>
              <a:spcAft>
                <a:spcPct val="0"/>
              </a:spcAft>
            </a:pPr>
            <a:r>
              <a:rPr lang="en-US" sz="2000" dirty="0" smtClean="0">
                <a:solidFill>
                  <a:srgbClr val="000000"/>
                </a:solidFill>
              </a:rPr>
              <a:t>Current Consideration in the Project</a:t>
            </a:r>
            <a:endParaRPr lang="en-US" sz="2000" dirty="0">
              <a:solidFill>
                <a:srgbClr val="000000"/>
              </a:solidFill>
            </a:endParaRPr>
          </a:p>
        </p:txBody>
      </p:sp>
      <p:sp>
        <p:nvSpPr>
          <p:cNvPr id="22" name="TextBox 21"/>
          <p:cNvSpPr txBox="1"/>
          <p:nvPr/>
        </p:nvSpPr>
        <p:spPr>
          <a:xfrm>
            <a:off x="2688773" y="4378931"/>
            <a:ext cx="8345821" cy="923330"/>
          </a:xfrm>
          <a:prstGeom prst="rect">
            <a:avLst/>
          </a:prstGeom>
          <a:solidFill>
            <a:schemeClr val="bg1">
              <a:lumMod val="50000"/>
            </a:schemeClr>
          </a:solidFill>
        </p:spPr>
        <p:txBody>
          <a:bodyPr wrap="square" rtlCol="0">
            <a:spAutoFit/>
          </a:bodyPr>
          <a:lstStyle/>
          <a:p>
            <a:pPr algn="just"/>
            <a:r>
              <a:rPr lang="en-US" dirty="0">
                <a:solidFill>
                  <a:schemeClr val="bg1"/>
                </a:solidFill>
              </a:rPr>
              <a:t>The TSOs </a:t>
            </a:r>
            <a:r>
              <a:rPr lang="en-US" dirty="0" err="1">
                <a:solidFill>
                  <a:schemeClr val="bg1"/>
                </a:solidFill>
              </a:rPr>
              <a:t>favour</a:t>
            </a:r>
            <a:r>
              <a:rPr lang="en-US" dirty="0">
                <a:solidFill>
                  <a:schemeClr val="bg1"/>
                </a:solidFill>
              </a:rPr>
              <a:t> no limit on indivisible bids in order not exclude any current participants from the </a:t>
            </a:r>
            <a:r>
              <a:rPr lang="en-US" dirty="0" err="1">
                <a:solidFill>
                  <a:schemeClr val="bg1"/>
                </a:solidFill>
              </a:rPr>
              <a:t>mFRR</a:t>
            </a:r>
            <a:r>
              <a:rPr lang="en-US" dirty="0">
                <a:solidFill>
                  <a:schemeClr val="bg1"/>
                </a:solidFill>
              </a:rPr>
              <a:t> market</a:t>
            </a:r>
          </a:p>
          <a:p>
            <a:pPr algn="just"/>
            <a:endParaRPr lang="cs-CZ" dirty="0">
              <a:solidFill>
                <a:schemeClr val="bg1"/>
              </a:solidFill>
            </a:endParaRPr>
          </a:p>
        </p:txBody>
      </p:sp>
    </p:spTree>
    <p:extLst>
      <p:ext uri="{BB962C8B-B14F-4D97-AF65-F5344CB8AC3E}">
        <p14:creationId xmlns:p14="http://schemas.microsoft.com/office/powerpoint/2010/main" val="39762444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8"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4</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sk-SK" sz="2200" dirty="0" err="1" smtClean="0">
                <a:solidFill>
                  <a:srgbClr val="000000"/>
                </a:solidFill>
                <a:latin typeface="Calibri" panose="020F0502020204030204"/>
              </a:rPr>
              <a:t>Product</a:t>
            </a:r>
            <a:r>
              <a:rPr lang="sk-SK" sz="2200" dirty="0" smtClean="0">
                <a:solidFill>
                  <a:srgbClr val="000000"/>
                </a:solidFill>
                <a:latin typeface="Calibri" panose="020F0502020204030204"/>
              </a:rPr>
              <a:t> and </a:t>
            </a:r>
            <a:r>
              <a:rPr lang="sk-SK" sz="2200" dirty="0" err="1" smtClean="0">
                <a:solidFill>
                  <a:srgbClr val="000000"/>
                </a:solidFill>
                <a:latin typeface="Calibri" panose="020F0502020204030204"/>
              </a:rPr>
              <a:t>Process</a:t>
            </a:r>
            <a:r>
              <a:rPr lang="en-US" sz="2200" dirty="0" smtClean="0">
                <a:solidFill>
                  <a:srgbClr val="000000"/>
                </a:solidFill>
                <a:latin typeface="Calibri" panose="020F0502020204030204"/>
              </a:rPr>
              <a:t> – Main Input</a:t>
            </a:r>
            <a:endParaRPr lang="en-US" sz="2200" dirty="0">
              <a:solidFill>
                <a:srgbClr val="000000"/>
              </a:solidFill>
              <a:latin typeface="Calibri" panose="020F0502020204030204"/>
            </a:endParaRPr>
          </a:p>
        </p:txBody>
      </p:sp>
      <p:sp>
        <p:nvSpPr>
          <p:cNvPr id="13" name="Rectangle 12"/>
          <p:cNvSpPr txBox="1">
            <a:spLocks noChangeArrowheads="1"/>
          </p:cNvSpPr>
          <p:nvPr/>
        </p:nvSpPr>
        <p:spPr>
          <a:xfrm>
            <a:off x="2735262" y="2050298"/>
            <a:ext cx="8345821" cy="1260475"/>
          </a:xfrm>
          <a:prstGeom prst="rect">
            <a:avLst/>
          </a:prstGeom>
          <a:noFill/>
          <a:ln w="19050">
            <a:solidFill>
              <a:srgbClr val="C0C0C0"/>
            </a:solidFill>
          </a:ln>
        </p:spPr>
        <p:txBody>
          <a:bodyPr vert="horz" wrap="square" lIns="90000" tIns="90000" rIns="90000" bIns="9000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Aft>
                <a:spcPts val="600"/>
              </a:spcAft>
              <a:buNone/>
            </a:pPr>
            <a:r>
              <a:rPr lang="en-US" sz="1600" dirty="0">
                <a:solidFill>
                  <a:srgbClr val="000000"/>
                </a:solidFill>
              </a:rPr>
              <a:t>BSPs asked for </a:t>
            </a:r>
            <a:r>
              <a:rPr lang="en-US" sz="1600" b="1" dirty="0">
                <a:solidFill>
                  <a:srgbClr val="000000"/>
                </a:solidFill>
              </a:rPr>
              <a:t>no limitations on the volume activated by a TSO as long as there is capacity and ATC available</a:t>
            </a:r>
            <a:r>
              <a:rPr lang="en-US" sz="1600" dirty="0">
                <a:solidFill>
                  <a:srgbClr val="000000"/>
                </a:solidFill>
              </a:rPr>
              <a:t>. Proposal would be to develop the “</a:t>
            </a:r>
            <a:r>
              <a:rPr lang="en-US" sz="1600" i="1" dirty="0">
                <a:solidFill>
                  <a:srgbClr val="000000"/>
                </a:solidFill>
              </a:rPr>
              <a:t>guaranteed volume</a:t>
            </a:r>
            <a:r>
              <a:rPr lang="en-US" sz="1600" dirty="0">
                <a:solidFill>
                  <a:srgbClr val="000000"/>
                </a:solidFill>
              </a:rPr>
              <a:t>” + “</a:t>
            </a:r>
            <a:r>
              <a:rPr lang="en-US" sz="1600" i="1" dirty="0">
                <a:solidFill>
                  <a:srgbClr val="000000"/>
                </a:solidFill>
              </a:rPr>
              <a:t>excess volume</a:t>
            </a:r>
            <a:r>
              <a:rPr lang="en-US" sz="1600" dirty="0">
                <a:solidFill>
                  <a:srgbClr val="000000"/>
                </a:solidFill>
              </a:rPr>
              <a:t>” approach.</a:t>
            </a:r>
          </a:p>
        </p:txBody>
      </p:sp>
      <p:sp>
        <p:nvSpPr>
          <p:cNvPr id="14" name="AutoShape 11"/>
          <p:cNvSpPr>
            <a:spLocks noChangeArrowheads="1"/>
          </p:cNvSpPr>
          <p:nvPr/>
        </p:nvSpPr>
        <p:spPr bwMode="gray">
          <a:xfrm>
            <a:off x="468313" y="1899988"/>
            <a:ext cx="2154571" cy="1589171"/>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15" name="Rectangle 13"/>
          <p:cNvSpPr>
            <a:spLocks noChangeArrowheads="1"/>
          </p:cNvSpPr>
          <p:nvPr/>
        </p:nvSpPr>
        <p:spPr bwMode="gray">
          <a:xfrm>
            <a:off x="641350" y="2098426"/>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Activation Volume</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39115375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15</a:t>
            </a:fld>
            <a:endParaRPr lang="cs-CZ">
              <a:solidFill>
                <a:srgbClr val="7F7E82">
                  <a:tint val="75000"/>
                </a:srgbClr>
              </a:solidFill>
            </a:endParaRPr>
          </a:p>
        </p:txBody>
      </p:sp>
      <p:sp>
        <p:nvSpPr>
          <p:cNvPr id="13" name="Espace réservé du contenu 2"/>
          <p:cNvSpPr txBox="1">
            <a:spLocks/>
          </p:cNvSpPr>
          <p:nvPr/>
        </p:nvSpPr>
        <p:spPr>
          <a:xfrm>
            <a:off x="631372" y="199856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285750" indent="-285750" algn="just">
              <a:spcAft>
                <a:spcPts val="1200"/>
              </a:spcAft>
              <a:buFont typeface="Wingdings" panose="05000000000000000000" pitchFamily="2" charset="2"/>
              <a:buChar char="¦"/>
            </a:pPr>
            <a:endParaRPr lang="cs-CZ" sz="1400" dirty="0">
              <a:solidFill>
                <a:srgbClr val="000000"/>
              </a:solidFill>
              <a:latin typeface="Calibri" panose="020F0502020204030204"/>
            </a:endParaRPr>
          </a:p>
          <a:p>
            <a:pPr marL="285750" indent="-285750" algn="just">
              <a:spcAft>
                <a:spcPts val="1200"/>
              </a:spcAft>
              <a:buFont typeface="Wingdings" panose="05000000000000000000" pitchFamily="2" charset="2"/>
              <a:buChar char="¦"/>
            </a:pPr>
            <a:endParaRPr lang="fr-FR" sz="1400" b="1" dirty="0">
              <a:solidFill>
                <a:srgbClr val="000000"/>
              </a:solidFill>
              <a:latin typeface="Calibri" panose="020F0502020204030204"/>
            </a:endParaRPr>
          </a:p>
          <a:p>
            <a:pPr algn="just">
              <a:spcAft>
                <a:spcPts val="1200"/>
              </a:spcAft>
            </a:pPr>
            <a:endParaRPr lang="fr-FR" sz="1400" b="1"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5" name="Rectangle 4"/>
          <p:cNvSpPr/>
          <p:nvPr/>
        </p:nvSpPr>
        <p:spPr>
          <a:xfrm>
            <a:off x="3962400" y="143924"/>
            <a:ext cx="6096000" cy="369332"/>
          </a:xfrm>
          <a:prstGeom prst="rect">
            <a:avLst/>
          </a:prstGeom>
        </p:spPr>
        <p:txBody>
          <a:bodyPr>
            <a:spAutoFit/>
          </a:bodyPr>
          <a:lstStyle/>
          <a:p>
            <a:r>
              <a:rPr lang="cs-CZ" dirty="0">
                <a:solidFill>
                  <a:srgbClr val="1F497D"/>
                </a:solidFill>
                <a:ea typeface="Calibri" panose="020F0502020204030204" pitchFamily="34" charset="0"/>
              </a:rPr>
              <a:t> </a:t>
            </a:r>
            <a:endParaRPr lang="cs-CZ" dirty="0">
              <a:solidFill>
                <a:srgbClr val="000000"/>
              </a:solidFill>
              <a:ea typeface="Calibri" panose="020F0502020204030204" pitchFamily="34" charset="0"/>
            </a:endParaRPr>
          </a:p>
        </p:txBody>
      </p:sp>
      <p:sp>
        <p:nvSpPr>
          <p:cNvPr id="9" name="Espace réservé du contenu 2"/>
          <p:cNvSpPr txBox="1">
            <a:spLocks/>
          </p:cNvSpPr>
          <p:nvPr/>
        </p:nvSpPr>
        <p:spPr>
          <a:xfrm>
            <a:off x="631372" y="199725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just">
              <a:spcAft>
                <a:spcPts val="800"/>
              </a:spcAft>
            </a:pPr>
            <a:r>
              <a:rPr lang="en-US" sz="3200" dirty="0" smtClean="0">
                <a:solidFill>
                  <a:srgbClr val="000000"/>
                </a:solidFill>
                <a:latin typeface="Calibri" panose="020F0502020204030204"/>
              </a:rPr>
              <a:t>Feedback from the Consultation</a:t>
            </a:r>
          </a:p>
          <a:p>
            <a:pPr algn="just">
              <a:spcAft>
                <a:spcPts val="800"/>
              </a:spcAft>
            </a:pPr>
            <a:endParaRPr lang="en-US" sz="3200" dirty="0">
              <a:solidFill>
                <a:srgbClr val="000000"/>
              </a:solidFill>
              <a:latin typeface="Calibri" panose="020F0502020204030204"/>
            </a:endParaRPr>
          </a:p>
          <a:p>
            <a:pPr algn="just">
              <a:spcAft>
                <a:spcPts val="800"/>
              </a:spcAft>
            </a:pPr>
            <a:r>
              <a:rPr lang="en-US" sz="3200" dirty="0" smtClean="0">
                <a:solidFill>
                  <a:srgbClr val="000000"/>
                </a:solidFill>
                <a:latin typeface="Calibri" panose="020F0502020204030204"/>
              </a:rPr>
              <a:t>SPECIFICATION of the ALGORITHM OPTIMAZATION FUNCTION</a:t>
            </a:r>
          </a:p>
        </p:txBody>
      </p:sp>
    </p:spTree>
    <p:extLst>
      <p:ext uri="{BB962C8B-B14F-4D97-AF65-F5344CB8AC3E}">
        <p14:creationId xmlns:p14="http://schemas.microsoft.com/office/powerpoint/2010/main" val="30115265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6</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en-US" sz="2200" dirty="0" smtClean="0">
                <a:solidFill>
                  <a:srgbClr val="000000"/>
                </a:solidFill>
                <a:latin typeface="Calibri" panose="020F0502020204030204"/>
              </a:rPr>
              <a:t>Specification of the AOF - </a:t>
            </a:r>
            <a:r>
              <a:rPr lang="en-US" sz="2200" dirty="0">
                <a:solidFill>
                  <a:srgbClr val="000000"/>
                </a:solidFill>
                <a:latin typeface="Calibri" panose="020F0502020204030204"/>
              </a:rPr>
              <a:t> Main Input</a:t>
            </a:r>
          </a:p>
        </p:txBody>
      </p:sp>
      <p:sp>
        <p:nvSpPr>
          <p:cNvPr id="13" name="Rectangle 12"/>
          <p:cNvSpPr txBox="1">
            <a:spLocks noChangeArrowheads="1"/>
          </p:cNvSpPr>
          <p:nvPr/>
        </p:nvSpPr>
        <p:spPr>
          <a:xfrm>
            <a:off x="2735262" y="1617160"/>
            <a:ext cx="8345821" cy="1260475"/>
          </a:xfrm>
          <a:prstGeom prst="rect">
            <a:avLst/>
          </a:prstGeom>
          <a:noFill/>
          <a:ln w="19050">
            <a:solidFill>
              <a:srgbClr val="C0C0C0"/>
            </a:solidFill>
          </a:ln>
        </p:spPr>
        <p:txBody>
          <a:bodyPr vert="horz" wrap="square" lIns="90000" tIns="90000" rIns="90000" bIns="9000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514350">
              <a:spcAft>
                <a:spcPts val="600"/>
              </a:spcAft>
              <a:buNone/>
              <a:defRPr/>
            </a:pPr>
            <a:r>
              <a:rPr lang="en-US" sz="1600" dirty="0">
                <a:solidFill>
                  <a:schemeClr val="dk1"/>
                </a:solidFill>
              </a:rPr>
              <a:t>Publication of inputs (TSO Demand, price, ATC per border) and outputs (submitted and activated bids and marginal prices, upward and downward volumes per bidding zone and used cross-zonal capacity) are </a:t>
            </a:r>
            <a:r>
              <a:rPr lang="en-US" sz="1600" dirty="0" smtClean="0">
                <a:solidFill>
                  <a:schemeClr val="dk1"/>
                </a:solidFill>
              </a:rPr>
              <a:t>important</a:t>
            </a:r>
            <a:endParaRPr lang="en-US" sz="1600" dirty="0">
              <a:solidFill>
                <a:schemeClr val="dk1"/>
              </a:solidFill>
            </a:endParaRPr>
          </a:p>
        </p:txBody>
      </p:sp>
      <p:sp>
        <p:nvSpPr>
          <p:cNvPr id="14" name="AutoShape 11"/>
          <p:cNvSpPr>
            <a:spLocks noChangeArrowheads="1"/>
          </p:cNvSpPr>
          <p:nvPr/>
        </p:nvSpPr>
        <p:spPr bwMode="gray">
          <a:xfrm>
            <a:off x="468313" y="1466850"/>
            <a:ext cx="2159000" cy="4508500"/>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15" name="Rectangle 13"/>
          <p:cNvSpPr>
            <a:spLocks noChangeArrowheads="1"/>
          </p:cNvSpPr>
          <p:nvPr/>
        </p:nvSpPr>
        <p:spPr bwMode="gray">
          <a:xfrm>
            <a:off x="641350" y="1665288"/>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Algorithm Inputs and Outputs</a:t>
            </a:r>
            <a:endParaRPr lang="en-US" sz="1600" b="1" dirty="0">
              <a:solidFill>
                <a:srgbClr val="000000"/>
              </a:solidFill>
              <a:latin typeface="Arial" panose="020B0604020202020204" pitchFamily="34" charset="0"/>
            </a:endParaRPr>
          </a:p>
        </p:txBody>
      </p:sp>
      <p:sp>
        <p:nvSpPr>
          <p:cNvPr id="16" name="Rectangle 14"/>
          <p:cNvSpPr>
            <a:spLocks noChangeArrowheads="1"/>
          </p:cNvSpPr>
          <p:nvPr/>
        </p:nvSpPr>
        <p:spPr bwMode="auto">
          <a:xfrm>
            <a:off x="2735263" y="3122613"/>
            <a:ext cx="8345820" cy="1260475"/>
          </a:xfrm>
          <a:prstGeom prst="rect">
            <a:avLst/>
          </a:prstGeom>
          <a:noFill/>
          <a:ln w="19050">
            <a:solidFill>
              <a:srgbClr val="C0C0C0"/>
            </a:solidFill>
            <a:miter lim="800000"/>
            <a:headEnd/>
            <a:tailEnd/>
          </a:ln>
          <a:effectLst/>
        </p:spPr>
        <p:txBody>
          <a:bodyPr vert="horz" wrap="square" lIns="90000" tIns="90000" rIns="90000" bIns="90000" anchor="t"/>
          <a:lstStyle/>
          <a:p>
            <a:pPr defTabSz="514350">
              <a:spcAft>
                <a:spcPts val="600"/>
              </a:spcAft>
              <a:defRPr/>
            </a:pPr>
            <a:r>
              <a:rPr lang="en-US" sz="1600" dirty="0"/>
              <a:t>Social welfare maximization as objective and requirement for traceable and transparent algorithm </a:t>
            </a:r>
            <a:r>
              <a:rPr lang="en-US" sz="1600" dirty="0" smtClean="0"/>
              <a:t>results</a:t>
            </a:r>
            <a:endParaRPr lang="en-US" sz="1600" dirty="0"/>
          </a:p>
        </p:txBody>
      </p:sp>
      <p:sp>
        <p:nvSpPr>
          <p:cNvPr id="17" name="Rectangle 15"/>
          <p:cNvSpPr>
            <a:spLocks noChangeArrowheads="1"/>
          </p:cNvSpPr>
          <p:nvPr/>
        </p:nvSpPr>
        <p:spPr bwMode="gray">
          <a:xfrm>
            <a:off x="641350" y="3122613"/>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Social Welfare </a:t>
            </a:r>
            <a:r>
              <a:rPr lang="en-US" sz="1600" b="1" dirty="0" err="1" smtClean="0">
                <a:solidFill>
                  <a:srgbClr val="000000"/>
                </a:solidFill>
                <a:latin typeface="Arial" panose="020B0604020202020204" pitchFamily="34" charset="0"/>
              </a:rPr>
              <a:t>Maximisation</a:t>
            </a:r>
            <a:endParaRPr lang="en-US" sz="1600" b="1" dirty="0">
              <a:solidFill>
                <a:srgbClr val="000000"/>
              </a:solidFill>
              <a:latin typeface="Arial" panose="020B0604020202020204" pitchFamily="34" charset="0"/>
            </a:endParaRPr>
          </a:p>
        </p:txBody>
      </p:sp>
      <p:sp>
        <p:nvSpPr>
          <p:cNvPr id="25" name="Rectangle 16"/>
          <p:cNvSpPr>
            <a:spLocks noChangeArrowheads="1"/>
          </p:cNvSpPr>
          <p:nvPr/>
        </p:nvSpPr>
        <p:spPr bwMode="auto">
          <a:xfrm>
            <a:off x="2735263" y="4579938"/>
            <a:ext cx="8345820" cy="1260475"/>
          </a:xfrm>
          <a:prstGeom prst="rect">
            <a:avLst/>
          </a:prstGeom>
          <a:noFill/>
          <a:ln w="19050">
            <a:solidFill>
              <a:srgbClr val="C0C0C0"/>
            </a:solidFill>
            <a:miter lim="800000"/>
            <a:headEnd/>
            <a:tailEnd/>
          </a:ln>
          <a:effectLst/>
        </p:spPr>
        <p:txBody>
          <a:bodyPr vert="horz" wrap="square" lIns="90000" tIns="90000" rIns="90000" bIns="90000" anchor="t"/>
          <a:lstStyle/>
          <a:p>
            <a:pPr fontAlgn="t"/>
            <a:r>
              <a:rPr lang="en-US" sz="1600" dirty="0" smtClean="0">
                <a:solidFill>
                  <a:srgbClr val="000000"/>
                </a:solidFill>
              </a:rPr>
              <a:t>Part of the responses </a:t>
            </a:r>
            <a:r>
              <a:rPr lang="en-US" sz="1600" dirty="0" err="1" smtClean="0">
                <a:solidFill>
                  <a:srgbClr val="000000"/>
                </a:solidFill>
              </a:rPr>
              <a:t>favour</a:t>
            </a:r>
            <a:r>
              <a:rPr lang="en-US" sz="1600" dirty="0" smtClean="0">
                <a:solidFill>
                  <a:srgbClr val="000000"/>
                </a:solidFill>
              </a:rPr>
              <a:t> scheduled </a:t>
            </a:r>
            <a:r>
              <a:rPr lang="en-US" sz="1600" dirty="0" err="1" smtClean="0">
                <a:solidFill>
                  <a:srgbClr val="000000"/>
                </a:solidFill>
              </a:rPr>
              <a:t>counteractivations</a:t>
            </a:r>
            <a:r>
              <a:rPr lang="en-US" sz="1600" dirty="0" smtClean="0">
                <a:solidFill>
                  <a:srgbClr val="000000"/>
                </a:solidFill>
              </a:rPr>
              <a:t> inter-alia because increases the probability for BSPs to be activation. Other BSPs stake that </a:t>
            </a:r>
            <a:r>
              <a:rPr lang="en-GB" sz="1600" dirty="0"/>
              <a:t>TSO should use flexibility when they need it for system security, not for market </a:t>
            </a:r>
            <a:r>
              <a:rPr lang="en-GB" sz="1600" dirty="0" smtClean="0"/>
              <a:t>issues.</a:t>
            </a:r>
            <a:endParaRPr lang="en-US" sz="1600" b="1" dirty="0">
              <a:solidFill>
                <a:srgbClr val="000000"/>
              </a:solidFill>
            </a:endParaRPr>
          </a:p>
          <a:p>
            <a:pPr marL="719138" lvl="2" algn="ctr" fontAlgn="base">
              <a:spcBef>
                <a:spcPct val="20000"/>
              </a:spcBef>
              <a:spcAft>
                <a:spcPct val="0"/>
              </a:spcAft>
              <a:buClr>
                <a:srgbClr val="FFD200"/>
              </a:buClr>
              <a:buSzPct val="100000"/>
            </a:pPr>
            <a:endParaRPr lang="en-US" sz="1600" dirty="0">
              <a:solidFill>
                <a:srgbClr val="646464"/>
              </a:solidFill>
              <a:latin typeface="Arial" panose="020B0604020202020204" pitchFamily="34" charset="0"/>
            </a:endParaRPr>
          </a:p>
        </p:txBody>
      </p:sp>
      <p:sp>
        <p:nvSpPr>
          <p:cNvPr id="26" name="Rectangle 17"/>
          <p:cNvSpPr>
            <a:spLocks noChangeArrowheads="1"/>
          </p:cNvSpPr>
          <p:nvPr/>
        </p:nvSpPr>
        <p:spPr bwMode="gray">
          <a:xfrm>
            <a:off x="641350" y="4579938"/>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Scheduled counter-activations</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12601227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7</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en-US" sz="2200" dirty="0" smtClean="0">
                <a:solidFill>
                  <a:srgbClr val="000000"/>
                </a:solidFill>
                <a:latin typeface="Calibri" panose="020F0502020204030204"/>
              </a:rPr>
              <a:t>Specification of the </a:t>
            </a:r>
            <a:r>
              <a:rPr lang="en-US" sz="2200" dirty="0">
                <a:solidFill>
                  <a:srgbClr val="000000"/>
                </a:solidFill>
                <a:latin typeface="Calibri" panose="020F0502020204030204"/>
              </a:rPr>
              <a:t>AOF -  Main Input</a:t>
            </a:r>
          </a:p>
        </p:txBody>
      </p:sp>
      <p:sp>
        <p:nvSpPr>
          <p:cNvPr id="18" name="Rectangle 12"/>
          <p:cNvSpPr txBox="1">
            <a:spLocks noChangeArrowheads="1"/>
          </p:cNvSpPr>
          <p:nvPr/>
        </p:nvSpPr>
        <p:spPr>
          <a:xfrm>
            <a:off x="2735262" y="1617160"/>
            <a:ext cx="8345821" cy="1260475"/>
          </a:xfrm>
          <a:prstGeom prst="rect">
            <a:avLst/>
          </a:prstGeom>
          <a:noFill/>
          <a:ln w="19050">
            <a:solidFill>
              <a:srgbClr val="C0C0C0"/>
            </a:solidFill>
          </a:ln>
        </p:spPr>
        <p:txBody>
          <a:bodyPr vert="horz" wrap="square" lIns="90000" tIns="90000" rIns="90000" bIns="9000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514350">
              <a:spcAft>
                <a:spcPts val="600"/>
              </a:spcAft>
              <a:buNone/>
              <a:defRPr/>
            </a:pPr>
            <a:r>
              <a:rPr lang="en-US" sz="1600" dirty="0" smtClean="0">
                <a:solidFill>
                  <a:schemeClr val="dk1"/>
                </a:solidFill>
              </a:rPr>
              <a:t>The BSPs are in general against unforeseeably accepted divisible bids however could accept unforeseeable rejected divisible bids for the goal of minimization of the balancing cost. </a:t>
            </a:r>
            <a:endParaRPr lang="en-US" sz="1600" dirty="0">
              <a:solidFill>
                <a:schemeClr val="dk1"/>
              </a:solidFill>
            </a:endParaRPr>
          </a:p>
        </p:txBody>
      </p:sp>
      <p:sp>
        <p:nvSpPr>
          <p:cNvPr id="19" name="AutoShape 11"/>
          <p:cNvSpPr>
            <a:spLocks noChangeArrowheads="1"/>
          </p:cNvSpPr>
          <p:nvPr/>
        </p:nvSpPr>
        <p:spPr bwMode="gray">
          <a:xfrm>
            <a:off x="468313" y="1466850"/>
            <a:ext cx="2154571" cy="3165308"/>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20" name="Rectangle 13"/>
          <p:cNvSpPr>
            <a:spLocks noChangeArrowheads="1"/>
          </p:cNvSpPr>
          <p:nvPr/>
        </p:nvSpPr>
        <p:spPr bwMode="gray">
          <a:xfrm>
            <a:off x="641350" y="1665288"/>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Unforeseeable accepted and rejected divisible bids</a:t>
            </a:r>
            <a:endParaRPr lang="en-US" sz="1600" b="1" dirty="0">
              <a:solidFill>
                <a:srgbClr val="000000"/>
              </a:solidFill>
              <a:latin typeface="Arial" panose="020B0604020202020204" pitchFamily="34" charset="0"/>
            </a:endParaRPr>
          </a:p>
        </p:txBody>
      </p:sp>
      <p:sp>
        <p:nvSpPr>
          <p:cNvPr id="21" name="Rectangle 14"/>
          <p:cNvSpPr>
            <a:spLocks noChangeArrowheads="1"/>
          </p:cNvSpPr>
          <p:nvPr/>
        </p:nvSpPr>
        <p:spPr bwMode="auto">
          <a:xfrm>
            <a:off x="2735263" y="3122613"/>
            <a:ext cx="8345820" cy="1260475"/>
          </a:xfrm>
          <a:prstGeom prst="rect">
            <a:avLst/>
          </a:prstGeom>
          <a:noFill/>
          <a:ln w="19050">
            <a:solidFill>
              <a:srgbClr val="C0C0C0"/>
            </a:solidFill>
            <a:miter lim="800000"/>
            <a:headEnd/>
            <a:tailEnd/>
          </a:ln>
          <a:effectLst/>
        </p:spPr>
        <p:txBody>
          <a:bodyPr vert="horz" wrap="square" lIns="90000" tIns="90000" rIns="90000" bIns="90000" anchor="t"/>
          <a:lstStyle/>
          <a:p>
            <a:pPr defTabSz="514350">
              <a:spcAft>
                <a:spcPts val="600"/>
              </a:spcAft>
              <a:defRPr/>
            </a:pPr>
            <a:r>
              <a:rPr lang="en-US" sz="1600" dirty="0">
                <a:solidFill>
                  <a:schemeClr val="dk1"/>
                </a:solidFill>
              </a:rPr>
              <a:t>If a set of optimal solutions exists, which lead however to different marginal prices: </a:t>
            </a:r>
            <a:r>
              <a:rPr lang="en-US" sz="1600" dirty="0" smtClean="0">
                <a:solidFill>
                  <a:schemeClr val="dk1"/>
                </a:solidFill>
              </a:rPr>
              <a:t>preference - smaller </a:t>
            </a:r>
            <a:r>
              <a:rPr lang="en-US" sz="1600" dirty="0">
                <a:solidFill>
                  <a:schemeClr val="dk1"/>
                </a:solidFill>
              </a:rPr>
              <a:t>marginal </a:t>
            </a:r>
            <a:r>
              <a:rPr lang="en-US" sz="1600" dirty="0" smtClean="0">
                <a:solidFill>
                  <a:schemeClr val="dk1"/>
                </a:solidFill>
              </a:rPr>
              <a:t>price - </a:t>
            </a:r>
            <a:r>
              <a:rPr lang="en-US" sz="1600" dirty="0">
                <a:solidFill>
                  <a:schemeClr val="dk1"/>
                </a:solidFill>
              </a:rPr>
              <a:t>because of transparency</a:t>
            </a:r>
          </a:p>
          <a:p>
            <a:pPr defTabSz="514350">
              <a:spcAft>
                <a:spcPts val="600"/>
              </a:spcAft>
              <a:defRPr/>
            </a:pPr>
            <a:r>
              <a:rPr lang="en-US" sz="1600" dirty="0">
                <a:solidFill>
                  <a:schemeClr val="dk1"/>
                </a:solidFill>
              </a:rPr>
              <a:t>The majority of BSPs </a:t>
            </a:r>
            <a:r>
              <a:rPr lang="en-US" sz="1600" dirty="0" smtClean="0">
                <a:solidFill>
                  <a:schemeClr val="dk1"/>
                </a:solidFill>
              </a:rPr>
              <a:t> </a:t>
            </a:r>
            <a:r>
              <a:rPr lang="en-US" sz="1600" dirty="0">
                <a:solidFill>
                  <a:schemeClr val="dk1"/>
                </a:solidFill>
              </a:rPr>
              <a:t>agrees with the minimization of the cross-border flows.</a:t>
            </a:r>
            <a:endParaRPr lang="de-CH" sz="1600" dirty="0">
              <a:solidFill>
                <a:schemeClr val="dk1"/>
              </a:solidFill>
            </a:endParaRPr>
          </a:p>
          <a:p>
            <a:pPr defTabSz="514350">
              <a:spcAft>
                <a:spcPts val="600"/>
              </a:spcAft>
              <a:defRPr/>
            </a:pPr>
            <a:endParaRPr lang="en-US" sz="1600" dirty="0"/>
          </a:p>
        </p:txBody>
      </p:sp>
      <p:sp>
        <p:nvSpPr>
          <p:cNvPr id="22" name="Rectangle 15"/>
          <p:cNvSpPr>
            <a:spLocks noChangeArrowheads="1"/>
          </p:cNvSpPr>
          <p:nvPr/>
        </p:nvSpPr>
        <p:spPr bwMode="gray">
          <a:xfrm>
            <a:off x="641350" y="3122613"/>
            <a:ext cx="1662113" cy="1322388"/>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Two optimal solutions with different marginal prices</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29363748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18</a:t>
            </a:fld>
            <a:endParaRPr lang="cs-CZ">
              <a:solidFill>
                <a:srgbClr val="7F7E82">
                  <a:tint val="75000"/>
                </a:srgbClr>
              </a:solidFill>
            </a:endParaRPr>
          </a:p>
        </p:txBody>
      </p:sp>
      <p:sp>
        <p:nvSpPr>
          <p:cNvPr id="13" name="Espace réservé du contenu 2"/>
          <p:cNvSpPr txBox="1">
            <a:spLocks/>
          </p:cNvSpPr>
          <p:nvPr/>
        </p:nvSpPr>
        <p:spPr>
          <a:xfrm>
            <a:off x="631372" y="199856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285750" indent="-285750" algn="just">
              <a:spcAft>
                <a:spcPts val="1200"/>
              </a:spcAft>
              <a:buFont typeface="Wingdings" panose="05000000000000000000" pitchFamily="2" charset="2"/>
              <a:buChar char="¦"/>
            </a:pPr>
            <a:endParaRPr lang="cs-CZ" sz="1400" dirty="0">
              <a:solidFill>
                <a:srgbClr val="000000"/>
              </a:solidFill>
              <a:latin typeface="Calibri" panose="020F0502020204030204"/>
            </a:endParaRPr>
          </a:p>
          <a:p>
            <a:pPr marL="285750" indent="-285750" algn="just">
              <a:spcAft>
                <a:spcPts val="1200"/>
              </a:spcAft>
              <a:buFont typeface="Wingdings" panose="05000000000000000000" pitchFamily="2" charset="2"/>
              <a:buChar char="¦"/>
            </a:pPr>
            <a:endParaRPr lang="fr-FR" sz="1400" b="1" dirty="0">
              <a:solidFill>
                <a:srgbClr val="000000"/>
              </a:solidFill>
              <a:latin typeface="Calibri" panose="020F0502020204030204"/>
            </a:endParaRPr>
          </a:p>
          <a:p>
            <a:pPr algn="just">
              <a:spcAft>
                <a:spcPts val="1200"/>
              </a:spcAft>
            </a:pPr>
            <a:endParaRPr lang="fr-FR" sz="1400" b="1"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5" name="Rectangle 4"/>
          <p:cNvSpPr/>
          <p:nvPr/>
        </p:nvSpPr>
        <p:spPr>
          <a:xfrm>
            <a:off x="3962400" y="143924"/>
            <a:ext cx="6096000" cy="369332"/>
          </a:xfrm>
          <a:prstGeom prst="rect">
            <a:avLst/>
          </a:prstGeom>
        </p:spPr>
        <p:txBody>
          <a:bodyPr>
            <a:spAutoFit/>
          </a:bodyPr>
          <a:lstStyle/>
          <a:p>
            <a:r>
              <a:rPr lang="cs-CZ" dirty="0">
                <a:solidFill>
                  <a:srgbClr val="1F497D"/>
                </a:solidFill>
                <a:ea typeface="Calibri" panose="020F0502020204030204" pitchFamily="34" charset="0"/>
              </a:rPr>
              <a:t> </a:t>
            </a:r>
            <a:endParaRPr lang="cs-CZ" dirty="0">
              <a:solidFill>
                <a:srgbClr val="000000"/>
              </a:solidFill>
              <a:ea typeface="Calibri" panose="020F0502020204030204" pitchFamily="34" charset="0"/>
            </a:endParaRPr>
          </a:p>
        </p:txBody>
      </p:sp>
      <p:sp>
        <p:nvSpPr>
          <p:cNvPr id="9" name="Espace réservé du contenu 2"/>
          <p:cNvSpPr txBox="1">
            <a:spLocks/>
          </p:cNvSpPr>
          <p:nvPr/>
        </p:nvSpPr>
        <p:spPr>
          <a:xfrm>
            <a:off x="631372" y="199725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just">
              <a:spcAft>
                <a:spcPts val="800"/>
              </a:spcAft>
            </a:pPr>
            <a:r>
              <a:rPr lang="en-US" sz="3200" dirty="0" smtClean="0">
                <a:solidFill>
                  <a:srgbClr val="000000"/>
                </a:solidFill>
                <a:latin typeface="Calibri" panose="020F0502020204030204"/>
              </a:rPr>
              <a:t>Feedback from the Consultation</a:t>
            </a:r>
          </a:p>
          <a:p>
            <a:pPr algn="just">
              <a:spcAft>
                <a:spcPts val="800"/>
              </a:spcAft>
            </a:pPr>
            <a:endParaRPr lang="en-US" sz="3200" dirty="0">
              <a:solidFill>
                <a:srgbClr val="000000"/>
              </a:solidFill>
              <a:latin typeface="Calibri" panose="020F0502020204030204"/>
            </a:endParaRPr>
          </a:p>
          <a:p>
            <a:pPr algn="just">
              <a:spcAft>
                <a:spcPts val="800"/>
              </a:spcAft>
            </a:pPr>
            <a:r>
              <a:rPr lang="en-US" sz="3200" dirty="0" smtClean="0">
                <a:solidFill>
                  <a:srgbClr val="000000"/>
                </a:solidFill>
                <a:latin typeface="Calibri" panose="020F0502020204030204"/>
              </a:rPr>
              <a:t>SETTLEMENT</a:t>
            </a:r>
          </a:p>
        </p:txBody>
      </p:sp>
    </p:spTree>
    <p:extLst>
      <p:ext uri="{BB962C8B-B14F-4D97-AF65-F5344CB8AC3E}">
        <p14:creationId xmlns:p14="http://schemas.microsoft.com/office/powerpoint/2010/main" val="12613960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19</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en-US" sz="2200" dirty="0" smtClean="0">
                <a:solidFill>
                  <a:srgbClr val="000000"/>
                </a:solidFill>
                <a:latin typeface="Calibri" panose="020F0502020204030204"/>
              </a:rPr>
              <a:t>Settlement – Main Input</a:t>
            </a:r>
            <a:endParaRPr lang="en-US" sz="2200" dirty="0">
              <a:solidFill>
                <a:srgbClr val="000000"/>
              </a:solidFill>
              <a:latin typeface="Calibri" panose="020F0502020204030204"/>
            </a:endParaRPr>
          </a:p>
        </p:txBody>
      </p:sp>
      <p:sp>
        <p:nvSpPr>
          <p:cNvPr id="18" name="Rectangle 12"/>
          <p:cNvSpPr txBox="1">
            <a:spLocks noChangeArrowheads="1"/>
          </p:cNvSpPr>
          <p:nvPr/>
        </p:nvSpPr>
        <p:spPr>
          <a:xfrm>
            <a:off x="3007979" y="1609629"/>
            <a:ext cx="8345821" cy="1260475"/>
          </a:xfrm>
          <a:prstGeom prst="rect">
            <a:avLst/>
          </a:prstGeom>
          <a:noFill/>
          <a:ln w="19050">
            <a:solidFill>
              <a:srgbClr val="C0C0C0"/>
            </a:solidFill>
          </a:ln>
        </p:spPr>
        <p:txBody>
          <a:bodyPr vert="horz" wrap="square" lIns="90000" tIns="90000" rIns="90000" bIns="9000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514350">
              <a:buNone/>
              <a:defRPr/>
            </a:pPr>
            <a:r>
              <a:rPr lang="en-US" sz="1600" dirty="0">
                <a:solidFill>
                  <a:srgbClr val="000000"/>
                </a:solidFill>
              </a:rPr>
              <a:t>Request for </a:t>
            </a:r>
            <a:r>
              <a:rPr lang="en-US" sz="1600" b="1" dirty="0">
                <a:solidFill>
                  <a:srgbClr val="000000"/>
                </a:solidFill>
              </a:rPr>
              <a:t>further analysis </a:t>
            </a:r>
            <a:r>
              <a:rPr lang="en-US" sz="1600" dirty="0">
                <a:solidFill>
                  <a:srgbClr val="000000"/>
                </a:solidFill>
              </a:rPr>
              <a:t>on the </a:t>
            </a:r>
            <a:r>
              <a:rPr lang="en-US" sz="1600" b="1" dirty="0">
                <a:solidFill>
                  <a:srgbClr val="000000"/>
                </a:solidFill>
              </a:rPr>
              <a:t>effects of XBMP on imbalance pricing</a:t>
            </a:r>
            <a:r>
              <a:rPr lang="en-US" sz="1600" dirty="0">
                <a:solidFill>
                  <a:srgbClr val="000000"/>
                </a:solidFill>
              </a:rPr>
              <a:t>.</a:t>
            </a:r>
          </a:p>
          <a:p>
            <a:pPr marL="0" indent="0" defTabSz="514350">
              <a:buNone/>
              <a:defRPr/>
            </a:pPr>
            <a:r>
              <a:rPr lang="en-US" sz="1600" dirty="0">
                <a:solidFill>
                  <a:srgbClr val="000000"/>
                </a:solidFill>
              </a:rPr>
              <a:t>Stakeholders do not see additional negative impacts of XBMP. </a:t>
            </a:r>
          </a:p>
        </p:txBody>
      </p:sp>
      <p:sp>
        <p:nvSpPr>
          <p:cNvPr id="19" name="AutoShape 11"/>
          <p:cNvSpPr>
            <a:spLocks noChangeArrowheads="1"/>
          </p:cNvSpPr>
          <p:nvPr/>
        </p:nvSpPr>
        <p:spPr bwMode="gray">
          <a:xfrm>
            <a:off x="741030" y="1459319"/>
            <a:ext cx="2159000" cy="4508500"/>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20" name="Rectangle 13"/>
          <p:cNvSpPr>
            <a:spLocks noChangeArrowheads="1"/>
          </p:cNvSpPr>
          <p:nvPr/>
        </p:nvSpPr>
        <p:spPr bwMode="gray">
          <a:xfrm>
            <a:off x="914067" y="1657757"/>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Cross-border marginal pricing</a:t>
            </a:r>
            <a:endParaRPr lang="en-US" sz="1600" b="1" dirty="0">
              <a:solidFill>
                <a:srgbClr val="000000"/>
              </a:solidFill>
              <a:latin typeface="Arial" panose="020B0604020202020204" pitchFamily="34" charset="0"/>
            </a:endParaRPr>
          </a:p>
        </p:txBody>
      </p:sp>
      <p:sp>
        <p:nvSpPr>
          <p:cNvPr id="21" name="Rectangle 14"/>
          <p:cNvSpPr>
            <a:spLocks noChangeArrowheads="1"/>
          </p:cNvSpPr>
          <p:nvPr/>
        </p:nvSpPr>
        <p:spPr bwMode="auto">
          <a:xfrm>
            <a:off x="3007979" y="2958709"/>
            <a:ext cx="8345820" cy="1260475"/>
          </a:xfrm>
          <a:prstGeom prst="rect">
            <a:avLst/>
          </a:prstGeom>
          <a:noFill/>
          <a:ln w="19050">
            <a:solidFill>
              <a:srgbClr val="C0C0C0"/>
            </a:solidFill>
            <a:miter lim="800000"/>
            <a:headEnd/>
            <a:tailEnd/>
          </a:ln>
          <a:effectLst/>
        </p:spPr>
        <p:txBody>
          <a:bodyPr vert="horz" wrap="square" lIns="90000" tIns="90000" rIns="90000" bIns="90000" anchor="t"/>
          <a:lstStyle/>
          <a:p>
            <a:pPr defTabSz="514350">
              <a:spcAft>
                <a:spcPts val="600"/>
              </a:spcAft>
              <a:defRPr/>
            </a:pPr>
            <a:r>
              <a:rPr lang="en-US" sz="1600" dirty="0">
                <a:solidFill>
                  <a:srgbClr val="000000"/>
                </a:solidFill>
              </a:rPr>
              <a:t>Stakeholders are in favor of </a:t>
            </a:r>
            <a:r>
              <a:rPr lang="en-US" sz="1600" b="1" dirty="0">
                <a:solidFill>
                  <a:srgbClr val="000000"/>
                </a:solidFill>
              </a:rPr>
              <a:t>block settlement</a:t>
            </a:r>
            <a:r>
              <a:rPr lang="en-US" sz="1600" dirty="0">
                <a:solidFill>
                  <a:srgbClr val="000000"/>
                </a:solidFill>
              </a:rPr>
              <a:t>. However, it has been argued, that the relation to TSO-BRP (</a:t>
            </a:r>
            <a:r>
              <a:rPr lang="en-US" sz="1600" b="1" dirty="0">
                <a:solidFill>
                  <a:srgbClr val="000000"/>
                </a:solidFill>
              </a:rPr>
              <a:t>imbalance adjustment</a:t>
            </a:r>
            <a:r>
              <a:rPr lang="en-US" sz="1600" dirty="0">
                <a:solidFill>
                  <a:srgbClr val="000000"/>
                </a:solidFill>
              </a:rPr>
              <a:t>) remains unclear</a:t>
            </a:r>
            <a:r>
              <a:rPr lang="en-US" sz="1600" dirty="0" smtClean="0">
                <a:solidFill>
                  <a:srgbClr val="000000"/>
                </a:solidFill>
              </a:rPr>
              <a:t>. </a:t>
            </a:r>
            <a:endParaRPr lang="en-US" sz="1600" dirty="0"/>
          </a:p>
        </p:txBody>
      </p:sp>
      <p:sp>
        <p:nvSpPr>
          <p:cNvPr id="22" name="Rectangle 15"/>
          <p:cNvSpPr>
            <a:spLocks noChangeArrowheads="1"/>
          </p:cNvSpPr>
          <p:nvPr/>
        </p:nvSpPr>
        <p:spPr bwMode="gray">
          <a:xfrm>
            <a:off x="914067" y="3115082"/>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Volume Settlement</a:t>
            </a:r>
            <a:endParaRPr lang="en-US" sz="1600" b="1" dirty="0">
              <a:solidFill>
                <a:srgbClr val="000000"/>
              </a:solidFill>
              <a:latin typeface="Arial" panose="020B0604020202020204" pitchFamily="34" charset="0"/>
            </a:endParaRPr>
          </a:p>
        </p:txBody>
      </p:sp>
      <p:sp>
        <p:nvSpPr>
          <p:cNvPr id="23" name="Rectangle 16"/>
          <p:cNvSpPr>
            <a:spLocks noChangeArrowheads="1"/>
          </p:cNvSpPr>
          <p:nvPr/>
        </p:nvSpPr>
        <p:spPr bwMode="auto">
          <a:xfrm>
            <a:off x="3007979" y="4375557"/>
            <a:ext cx="8345820" cy="1797997"/>
          </a:xfrm>
          <a:prstGeom prst="rect">
            <a:avLst/>
          </a:prstGeom>
          <a:noFill/>
          <a:ln w="19050">
            <a:solidFill>
              <a:srgbClr val="C0C0C0"/>
            </a:solidFill>
            <a:miter lim="800000"/>
            <a:headEnd/>
            <a:tailEnd/>
          </a:ln>
          <a:effectLst/>
        </p:spPr>
        <p:txBody>
          <a:bodyPr vert="horz" wrap="square" lIns="90000" tIns="90000" rIns="90000" bIns="90000" anchor="t"/>
          <a:lstStyle/>
          <a:p>
            <a:r>
              <a:rPr lang="en-US" sz="1600" dirty="0">
                <a:solidFill>
                  <a:srgbClr val="000000"/>
                </a:solidFill>
              </a:rPr>
              <a:t>Stakeholders </a:t>
            </a:r>
            <a:r>
              <a:rPr lang="en-US" sz="1600" b="1" dirty="0">
                <a:solidFill>
                  <a:srgbClr val="000000"/>
                </a:solidFill>
              </a:rPr>
              <a:t>prefer pricing category A</a:t>
            </a:r>
            <a:r>
              <a:rPr lang="en-US" sz="1600" dirty="0">
                <a:solidFill>
                  <a:srgbClr val="000000"/>
                </a:solidFill>
              </a:rPr>
              <a:t> (Main argument: </a:t>
            </a:r>
            <a:r>
              <a:rPr lang="en-US" sz="1600" i="1" dirty="0">
                <a:solidFill>
                  <a:srgbClr val="000000"/>
                </a:solidFill>
              </a:rPr>
              <a:t>most transparent</a:t>
            </a:r>
            <a:r>
              <a:rPr lang="en-US" sz="1600" dirty="0">
                <a:solidFill>
                  <a:srgbClr val="000000"/>
                </a:solidFill>
              </a:rPr>
              <a:t>). </a:t>
            </a:r>
            <a:endParaRPr lang="en-US" sz="1600" dirty="0" smtClean="0">
              <a:solidFill>
                <a:srgbClr val="000000"/>
              </a:solidFill>
            </a:endParaRPr>
          </a:p>
          <a:p>
            <a:r>
              <a:rPr lang="en-US" sz="1600" dirty="0" smtClean="0">
                <a:solidFill>
                  <a:srgbClr val="000000"/>
                </a:solidFill>
              </a:rPr>
              <a:t>Stakeholders </a:t>
            </a:r>
            <a:r>
              <a:rPr lang="en-US" sz="1600" b="1" dirty="0">
                <a:solidFill>
                  <a:srgbClr val="000000"/>
                </a:solidFill>
              </a:rPr>
              <a:t>prefer pricing option “A3” </a:t>
            </a:r>
            <a:r>
              <a:rPr lang="en-US" sz="1600" dirty="0">
                <a:solidFill>
                  <a:srgbClr val="000000"/>
                </a:solidFill>
              </a:rPr>
              <a:t>(Main argument: </a:t>
            </a:r>
            <a:r>
              <a:rPr lang="en-US" sz="1600" i="1" dirty="0">
                <a:solidFill>
                  <a:srgbClr val="000000"/>
                </a:solidFill>
              </a:rPr>
              <a:t>most transparent option</a:t>
            </a:r>
            <a:r>
              <a:rPr lang="en-US" sz="1600" dirty="0">
                <a:solidFill>
                  <a:srgbClr val="000000"/>
                </a:solidFill>
              </a:rPr>
              <a:t>). </a:t>
            </a:r>
            <a:r>
              <a:rPr lang="en-US" sz="1600" dirty="0">
                <a:solidFill>
                  <a:prstClr val="white">
                    <a:lumMod val="50000"/>
                  </a:prstClr>
                </a:solidFill>
              </a:rPr>
              <a:t>– </a:t>
            </a:r>
            <a:r>
              <a:rPr lang="en-US" sz="1600" dirty="0" err="1"/>
              <a:t>ie</a:t>
            </a:r>
            <a:r>
              <a:rPr lang="en-US" sz="1600" dirty="0"/>
              <a:t>. </a:t>
            </a:r>
            <a:r>
              <a:rPr lang="de-AT" sz="1600" dirty="0"/>
              <a:t>Same </a:t>
            </a:r>
            <a:r>
              <a:rPr lang="de-AT" sz="1600" dirty="0" err="1"/>
              <a:t>settlement</a:t>
            </a:r>
            <a:r>
              <a:rPr lang="de-AT" sz="1600" dirty="0"/>
              <a:t> </a:t>
            </a:r>
            <a:r>
              <a:rPr lang="de-AT" sz="1600" dirty="0" err="1"/>
              <a:t>price</a:t>
            </a:r>
            <a:r>
              <a:rPr lang="de-AT" sz="1600" dirty="0"/>
              <a:t> </a:t>
            </a:r>
            <a:r>
              <a:rPr lang="de-AT" sz="1600" dirty="0" err="1"/>
              <a:t>for</a:t>
            </a:r>
            <a:r>
              <a:rPr lang="de-AT" sz="1600" dirty="0"/>
              <a:t> </a:t>
            </a:r>
            <a:r>
              <a:rPr lang="de-AT" sz="1600" dirty="0" err="1"/>
              <a:t>direct</a:t>
            </a:r>
            <a:r>
              <a:rPr lang="de-AT" sz="1600" dirty="0"/>
              <a:t> </a:t>
            </a:r>
            <a:r>
              <a:rPr lang="de-AT" sz="1600" dirty="0" err="1"/>
              <a:t>and</a:t>
            </a:r>
            <a:r>
              <a:rPr lang="de-AT" sz="1600" dirty="0"/>
              <a:t> </a:t>
            </a:r>
            <a:r>
              <a:rPr lang="de-AT" sz="1600" dirty="0" err="1"/>
              <a:t>schedule</a:t>
            </a:r>
            <a:r>
              <a:rPr lang="de-AT" sz="1600" dirty="0"/>
              <a:t> </a:t>
            </a:r>
            <a:r>
              <a:rPr lang="de-AT" sz="1600" dirty="0" err="1"/>
              <a:t>activations</a:t>
            </a:r>
            <a:r>
              <a:rPr lang="de-AT" sz="1600" dirty="0"/>
              <a:t>. </a:t>
            </a:r>
            <a:r>
              <a:rPr lang="en-GB" sz="1600" dirty="0"/>
              <a:t>(Max. price of activated SA- and DA-bids of the main QH)</a:t>
            </a:r>
          </a:p>
          <a:p>
            <a:pPr defTabSz="514350">
              <a:defRPr/>
            </a:pPr>
            <a:r>
              <a:rPr lang="en-US" sz="1600" dirty="0" smtClean="0">
                <a:solidFill>
                  <a:srgbClr val="000000"/>
                </a:solidFill>
              </a:rPr>
              <a:t>Majority </a:t>
            </a:r>
            <a:r>
              <a:rPr lang="en-US" sz="1600" dirty="0">
                <a:solidFill>
                  <a:srgbClr val="000000"/>
                </a:solidFill>
              </a:rPr>
              <a:t>of respondents are of the opinion that the greatest</a:t>
            </a:r>
            <a:r>
              <a:rPr lang="en-US" sz="1600" b="1" dirty="0">
                <a:solidFill>
                  <a:srgbClr val="000000"/>
                </a:solidFill>
              </a:rPr>
              <a:t> incentive to submit bids capable of direct activation </a:t>
            </a:r>
            <a:r>
              <a:rPr lang="en-US" sz="1600" dirty="0">
                <a:solidFill>
                  <a:srgbClr val="000000"/>
                </a:solidFill>
              </a:rPr>
              <a:t>can be achieved with pricing options </a:t>
            </a:r>
            <a:r>
              <a:rPr lang="en-US" sz="1600" b="1" dirty="0">
                <a:solidFill>
                  <a:srgbClr val="000000"/>
                </a:solidFill>
              </a:rPr>
              <a:t>“A3</a:t>
            </a:r>
            <a:r>
              <a:rPr lang="en-US" sz="1600" b="1" dirty="0" smtClean="0">
                <a:solidFill>
                  <a:srgbClr val="000000"/>
                </a:solidFill>
              </a:rPr>
              <a:t>”. </a:t>
            </a:r>
            <a:endParaRPr lang="en-US" sz="1600" dirty="0">
              <a:solidFill>
                <a:srgbClr val="418AB3"/>
              </a:solidFill>
            </a:endParaRPr>
          </a:p>
        </p:txBody>
      </p:sp>
      <p:sp>
        <p:nvSpPr>
          <p:cNvPr id="24" name="Rectangle 17"/>
          <p:cNvSpPr>
            <a:spLocks noChangeArrowheads="1"/>
          </p:cNvSpPr>
          <p:nvPr/>
        </p:nvSpPr>
        <p:spPr bwMode="gray">
          <a:xfrm>
            <a:off x="914067" y="4572407"/>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Pricing Settlement</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20930243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2</a:t>
            </a:fld>
            <a:endParaRPr lang="cs-CZ">
              <a:solidFill>
                <a:srgbClr val="7F7E82">
                  <a:tint val="75000"/>
                </a:srgbClr>
              </a:solidFill>
            </a:endParaRPr>
          </a:p>
        </p:txBody>
      </p:sp>
      <p:sp>
        <p:nvSpPr>
          <p:cNvPr id="13" name="Espace réservé du contenu 2"/>
          <p:cNvSpPr txBox="1">
            <a:spLocks/>
          </p:cNvSpPr>
          <p:nvPr/>
        </p:nvSpPr>
        <p:spPr>
          <a:xfrm>
            <a:off x="631372" y="199856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285750" indent="-285750" algn="just">
              <a:spcAft>
                <a:spcPts val="1200"/>
              </a:spcAft>
              <a:buFont typeface="Wingdings" panose="05000000000000000000" pitchFamily="2" charset="2"/>
              <a:buChar char="¦"/>
            </a:pPr>
            <a:endParaRPr lang="cs-CZ" sz="1400" dirty="0">
              <a:solidFill>
                <a:srgbClr val="000000"/>
              </a:solidFill>
              <a:latin typeface="Calibri" panose="020F0502020204030204"/>
            </a:endParaRPr>
          </a:p>
          <a:p>
            <a:pPr marL="285750" indent="-285750" algn="just">
              <a:spcAft>
                <a:spcPts val="1200"/>
              </a:spcAft>
              <a:buFont typeface="Wingdings" panose="05000000000000000000" pitchFamily="2" charset="2"/>
              <a:buChar char="¦"/>
            </a:pPr>
            <a:endParaRPr lang="fr-FR" sz="1400" b="1" dirty="0">
              <a:solidFill>
                <a:srgbClr val="000000"/>
              </a:solidFill>
              <a:latin typeface="Calibri" panose="020F0502020204030204"/>
            </a:endParaRPr>
          </a:p>
          <a:p>
            <a:pPr algn="just">
              <a:spcAft>
                <a:spcPts val="1200"/>
              </a:spcAft>
            </a:pPr>
            <a:endParaRPr lang="fr-FR" sz="1400" b="1"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5" name="Rectangle 4"/>
          <p:cNvSpPr/>
          <p:nvPr/>
        </p:nvSpPr>
        <p:spPr>
          <a:xfrm>
            <a:off x="3962400" y="143924"/>
            <a:ext cx="6096000" cy="369332"/>
          </a:xfrm>
          <a:prstGeom prst="rect">
            <a:avLst/>
          </a:prstGeom>
        </p:spPr>
        <p:txBody>
          <a:bodyPr>
            <a:spAutoFit/>
          </a:bodyPr>
          <a:lstStyle/>
          <a:p>
            <a:r>
              <a:rPr lang="cs-CZ" dirty="0">
                <a:solidFill>
                  <a:srgbClr val="1F497D"/>
                </a:solidFill>
                <a:ea typeface="Calibri" panose="020F0502020204030204" pitchFamily="34" charset="0"/>
              </a:rPr>
              <a:t> </a:t>
            </a:r>
            <a:endParaRPr lang="cs-CZ" dirty="0">
              <a:solidFill>
                <a:srgbClr val="000000"/>
              </a:solidFill>
              <a:ea typeface="Calibri" panose="020F0502020204030204" pitchFamily="34" charset="0"/>
            </a:endParaRPr>
          </a:p>
        </p:txBody>
      </p:sp>
      <p:sp>
        <p:nvSpPr>
          <p:cNvPr id="9" name="Espace réservé du contenu 2"/>
          <p:cNvSpPr txBox="1">
            <a:spLocks/>
          </p:cNvSpPr>
          <p:nvPr/>
        </p:nvSpPr>
        <p:spPr>
          <a:xfrm>
            <a:off x="631372" y="199725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just">
              <a:spcAft>
                <a:spcPts val="800"/>
              </a:spcAft>
            </a:pPr>
            <a:r>
              <a:rPr lang="en-US" sz="3200" dirty="0" smtClean="0">
                <a:solidFill>
                  <a:srgbClr val="000000"/>
                </a:solidFill>
                <a:latin typeface="Calibri" panose="020F0502020204030204"/>
              </a:rPr>
              <a:t>MARI Members Update</a:t>
            </a:r>
          </a:p>
        </p:txBody>
      </p:sp>
    </p:spTree>
    <p:extLst>
      <p:ext uri="{BB962C8B-B14F-4D97-AF65-F5344CB8AC3E}">
        <p14:creationId xmlns:p14="http://schemas.microsoft.com/office/powerpoint/2010/main" val="956394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20</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en-US" sz="2200" dirty="0" smtClean="0">
                <a:solidFill>
                  <a:srgbClr val="000000"/>
                </a:solidFill>
                <a:latin typeface="Calibri" panose="020F0502020204030204"/>
              </a:rPr>
              <a:t>Settlement – Main Input</a:t>
            </a:r>
            <a:endParaRPr lang="en-US" sz="2200" dirty="0">
              <a:solidFill>
                <a:srgbClr val="000000"/>
              </a:solidFill>
              <a:latin typeface="Calibri" panose="020F0502020204030204"/>
            </a:endParaRPr>
          </a:p>
        </p:txBody>
      </p:sp>
      <p:sp>
        <p:nvSpPr>
          <p:cNvPr id="7" name="Rectangle 12"/>
          <p:cNvSpPr txBox="1">
            <a:spLocks noChangeArrowheads="1"/>
          </p:cNvSpPr>
          <p:nvPr/>
        </p:nvSpPr>
        <p:spPr>
          <a:xfrm>
            <a:off x="2735262" y="1617160"/>
            <a:ext cx="8345821" cy="1260475"/>
          </a:xfrm>
          <a:prstGeom prst="rect">
            <a:avLst/>
          </a:prstGeom>
          <a:noFill/>
          <a:ln w="19050">
            <a:solidFill>
              <a:srgbClr val="C0C0C0"/>
            </a:solidFill>
          </a:ln>
        </p:spPr>
        <p:txBody>
          <a:bodyPr vert="horz" wrap="square" lIns="90000" tIns="90000" rIns="90000" bIns="9000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rgbClr val="000000"/>
                </a:solidFill>
              </a:rPr>
              <a:t>About 50% of respondents consider the issue of “</a:t>
            </a:r>
            <a:r>
              <a:rPr lang="en-US" sz="1600" b="1" dirty="0">
                <a:solidFill>
                  <a:srgbClr val="000000"/>
                </a:solidFill>
              </a:rPr>
              <a:t>Rejected Scheduled bids/demand</a:t>
            </a:r>
            <a:r>
              <a:rPr lang="en-US" sz="1600" dirty="0">
                <a:solidFill>
                  <a:srgbClr val="000000"/>
                </a:solidFill>
              </a:rPr>
              <a:t>”* problematic, 50% do not. </a:t>
            </a:r>
            <a:endParaRPr lang="en-US" sz="1600" dirty="0" smtClean="0">
              <a:solidFill>
                <a:srgbClr val="000000"/>
              </a:solidFill>
            </a:endParaRPr>
          </a:p>
          <a:p>
            <a:r>
              <a:rPr lang="en-US" sz="1600" dirty="0" smtClean="0">
                <a:solidFill>
                  <a:srgbClr val="000000"/>
                </a:solidFill>
              </a:rPr>
              <a:t>No </a:t>
            </a:r>
            <a:r>
              <a:rPr lang="en-US" sz="1600" dirty="0">
                <a:solidFill>
                  <a:srgbClr val="000000"/>
                </a:solidFill>
              </a:rPr>
              <a:t>reasons were provided. Some of the stakeholders might have confused this issue with “Unforeseeably Rejected Divisible Bids (URB)”) </a:t>
            </a:r>
          </a:p>
          <a:p>
            <a:pPr defTabSz="514350">
              <a:spcAft>
                <a:spcPts val="600"/>
              </a:spcAft>
            </a:pPr>
            <a:endParaRPr lang="en-GB" sz="1600" dirty="0" smtClean="0">
              <a:solidFill>
                <a:srgbClr val="000000"/>
              </a:solidFill>
            </a:endParaRPr>
          </a:p>
          <a:p>
            <a:pPr marL="0" indent="0" defTabSz="514350">
              <a:buNone/>
              <a:defRPr/>
            </a:pPr>
            <a:endParaRPr lang="en-US" sz="1600" dirty="0">
              <a:solidFill>
                <a:srgbClr val="000000"/>
              </a:solidFill>
            </a:endParaRPr>
          </a:p>
        </p:txBody>
      </p:sp>
      <p:sp>
        <p:nvSpPr>
          <p:cNvPr id="9" name="AutoShape 11"/>
          <p:cNvSpPr>
            <a:spLocks noChangeArrowheads="1"/>
          </p:cNvSpPr>
          <p:nvPr/>
        </p:nvSpPr>
        <p:spPr bwMode="gray">
          <a:xfrm>
            <a:off x="468313" y="1466849"/>
            <a:ext cx="2142540" cy="3032961"/>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10" name="Rectangle 13"/>
          <p:cNvSpPr>
            <a:spLocks noChangeArrowheads="1"/>
          </p:cNvSpPr>
          <p:nvPr/>
        </p:nvSpPr>
        <p:spPr bwMode="gray">
          <a:xfrm>
            <a:off x="641350" y="1665288"/>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Rejected scheduled bids/demand</a:t>
            </a:r>
            <a:endParaRPr lang="en-US" sz="1600" b="1" dirty="0">
              <a:solidFill>
                <a:srgbClr val="000000"/>
              </a:solidFill>
              <a:latin typeface="Arial" panose="020B0604020202020204" pitchFamily="34" charset="0"/>
            </a:endParaRPr>
          </a:p>
        </p:txBody>
      </p:sp>
      <p:sp>
        <p:nvSpPr>
          <p:cNvPr id="11" name="Rectangle 14"/>
          <p:cNvSpPr>
            <a:spLocks noChangeArrowheads="1"/>
          </p:cNvSpPr>
          <p:nvPr/>
        </p:nvSpPr>
        <p:spPr bwMode="auto">
          <a:xfrm>
            <a:off x="2735263" y="3122613"/>
            <a:ext cx="8345820" cy="1260475"/>
          </a:xfrm>
          <a:prstGeom prst="rect">
            <a:avLst/>
          </a:prstGeom>
          <a:noFill/>
          <a:ln w="19050">
            <a:solidFill>
              <a:srgbClr val="C0C0C0"/>
            </a:solidFill>
            <a:miter lim="800000"/>
            <a:headEnd/>
            <a:tailEnd/>
          </a:ln>
          <a:effectLst/>
        </p:spPr>
        <p:txBody>
          <a:bodyPr vert="horz" wrap="square" lIns="90000" tIns="90000" rIns="90000" bIns="90000" anchor="t"/>
          <a:lstStyle/>
          <a:p>
            <a:pPr>
              <a:spcAft>
                <a:spcPts val="600"/>
              </a:spcAft>
            </a:pPr>
            <a:r>
              <a:rPr lang="en-US" sz="1600" b="1" dirty="0">
                <a:solidFill>
                  <a:srgbClr val="000000"/>
                </a:solidFill>
              </a:rPr>
              <a:t>Wide consensus </a:t>
            </a:r>
            <a:r>
              <a:rPr lang="en-US" sz="1600" dirty="0">
                <a:solidFill>
                  <a:srgbClr val="000000"/>
                </a:solidFill>
              </a:rPr>
              <a:t>on how to treat </a:t>
            </a:r>
            <a:r>
              <a:rPr lang="en-US" sz="1600" b="1" dirty="0">
                <a:solidFill>
                  <a:srgbClr val="000000"/>
                </a:solidFill>
              </a:rPr>
              <a:t>price indeterminacies</a:t>
            </a:r>
            <a:r>
              <a:rPr lang="en-US" sz="1600" dirty="0">
                <a:solidFill>
                  <a:srgbClr val="000000"/>
                </a:solidFill>
              </a:rPr>
              <a:t>. </a:t>
            </a:r>
          </a:p>
          <a:p>
            <a:pPr>
              <a:spcAft>
                <a:spcPts val="600"/>
              </a:spcAft>
            </a:pPr>
            <a:r>
              <a:rPr lang="en-US" sz="1600" dirty="0">
                <a:solidFill>
                  <a:srgbClr val="000000"/>
                </a:solidFill>
                <a:sym typeface="Wingdings" panose="05000000000000000000" pitchFamily="2" charset="2"/>
              </a:rPr>
              <a:t> Option1: “Mid point of marginal prices”. (Main reason: consistency with current practice in DA-market and foreseen practice in TERRE). </a:t>
            </a:r>
            <a:endParaRPr lang="en-US" sz="1600" dirty="0"/>
          </a:p>
        </p:txBody>
      </p:sp>
      <p:sp>
        <p:nvSpPr>
          <p:cNvPr id="12" name="Rectangle 15"/>
          <p:cNvSpPr>
            <a:spLocks noChangeArrowheads="1"/>
          </p:cNvSpPr>
          <p:nvPr/>
        </p:nvSpPr>
        <p:spPr bwMode="gray">
          <a:xfrm>
            <a:off x="641350" y="3122613"/>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Price indeterminacies</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31795049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21</a:t>
            </a:fld>
            <a:endParaRPr lang="cs-CZ">
              <a:solidFill>
                <a:srgbClr val="7F7E82">
                  <a:tint val="75000"/>
                </a:srgbClr>
              </a:solidFill>
            </a:endParaRPr>
          </a:p>
        </p:txBody>
      </p:sp>
      <p:sp>
        <p:nvSpPr>
          <p:cNvPr id="13" name="Espace réservé du contenu 2"/>
          <p:cNvSpPr txBox="1">
            <a:spLocks/>
          </p:cNvSpPr>
          <p:nvPr/>
        </p:nvSpPr>
        <p:spPr>
          <a:xfrm>
            <a:off x="631372" y="199856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285750" indent="-285750" algn="just">
              <a:spcAft>
                <a:spcPts val="1200"/>
              </a:spcAft>
              <a:buFont typeface="Wingdings" panose="05000000000000000000" pitchFamily="2" charset="2"/>
              <a:buChar char="¦"/>
            </a:pPr>
            <a:endParaRPr lang="cs-CZ" sz="1400" dirty="0">
              <a:solidFill>
                <a:srgbClr val="000000"/>
              </a:solidFill>
              <a:latin typeface="Calibri" panose="020F0502020204030204"/>
            </a:endParaRPr>
          </a:p>
          <a:p>
            <a:pPr marL="285750" indent="-285750" algn="just">
              <a:spcAft>
                <a:spcPts val="1200"/>
              </a:spcAft>
              <a:buFont typeface="Wingdings" panose="05000000000000000000" pitchFamily="2" charset="2"/>
              <a:buChar char="¦"/>
            </a:pPr>
            <a:endParaRPr lang="fr-FR" sz="1400" b="1" dirty="0">
              <a:solidFill>
                <a:srgbClr val="000000"/>
              </a:solidFill>
              <a:latin typeface="Calibri" panose="020F0502020204030204"/>
            </a:endParaRPr>
          </a:p>
          <a:p>
            <a:pPr algn="just">
              <a:spcAft>
                <a:spcPts val="1200"/>
              </a:spcAft>
            </a:pPr>
            <a:endParaRPr lang="fr-FR" sz="1400" b="1"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5" name="Rectangle 4"/>
          <p:cNvSpPr/>
          <p:nvPr/>
        </p:nvSpPr>
        <p:spPr>
          <a:xfrm>
            <a:off x="3962400" y="143924"/>
            <a:ext cx="6096000" cy="369332"/>
          </a:xfrm>
          <a:prstGeom prst="rect">
            <a:avLst/>
          </a:prstGeom>
        </p:spPr>
        <p:txBody>
          <a:bodyPr>
            <a:spAutoFit/>
          </a:bodyPr>
          <a:lstStyle/>
          <a:p>
            <a:r>
              <a:rPr lang="cs-CZ" dirty="0">
                <a:solidFill>
                  <a:srgbClr val="1F497D"/>
                </a:solidFill>
                <a:ea typeface="Calibri" panose="020F0502020204030204" pitchFamily="34" charset="0"/>
              </a:rPr>
              <a:t> </a:t>
            </a:r>
            <a:endParaRPr lang="cs-CZ" dirty="0">
              <a:solidFill>
                <a:srgbClr val="000000"/>
              </a:solidFill>
              <a:ea typeface="Calibri" panose="020F0502020204030204" pitchFamily="34" charset="0"/>
            </a:endParaRPr>
          </a:p>
        </p:txBody>
      </p:sp>
      <p:sp>
        <p:nvSpPr>
          <p:cNvPr id="9" name="Espace réservé du contenu 2"/>
          <p:cNvSpPr txBox="1">
            <a:spLocks/>
          </p:cNvSpPr>
          <p:nvPr/>
        </p:nvSpPr>
        <p:spPr>
          <a:xfrm>
            <a:off x="631372" y="199725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just">
              <a:spcAft>
                <a:spcPts val="800"/>
              </a:spcAft>
            </a:pPr>
            <a:r>
              <a:rPr lang="en-US" sz="3200" dirty="0" smtClean="0">
                <a:solidFill>
                  <a:srgbClr val="000000"/>
                </a:solidFill>
                <a:latin typeface="Calibri" panose="020F0502020204030204"/>
              </a:rPr>
              <a:t>Feedback from the Consultation</a:t>
            </a:r>
          </a:p>
          <a:p>
            <a:pPr algn="just">
              <a:spcAft>
                <a:spcPts val="800"/>
              </a:spcAft>
            </a:pPr>
            <a:endParaRPr lang="en-US" sz="3200" dirty="0">
              <a:solidFill>
                <a:srgbClr val="000000"/>
              </a:solidFill>
              <a:latin typeface="Calibri" panose="020F0502020204030204"/>
            </a:endParaRPr>
          </a:p>
          <a:p>
            <a:pPr algn="just">
              <a:spcAft>
                <a:spcPts val="800"/>
              </a:spcAft>
            </a:pPr>
            <a:r>
              <a:rPr lang="en-US" sz="3200" dirty="0" smtClean="0">
                <a:solidFill>
                  <a:srgbClr val="000000"/>
                </a:solidFill>
                <a:latin typeface="Calibri" panose="020F0502020204030204"/>
              </a:rPr>
              <a:t>CONGESTION MANAGEMENT</a:t>
            </a:r>
          </a:p>
          <a:p>
            <a:pPr algn="just">
              <a:spcAft>
                <a:spcPts val="800"/>
              </a:spcAft>
            </a:pPr>
            <a:r>
              <a:rPr lang="en-US" sz="3200" dirty="0" smtClean="0">
                <a:solidFill>
                  <a:srgbClr val="000000"/>
                </a:solidFill>
                <a:latin typeface="Calibri" panose="020F0502020204030204"/>
              </a:rPr>
              <a:t>HARMONIZATION</a:t>
            </a:r>
          </a:p>
        </p:txBody>
      </p:sp>
    </p:spTree>
    <p:extLst>
      <p:ext uri="{BB962C8B-B14F-4D97-AF65-F5344CB8AC3E}">
        <p14:creationId xmlns:p14="http://schemas.microsoft.com/office/powerpoint/2010/main" val="30245493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22</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en-US" sz="2200" dirty="0" smtClean="0">
                <a:solidFill>
                  <a:srgbClr val="000000"/>
                </a:solidFill>
                <a:latin typeface="Calibri" panose="020F0502020204030204"/>
              </a:rPr>
              <a:t>Congestion </a:t>
            </a:r>
            <a:r>
              <a:rPr lang="en-US" sz="2200" dirty="0">
                <a:solidFill>
                  <a:srgbClr val="000000"/>
                </a:solidFill>
                <a:latin typeface="Calibri" panose="020F0502020204030204"/>
              </a:rPr>
              <a:t>Management -  Main Input</a:t>
            </a:r>
          </a:p>
        </p:txBody>
      </p:sp>
      <p:sp>
        <p:nvSpPr>
          <p:cNvPr id="13" name="Rectangle 12"/>
          <p:cNvSpPr txBox="1">
            <a:spLocks noChangeArrowheads="1"/>
          </p:cNvSpPr>
          <p:nvPr/>
        </p:nvSpPr>
        <p:spPr>
          <a:xfrm>
            <a:off x="2898321" y="1893887"/>
            <a:ext cx="8345821" cy="1260475"/>
          </a:xfrm>
          <a:prstGeom prst="rect">
            <a:avLst/>
          </a:prstGeom>
          <a:noFill/>
          <a:ln w="19050">
            <a:solidFill>
              <a:srgbClr val="C0C0C0"/>
            </a:solidFill>
          </a:ln>
        </p:spPr>
        <p:txBody>
          <a:bodyPr vert="horz" wrap="square" lIns="90000" tIns="90000" rIns="90000" bIns="90000" rtlCol="0" anchor="t">
            <a:normAutofit fontScale="70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514350">
              <a:spcBef>
                <a:spcPts val="0"/>
              </a:spcBef>
              <a:spcAft>
                <a:spcPts val="600"/>
              </a:spcAft>
              <a:defRPr/>
            </a:pPr>
            <a:r>
              <a:rPr lang="en-US" sz="2400" dirty="0">
                <a:solidFill>
                  <a:srgbClr val="000000"/>
                </a:solidFill>
              </a:rPr>
              <a:t>Overall, many inputs supported earlier proposal to SC as do not support measure </a:t>
            </a:r>
            <a:r>
              <a:rPr lang="en-US" sz="2400" dirty="0" err="1">
                <a:solidFill>
                  <a:srgbClr val="000000"/>
                </a:solidFill>
              </a:rPr>
              <a:t>mFRR</a:t>
            </a:r>
            <a:r>
              <a:rPr lang="en-US" sz="2400" dirty="0">
                <a:solidFill>
                  <a:srgbClr val="000000"/>
                </a:solidFill>
              </a:rPr>
              <a:t> zones, do not support measure to form a cluster, support measure Critical Network Elements in the future. </a:t>
            </a:r>
          </a:p>
          <a:p>
            <a:pPr defTabSz="514350">
              <a:spcBef>
                <a:spcPts val="0"/>
              </a:spcBef>
              <a:spcAft>
                <a:spcPts val="600"/>
              </a:spcAft>
              <a:defRPr/>
            </a:pPr>
            <a:r>
              <a:rPr lang="en-US" sz="2400" dirty="0" smtClean="0">
                <a:solidFill>
                  <a:srgbClr val="000000"/>
                </a:solidFill>
              </a:rPr>
              <a:t>Limiting </a:t>
            </a:r>
            <a:r>
              <a:rPr lang="en-US" sz="2400" dirty="0">
                <a:solidFill>
                  <a:srgbClr val="000000"/>
                </a:solidFill>
              </a:rPr>
              <a:t>ATC - pushing internal congestions to borders by limiting ATC should not be allowed</a:t>
            </a:r>
          </a:p>
          <a:p>
            <a:pPr defTabSz="514350">
              <a:spcAft>
                <a:spcPts val="600"/>
              </a:spcAft>
            </a:pPr>
            <a:endParaRPr lang="en-GB" sz="2400" dirty="0" smtClean="0">
              <a:solidFill>
                <a:srgbClr val="000000"/>
              </a:solidFill>
            </a:endParaRPr>
          </a:p>
          <a:p>
            <a:pPr marL="0" indent="0" defTabSz="514350">
              <a:buNone/>
              <a:defRPr/>
            </a:pPr>
            <a:endParaRPr lang="en-US" dirty="0">
              <a:solidFill>
                <a:srgbClr val="000000"/>
              </a:solidFill>
            </a:endParaRPr>
          </a:p>
        </p:txBody>
      </p:sp>
      <p:sp>
        <p:nvSpPr>
          <p:cNvPr id="14" name="AutoShape 11"/>
          <p:cNvSpPr>
            <a:spLocks noChangeArrowheads="1"/>
          </p:cNvSpPr>
          <p:nvPr/>
        </p:nvSpPr>
        <p:spPr bwMode="gray">
          <a:xfrm>
            <a:off x="631372" y="1743577"/>
            <a:ext cx="2058319" cy="1589171"/>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15" name="Rectangle 13"/>
          <p:cNvSpPr>
            <a:spLocks noChangeArrowheads="1"/>
          </p:cNvSpPr>
          <p:nvPr/>
        </p:nvSpPr>
        <p:spPr bwMode="gray">
          <a:xfrm>
            <a:off x="804409" y="1942015"/>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Congestion Management</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2062325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FDED2080-A6AC-4D27-ABC0-DC394804A868}" type="slidenum">
              <a:rPr lang="en-US" smtClean="0">
                <a:solidFill>
                  <a:srgbClr val="000000">
                    <a:tint val="75000"/>
                  </a:srgbClr>
                </a:solidFill>
              </a:rPr>
              <a:pPr/>
              <a:t>23</a:t>
            </a:fld>
            <a:endParaRPr lang="en-US" dirty="0">
              <a:solidFill>
                <a:srgbClr val="000000">
                  <a:tint val="75000"/>
                </a:srgbClr>
              </a:solidFill>
            </a:endParaRPr>
          </a:p>
        </p:txBody>
      </p:sp>
      <p:cxnSp>
        <p:nvCxnSpPr>
          <p:cNvPr id="6" name="Straight Connector 5"/>
          <p:cNvCxnSpPr/>
          <p:nvPr/>
        </p:nvCxnSpPr>
        <p:spPr>
          <a:xfrm>
            <a:off x="631372" y="967675"/>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8" name="Title 1"/>
          <p:cNvSpPr txBox="1">
            <a:spLocks/>
          </p:cNvSpPr>
          <p:nvPr/>
        </p:nvSpPr>
        <p:spPr>
          <a:xfrm>
            <a:off x="631372" y="325721"/>
            <a:ext cx="909585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1451" dirty="0" smtClean="0">
                <a:solidFill>
                  <a:srgbClr val="000000"/>
                </a:solidFill>
                <a:latin typeface="Calibri" panose="020F0502020204030204"/>
              </a:rPr>
              <a:t>Feedback</a:t>
            </a:r>
            <a:br>
              <a:rPr lang="en-US" sz="1451" dirty="0" smtClean="0">
                <a:solidFill>
                  <a:srgbClr val="000000"/>
                </a:solidFill>
                <a:latin typeface="Calibri" panose="020F0502020204030204"/>
              </a:rPr>
            </a:br>
            <a:r>
              <a:rPr lang="en-US" sz="2200" dirty="0">
                <a:solidFill>
                  <a:srgbClr val="000000"/>
                </a:solidFill>
                <a:latin typeface="Calibri" panose="020F0502020204030204"/>
              </a:rPr>
              <a:t>Harmonization -  Main Input</a:t>
            </a:r>
          </a:p>
        </p:txBody>
      </p:sp>
      <p:sp>
        <p:nvSpPr>
          <p:cNvPr id="10" name="AutoShape 11"/>
          <p:cNvSpPr>
            <a:spLocks noChangeArrowheads="1"/>
          </p:cNvSpPr>
          <p:nvPr/>
        </p:nvSpPr>
        <p:spPr bwMode="gray">
          <a:xfrm>
            <a:off x="685921" y="2116555"/>
            <a:ext cx="2130508" cy="1745582"/>
          </a:xfrm>
          <a:prstGeom prst="homePlate">
            <a:avLst>
              <a:gd name="adj" fmla="val 9560"/>
            </a:avLst>
          </a:prstGeom>
          <a:solidFill>
            <a:srgbClr val="002060"/>
          </a:solidFill>
          <a:ln w="9525" algn="ctr">
            <a:noFill/>
            <a:miter lim="800000"/>
            <a:headEnd/>
            <a:tailEnd/>
          </a:ln>
          <a:effectLst/>
        </p:spPr>
        <p:txBody>
          <a:bodyPr vert="horz" wrap="square" lIns="89984" tIns="46030" rIns="89984" bIns="46030" anchor="t"/>
          <a:lstStyle/>
          <a:p>
            <a:pPr algn="ctr" eaLnBrk="0" fontAlgn="base" hangingPunct="0">
              <a:spcBef>
                <a:spcPct val="0"/>
              </a:spcBef>
              <a:spcAft>
                <a:spcPct val="0"/>
              </a:spcAft>
              <a:buClr>
                <a:srgbClr val="00A28A"/>
              </a:buClr>
              <a:buFont typeface="Times" pitchFamily="18" charset="0"/>
              <a:buNone/>
            </a:pPr>
            <a:endParaRPr lang="en-US" sz="1600">
              <a:solidFill>
                <a:srgbClr val="FFD200"/>
              </a:solidFill>
            </a:endParaRPr>
          </a:p>
        </p:txBody>
      </p:sp>
      <p:sp>
        <p:nvSpPr>
          <p:cNvPr id="12" name="Rectangle 14"/>
          <p:cNvSpPr>
            <a:spLocks noChangeArrowheads="1"/>
          </p:cNvSpPr>
          <p:nvPr/>
        </p:nvSpPr>
        <p:spPr bwMode="auto">
          <a:xfrm>
            <a:off x="3007980" y="2205428"/>
            <a:ext cx="8345820" cy="2210161"/>
          </a:xfrm>
          <a:prstGeom prst="rect">
            <a:avLst/>
          </a:prstGeom>
          <a:noFill/>
          <a:ln w="19050">
            <a:solidFill>
              <a:srgbClr val="C0C0C0"/>
            </a:solidFill>
            <a:miter lim="800000"/>
            <a:headEnd/>
            <a:tailEnd/>
          </a:ln>
          <a:effectLst/>
        </p:spPr>
        <p:txBody>
          <a:bodyPr vert="horz" wrap="square" lIns="90000" tIns="90000" rIns="90000" bIns="90000" anchor="t"/>
          <a:lstStyle/>
          <a:p>
            <a:pPr fontAlgn="t"/>
            <a:r>
              <a:rPr lang="en-US" sz="1600" dirty="0"/>
              <a:t>Harmonization of prequalification </a:t>
            </a:r>
            <a:r>
              <a:rPr lang="en-US" sz="1600" dirty="0" smtClean="0"/>
              <a:t>requirements:</a:t>
            </a:r>
          </a:p>
          <a:p>
            <a:pPr fontAlgn="t"/>
            <a:r>
              <a:rPr lang="en-US" sz="1600" dirty="0" smtClean="0"/>
              <a:t>Harmonization </a:t>
            </a:r>
            <a:r>
              <a:rPr lang="en-US" sz="1600" dirty="0"/>
              <a:t>of accepted shape </a:t>
            </a:r>
            <a:endParaRPr lang="en-US" sz="1600" dirty="0" smtClean="0"/>
          </a:p>
          <a:p>
            <a:pPr fontAlgn="t"/>
            <a:r>
              <a:rPr lang="en-US" sz="1600" dirty="0" smtClean="0"/>
              <a:t>Harmonization </a:t>
            </a:r>
            <a:r>
              <a:rPr lang="en-US" sz="1600" dirty="0"/>
              <a:t>of </a:t>
            </a:r>
            <a:r>
              <a:rPr lang="en-US" sz="1600" dirty="0" err="1"/>
              <a:t>mFRR</a:t>
            </a:r>
            <a:r>
              <a:rPr lang="en-US" sz="1600" dirty="0"/>
              <a:t> GCT for </a:t>
            </a:r>
            <a:r>
              <a:rPr lang="en-US" sz="1600" dirty="0" smtClean="0"/>
              <a:t>BSPs</a:t>
            </a:r>
            <a:endParaRPr lang="cs-CZ" sz="1600" dirty="0"/>
          </a:p>
          <a:p>
            <a:pPr fontAlgn="t"/>
            <a:r>
              <a:rPr lang="en-US" sz="1600" dirty="0"/>
              <a:t>Harmonization of TSO-BSP settlement schemes </a:t>
            </a:r>
          </a:p>
          <a:p>
            <a:pPr fontAlgn="t"/>
            <a:r>
              <a:rPr lang="en-US" sz="1600" dirty="0" smtClean="0"/>
              <a:t>Harmonization </a:t>
            </a:r>
            <a:r>
              <a:rPr lang="en-US" sz="1600" dirty="0"/>
              <a:t>of penalties scheme </a:t>
            </a:r>
            <a:endParaRPr lang="en-US" sz="1600" dirty="0" smtClean="0"/>
          </a:p>
          <a:p>
            <a:pPr fontAlgn="t"/>
            <a:r>
              <a:rPr lang="en-US" sz="1600" dirty="0" smtClean="0"/>
              <a:t>Harmonization </a:t>
            </a:r>
            <a:r>
              <a:rPr lang="en-US" sz="1600" dirty="0"/>
              <a:t>of back-up requirements (including energy availability requirements</a:t>
            </a:r>
            <a:r>
              <a:rPr lang="en-US" sz="1600" dirty="0" smtClean="0"/>
              <a:t>)</a:t>
            </a:r>
          </a:p>
          <a:p>
            <a:pPr fontAlgn="t"/>
            <a:endParaRPr lang="en-US" sz="1600" dirty="0"/>
          </a:p>
          <a:p>
            <a:pPr fontAlgn="t"/>
            <a:r>
              <a:rPr lang="en-US" sz="1600" dirty="0" smtClean="0"/>
              <a:t>No specific feedback on preferences between before and after go-live harmonization  </a:t>
            </a:r>
            <a:endParaRPr lang="en-US" sz="1600" dirty="0">
              <a:solidFill>
                <a:srgbClr val="000000"/>
              </a:solidFill>
            </a:endParaRPr>
          </a:p>
          <a:p>
            <a:pPr>
              <a:spcAft>
                <a:spcPts val="600"/>
              </a:spcAft>
            </a:pPr>
            <a:endParaRPr lang="en-US" sz="1600" dirty="0"/>
          </a:p>
        </p:txBody>
      </p:sp>
      <p:sp>
        <p:nvSpPr>
          <p:cNvPr id="16" name="Rectangle 15"/>
          <p:cNvSpPr>
            <a:spLocks noChangeArrowheads="1"/>
          </p:cNvSpPr>
          <p:nvPr/>
        </p:nvSpPr>
        <p:spPr bwMode="gray">
          <a:xfrm>
            <a:off x="848980" y="2277800"/>
            <a:ext cx="1662113" cy="1260475"/>
          </a:xfrm>
          <a:prstGeom prst="rect">
            <a:avLst/>
          </a:prstGeom>
          <a:solidFill>
            <a:srgbClr val="FFFFFF"/>
          </a:solidFill>
          <a:ln w="19050" algn="ctr">
            <a:noFill/>
            <a:miter lim="800000"/>
            <a:headEnd/>
            <a:tailEnd/>
          </a:ln>
          <a:effectLst/>
        </p:spPr>
        <p:txBody>
          <a:bodyPr vert="horz" wrap="square" lIns="90000" tIns="90000" rIns="90000" bIns="90000" anchor="t"/>
          <a:lstStyle/>
          <a:p>
            <a:pPr algn="ctr" eaLnBrk="0" fontAlgn="base" hangingPunct="0">
              <a:spcBef>
                <a:spcPct val="0"/>
              </a:spcBef>
              <a:spcAft>
                <a:spcPct val="0"/>
              </a:spcAft>
              <a:buClr>
                <a:srgbClr val="00A28A"/>
              </a:buClr>
              <a:buFont typeface="Times" pitchFamily="18" charset="0"/>
              <a:buNone/>
            </a:pPr>
            <a:r>
              <a:rPr lang="en-US" sz="1600" b="1" dirty="0" smtClean="0">
                <a:solidFill>
                  <a:srgbClr val="000000"/>
                </a:solidFill>
                <a:latin typeface="Arial" panose="020B0604020202020204" pitchFamily="34" charset="0"/>
              </a:rPr>
              <a:t>Harmonization Priorities</a:t>
            </a:r>
            <a:endParaRPr lang="en-US" sz="16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41958963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24</a:t>
            </a:fld>
            <a:endParaRPr lang="cs-CZ">
              <a:solidFill>
                <a:srgbClr val="7F7E82">
                  <a:tint val="75000"/>
                </a:srgbClr>
              </a:solidFill>
            </a:endParaRPr>
          </a:p>
        </p:txBody>
      </p:sp>
      <p:sp>
        <p:nvSpPr>
          <p:cNvPr id="13" name="Espace réservé du contenu 2"/>
          <p:cNvSpPr txBox="1">
            <a:spLocks/>
          </p:cNvSpPr>
          <p:nvPr/>
        </p:nvSpPr>
        <p:spPr>
          <a:xfrm>
            <a:off x="631372" y="1700808"/>
            <a:ext cx="10722428"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r"/>
            <a:r>
              <a:rPr lang="en-US" altLang="cs-CZ" sz="3200" dirty="0">
                <a:solidFill>
                  <a:srgbClr val="000000"/>
                </a:solidFill>
                <a:latin typeface="Calibri" panose="020F0502020204030204"/>
              </a:rPr>
              <a:t>Thank you for your attention!</a:t>
            </a:r>
          </a:p>
          <a:p>
            <a:endParaRPr lang="en-US" altLang="cs-CZ" sz="2400" dirty="0">
              <a:solidFill>
                <a:srgbClr val="000000"/>
              </a:solidFill>
              <a:latin typeface="Calibri" panose="020F0502020204030204"/>
            </a:endParaRPr>
          </a:p>
          <a:p>
            <a:endParaRPr lang="en-US" altLang="cs-CZ" sz="2400" dirty="0">
              <a:solidFill>
                <a:srgbClr val="000000"/>
              </a:solidFill>
              <a:latin typeface="Calibri" panose="020F0502020204030204"/>
            </a:endParaRPr>
          </a:p>
          <a:p>
            <a:endParaRPr lang="en-US" altLang="cs-CZ" sz="2400" dirty="0">
              <a:solidFill>
                <a:srgbClr val="000000"/>
              </a:solidFill>
              <a:latin typeface="Calibri" panose="020F0502020204030204"/>
            </a:endParaRPr>
          </a:p>
          <a:p>
            <a:endParaRPr lang="en-US" altLang="cs-CZ" sz="2400" dirty="0">
              <a:solidFill>
                <a:srgbClr val="000000"/>
              </a:solidFill>
              <a:latin typeface="Calibri" panose="020F0502020204030204"/>
            </a:endParaRPr>
          </a:p>
          <a:p>
            <a:endParaRPr lang="en-US" altLang="cs-CZ" sz="1800" dirty="0">
              <a:solidFill>
                <a:srgbClr val="000000"/>
              </a:solidFill>
              <a:latin typeface="Calibri" panose="020F0502020204030204"/>
            </a:endParaRPr>
          </a:p>
          <a:p>
            <a:r>
              <a:rPr lang="en-US" altLang="cs-CZ" sz="1800" dirty="0" smtClean="0">
                <a:solidFill>
                  <a:srgbClr val="000000"/>
                </a:solidFill>
                <a:latin typeface="Calibri" panose="020F0502020204030204"/>
              </a:rPr>
              <a:t>For </a:t>
            </a:r>
            <a:r>
              <a:rPr lang="en-US" altLang="cs-CZ" sz="1800" dirty="0">
                <a:solidFill>
                  <a:srgbClr val="000000"/>
                </a:solidFill>
                <a:latin typeface="Calibri" panose="020F0502020204030204"/>
              </a:rPr>
              <a:t>further details please contact:</a:t>
            </a:r>
          </a:p>
          <a:p>
            <a:pPr>
              <a:spcAft>
                <a:spcPts val="0"/>
              </a:spcAft>
            </a:pPr>
            <a:r>
              <a:rPr lang="en-US" altLang="cs-CZ" sz="1400" dirty="0">
                <a:solidFill>
                  <a:srgbClr val="000000"/>
                </a:solidFill>
                <a:latin typeface="Calibri" panose="020F0502020204030204"/>
              </a:rPr>
              <a:t>Steering Committee Chairman	 	</a:t>
            </a:r>
            <a:endParaRPr lang="en-US" altLang="cs-CZ" sz="1200" dirty="0">
              <a:solidFill>
                <a:srgbClr val="000000"/>
              </a:solidFill>
              <a:latin typeface="Calibri" panose="020F0502020204030204"/>
            </a:endParaRPr>
          </a:p>
          <a:p>
            <a:pPr>
              <a:spcAft>
                <a:spcPts val="0"/>
              </a:spcAft>
            </a:pPr>
            <a:r>
              <a:rPr lang="cs-CZ" sz="1200" dirty="0">
                <a:solidFill>
                  <a:srgbClr val="000000"/>
                </a:solidFill>
                <a:latin typeface="Calibri" panose="020F0502020204030204"/>
              </a:rPr>
              <a:t>Martin </a:t>
            </a:r>
            <a:r>
              <a:rPr lang="cs-CZ" sz="1200" dirty="0" err="1">
                <a:solidFill>
                  <a:srgbClr val="000000"/>
                </a:solidFill>
                <a:latin typeface="Calibri" panose="020F0502020204030204"/>
              </a:rPr>
              <a:t>Høgh</a:t>
            </a:r>
            <a:r>
              <a:rPr lang="cs-CZ" sz="1200" dirty="0">
                <a:solidFill>
                  <a:srgbClr val="000000"/>
                </a:solidFill>
                <a:latin typeface="Calibri" panose="020F0502020204030204"/>
              </a:rPr>
              <a:t> </a:t>
            </a:r>
            <a:r>
              <a:rPr lang="cs-CZ" sz="1200" dirty="0" err="1">
                <a:solidFill>
                  <a:srgbClr val="000000"/>
                </a:solidFill>
                <a:latin typeface="Calibri" panose="020F0502020204030204"/>
              </a:rPr>
              <a:t>Møller</a:t>
            </a:r>
            <a:r>
              <a:rPr lang="cs-CZ" sz="1200" dirty="0">
                <a:solidFill>
                  <a:srgbClr val="000000"/>
                </a:solidFill>
                <a:latin typeface="Calibri" panose="020F0502020204030204"/>
              </a:rPr>
              <a:t> </a:t>
            </a:r>
          </a:p>
          <a:p>
            <a:pPr>
              <a:spcAft>
                <a:spcPts val="0"/>
              </a:spcAft>
            </a:pPr>
            <a:r>
              <a:rPr lang="cs-CZ" sz="1200" dirty="0">
                <a:solidFill>
                  <a:srgbClr val="000000"/>
                </a:solidFill>
                <a:latin typeface="Calibri" panose="020F0502020204030204"/>
              </a:rPr>
              <a:t>mhm@energinet.dk</a:t>
            </a:r>
            <a:r>
              <a:rPr lang="en-US" altLang="cs-CZ" sz="1200" dirty="0">
                <a:solidFill>
                  <a:srgbClr val="000000"/>
                </a:solidFill>
                <a:latin typeface="Calibri" panose="020F0502020204030204"/>
              </a:rPr>
              <a:t> 		</a:t>
            </a:r>
          </a:p>
          <a:p>
            <a:pPr>
              <a:spcAft>
                <a:spcPts val="0"/>
              </a:spcAft>
            </a:pPr>
            <a:endParaRPr lang="en-US" altLang="cs-CZ" sz="1200" dirty="0">
              <a:solidFill>
                <a:srgbClr val="000000"/>
              </a:solidFill>
              <a:latin typeface="Calibri" panose="020F0502020204030204"/>
            </a:endParaRPr>
          </a:p>
          <a:p>
            <a:pPr>
              <a:spcAft>
                <a:spcPts val="0"/>
              </a:spcAft>
            </a:pPr>
            <a:r>
              <a:rPr lang="en-US" altLang="cs-CZ" sz="1400" dirty="0">
                <a:solidFill>
                  <a:srgbClr val="000000"/>
                </a:solidFill>
                <a:latin typeface="Calibri" panose="020F0502020204030204"/>
                <a:cs typeface="David" panose="020E0502060401010101" pitchFamily="34" charset="-79"/>
              </a:rPr>
              <a:t>Technical Working Group Conveners</a:t>
            </a:r>
          </a:p>
          <a:p>
            <a:pPr>
              <a:spcAft>
                <a:spcPts val="0"/>
              </a:spcAft>
            </a:pPr>
            <a:r>
              <a:rPr lang="en-US" altLang="cs-CZ" sz="1200" dirty="0" err="1" smtClean="0">
                <a:solidFill>
                  <a:srgbClr val="000000"/>
                </a:solidFill>
                <a:latin typeface="Calibri" panose="020F0502020204030204"/>
              </a:rPr>
              <a:t>Aurelien</a:t>
            </a:r>
            <a:r>
              <a:rPr lang="en-US" altLang="cs-CZ" sz="1200" dirty="0" smtClean="0">
                <a:solidFill>
                  <a:srgbClr val="000000"/>
                </a:solidFill>
                <a:latin typeface="Calibri" panose="020F0502020204030204"/>
              </a:rPr>
              <a:t> </a:t>
            </a:r>
            <a:r>
              <a:rPr lang="en-US" altLang="cs-CZ" sz="1200" dirty="0" err="1" smtClean="0">
                <a:solidFill>
                  <a:srgbClr val="000000"/>
                </a:solidFill>
                <a:latin typeface="Calibri" panose="020F0502020204030204"/>
              </a:rPr>
              <a:t>Peyrac</a:t>
            </a:r>
            <a:r>
              <a:rPr lang="en-US" altLang="cs-CZ" sz="1200" dirty="0">
                <a:solidFill>
                  <a:srgbClr val="000000"/>
                </a:solidFill>
                <a:latin typeface="Calibri" panose="020F0502020204030204"/>
              </a:rPr>
              <a:t>		Markus </a:t>
            </a:r>
            <a:r>
              <a:rPr lang="en-US" altLang="cs-CZ" sz="1200" dirty="0" err="1">
                <a:solidFill>
                  <a:srgbClr val="000000"/>
                </a:solidFill>
                <a:latin typeface="Calibri" panose="020F0502020204030204"/>
              </a:rPr>
              <a:t>Speckmann</a:t>
            </a:r>
            <a:endParaRPr lang="en-US" altLang="cs-CZ" sz="1200" dirty="0">
              <a:solidFill>
                <a:srgbClr val="000000"/>
              </a:solidFill>
              <a:latin typeface="Calibri" panose="020F0502020204030204"/>
            </a:endParaRPr>
          </a:p>
          <a:p>
            <a:pPr>
              <a:spcAft>
                <a:spcPts val="0"/>
              </a:spcAft>
            </a:pPr>
            <a:r>
              <a:rPr lang="en-US" altLang="cs-CZ" sz="1200" dirty="0" smtClean="0">
                <a:solidFill>
                  <a:srgbClr val="000000"/>
                </a:solidFill>
                <a:latin typeface="Calibri" panose="020F0502020204030204"/>
              </a:rPr>
              <a:t>aurelien.peyrac@rte-france.com </a:t>
            </a:r>
            <a:r>
              <a:rPr lang="en-US" altLang="cs-CZ" sz="1200" dirty="0">
                <a:solidFill>
                  <a:srgbClr val="000000"/>
                </a:solidFill>
                <a:latin typeface="Calibri" panose="020F0502020204030204"/>
              </a:rPr>
              <a:t>	Markus.speckmann@amprion.net</a:t>
            </a:r>
          </a:p>
          <a:p>
            <a:pPr>
              <a:spcAft>
                <a:spcPts val="0"/>
              </a:spcAft>
            </a:pPr>
            <a:r>
              <a:rPr lang="en-US" altLang="cs-CZ" sz="1200" dirty="0">
                <a:solidFill>
                  <a:srgbClr val="000000"/>
                </a:solidFill>
                <a:latin typeface="Calibri" panose="020F0502020204030204"/>
              </a:rPr>
              <a:t>			</a:t>
            </a:r>
            <a:endParaRPr lang="cs-CZ" altLang="cs-CZ" sz="1200"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Tree>
    <p:extLst>
      <p:ext uri="{BB962C8B-B14F-4D97-AF65-F5344CB8AC3E}">
        <p14:creationId xmlns:p14="http://schemas.microsoft.com/office/powerpoint/2010/main" val="346210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598355" y="6356068"/>
            <a:ext cx="2743200" cy="365125"/>
          </a:xfrm>
        </p:spPr>
        <p:txBody>
          <a:bodyPr/>
          <a:lstStyle/>
          <a:p>
            <a:fld id="{FDED2080-A6AC-4D27-ABC0-DC394804A868}" type="slidenum">
              <a:rPr lang="cs-CZ" smtClean="0">
                <a:solidFill>
                  <a:srgbClr val="7F7E82">
                    <a:tint val="75000"/>
                  </a:srgbClr>
                </a:solidFill>
              </a:rPr>
              <a:pPr/>
              <a:t>3</a:t>
            </a:fld>
            <a:endParaRPr lang="cs-CZ">
              <a:solidFill>
                <a:srgbClr val="7F7E82">
                  <a:tint val="75000"/>
                </a:srgbClr>
              </a:solidFill>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grpSp>
        <p:nvGrpSpPr>
          <p:cNvPr id="136" name="Group 135"/>
          <p:cNvGrpSpPr/>
          <p:nvPr/>
        </p:nvGrpSpPr>
        <p:grpSpPr>
          <a:xfrm>
            <a:off x="7547485" y="2166850"/>
            <a:ext cx="4062989" cy="3475815"/>
            <a:chOff x="3100982" y="2937217"/>
            <a:chExt cx="2880000" cy="2563200"/>
          </a:xfrm>
        </p:grpSpPr>
        <p:sp>
          <p:nvSpPr>
            <p:cNvPr id="137" name="xc"/>
            <p:cNvSpPr>
              <a:spLocks noChangeAspect="1"/>
            </p:cNvSpPr>
            <p:nvPr/>
          </p:nvSpPr>
          <p:spPr bwMode="auto">
            <a:xfrm>
              <a:off x="5091498" y="3981467"/>
              <a:ext cx="482294" cy="351097"/>
            </a:xfrm>
            <a:custGeom>
              <a:avLst/>
              <a:gdLst>
                <a:gd name="T0" fmla="*/ 256 w 676"/>
                <a:gd name="T1" fmla="*/ 40 h 620"/>
                <a:gd name="T2" fmla="*/ 220 w 676"/>
                <a:gd name="T3" fmla="*/ 65 h 620"/>
                <a:gd name="T4" fmla="*/ 208 w 676"/>
                <a:gd name="T5" fmla="*/ 91 h 620"/>
                <a:gd name="T6" fmla="*/ 208 w 676"/>
                <a:gd name="T7" fmla="*/ 134 h 620"/>
                <a:gd name="T8" fmla="*/ 167 w 676"/>
                <a:gd name="T9" fmla="*/ 159 h 620"/>
                <a:gd name="T10" fmla="*/ 165 w 676"/>
                <a:gd name="T11" fmla="*/ 196 h 620"/>
                <a:gd name="T12" fmla="*/ 157 w 676"/>
                <a:gd name="T13" fmla="*/ 279 h 620"/>
                <a:gd name="T14" fmla="*/ 127 w 676"/>
                <a:gd name="T15" fmla="*/ 276 h 620"/>
                <a:gd name="T16" fmla="*/ 71 w 676"/>
                <a:gd name="T17" fmla="*/ 330 h 620"/>
                <a:gd name="T18" fmla="*/ 38 w 676"/>
                <a:gd name="T19" fmla="*/ 313 h 620"/>
                <a:gd name="T20" fmla="*/ 23 w 676"/>
                <a:gd name="T21" fmla="*/ 356 h 620"/>
                <a:gd name="T22" fmla="*/ 38 w 676"/>
                <a:gd name="T23" fmla="*/ 418 h 620"/>
                <a:gd name="T24" fmla="*/ 23 w 676"/>
                <a:gd name="T25" fmla="*/ 481 h 620"/>
                <a:gd name="T26" fmla="*/ 8 w 676"/>
                <a:gd name="T27" fmla="*/ 515 h 620"/>
                <a:gd name="T28" fmla="*/ 13 w 676"/>
                <a:gd name="T29" fmla="*/ 555 h 620"/>
                <a:gd name="T30" fmla="*/ 48 w 676"/>
                <a:gd name="T31" fmla="*/ 603 h 620"/>
                <a:gd name="T32" fmla="*/ 139 w 676"/>
                <a:gd name="T33" fmla="*/ 580 h 620"/>
                <a:gd name="T34" fmla="*/ 268 w 676"/>
                <a:gd name="T35" fmla="*/ 595 h 620"/>
                <a:gd name="T36" fmla="*/ 380 w 676"/>
                <a:gd name="T37" fmla="*/ 603 h 620"/>
                <a:gd name="T38" fmla="*/ 431 w 676"/>
                <a:gd name="T39" fmla="*/ 592 h 620"/>
                <a:gd name="T40" fmla="*/ 514 w 676"/>
                <a:gd name="T41" fmla="*/ 595 h 620"/>
                <a:gd name="T42" fmla="*/ 542 w 676"/>
                <a:gd name="T43" fmla="*/ 592 h 620"/>
                <a:gd name="T44" fmla="*/ 583 w 676"/>
                <a:gd name="T45" fmla="*/ 521 h 620"/>
                <a:gd name="T46" fmla="*/ 615 w 676"/>
                <a:gd name="T47" fmla="*/ 506 h 620"/>
                <a:gd name="T48" fmla="*/ 583 w 676"/>
                <a:gd name="T49" fmla="*/ 415 h 620"/>
                <a:gd name="T50" fmla="*/ 633 w 676"/>
                <a:gd name="T51" fmla="*/ 410 h 620"/>
                <a:gd name="T52" fmla="*/ 676 w 676"/>
                <a:gd name="T53" fmla="*/ 336 h 620"/>
                <a:gd name="T54" fmla="*/ 590 w 676"/>
                <a:gd name="T55" fmla="*/ 310 h 620"/>
                <a:gd name="T56" fmla="*/ 570 w 676"/>
                <a:gd name="T57" fmla="*/ 219 h 620"/>
                <a:gd name="T58" fmla="*/ 507 w 676"/>
                <a:gd name="T59" fmla="*/ 139 h 620"/>
                <a:gd name="T60" fmla="*/ 509 w 676"/>
                <a:gd name="T61" fmla="*/ 88 h 620"/>
                <a:gd name="T62" fmla="*/ 469 w 676"/>
                <a:gd name="T63" fmla="*/ 17 h 620"/>
                <a:gd name="T64" fmla="*/ 382 w 676"/>
                <a:gd name="T65" fmla="*/ 26 h 620"/>
                <a:gd name="T66" fmla="*/ 317 w 676"/>
                <a:gd name="T67"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6" h="620">
                  <a:moveTo>
                    <a:pt x="274" y="14"/>
                  </a:moveTo>
                  <a:lnTo>
                    <a:pt x="256" y="40"/>
                  </a:lnTo>
                  <a:lnTo>
                    <a:pt x="243" y="63"/>
                  </a:lnTo>
                  <a:lnTo>
                    <a:pt x="220" y="65"/>
                  </a:lnTo>
                  <a:lnTo>
                    <a:pt x="198" y="74"/>
                  </a:lnTo>
                  <a:lnTo>
                    <a:pt x="208" y="91"/>
                  </a:lnTo>
                  <a:lnTo>
                    <a:pt x="208" y="100"/>
                  </a:lnTo>
                  <a:lnTo>
                    <a:pt x="208" y="134"/>
                  </a:lnTo>
                  <a:lnTo>
                    <a:pt x="187" y="137"/>
                  </a:lnTo>
                  <a:lnTo>
                    <a:pt x="167" y="159"/>
                  </a:lnTo>
                  <a:lnTo>
                    <a:pt x="167" y="185"/>
                  </a:lnTo>
                  <a:lnTo>
                    <a:pt x="165" y="196"/>
                  </a:lnTo>
                  <a:lnTo>
                    <a:pt x="157" y="211"/>
                  </a:lnTo>
                  <a:lnTo>
                    <a:pt x="157" y="279"/>
                  </a:lnTo>
                  <a:lnTo>
                    <a:pt x="144" y="287"/>
                  </a:lnTo>
                  <a:lnTo>
                    <a:pt x="127" y="276"/>
                  </a:lnTo>
                  <a:lnTo>
                    <a:pt x="94" y="304"/>
                  </a:lnTo>
                  <a:lnTo>
                    <a:pt x="71" y="330"/>
                  </a:lnTo>
                  <a:lnTo>
                    <a:pt x="48" y="313"/>
                  </a:lnTo>
                  <a:lnTo>
                    <a:pt x="38" y="313"/>
                  </a:lnTo>
                  <a:lnTo>
                    <a:pt x="18" y="319"/>
                  </a:lnTo>
                  <a:lnTo>
                    <a:pt x="23" y="356"/>
                  </a:lnTo>
                  <a:lnTo>
                    <a:pt x="33" y="393"/>
                  </a:lnTo>
                  <a:lnTo>
                    <a:pt x="38" y="418"/>
                  </a:lnTo>
                  <a:lnTo>
                    <a:pt x="35" y="452"/>
                  </a:lnTo>
                  <a:lnTo>
                    <a:pt x="23" y="481"/>
                  </a:lnTo>
                  <a:lnTo>
                    <a:pt x="0" y="504"/>
                  </a:lnTo>
                  <a:lnTo>
                    <a:pt x="8" y="515"/>
                  </a:lnTo>
                  <a:lnTo>
                    <a:pt x="25" y="529"/>
                  </a:lnTo>
                  <a:lnTo>
                    <a:pt x="13" y="555"/>
                  </a:lnTo>
                  <a:lnTo>
                    <a:pt x="15" y="603"/>
                  </a:lnTo>
                  <a:lnTo>
                    <a:pt x="48" y="603"/>
                  </a:lnTo>
                  <a:lnTo>
                    <a:pt x="63" y="586"/>
                  </a:lnTo>
                  <a:lnTo>
                    <a:pt x="139" y="580"/>
                  </a:lnTo>
                  <a:lnTo>
                    <a:pt x="205" y="583"/>
                  </a:lnTo>
                  <a:lnTo>
                    <a:pt x="268" y="595"/>
                  </a:lnTo>
                  <a:lnTo>
                    <a:pt x="324" y="606"/>
                  </a:lnTo>
                  <a:lnTo>
                    <a:pt x="380" y="603"/>
                  </a:lnTo>
                  <a:lnTo>
                    <a:pt x="405" y="595"/>
                  </a:lnTo>
                  <a:lnTo>
                    <a:pt x="431" y="592"/>
                  </a:lnTo>
                  <a:lnTo>
                    <a:pt x="461" y="609"/>
                  </a:lnTo>
                  <a:lnTo>
                    <a:pt x="514" y="595"/>
                  </a:lnTo>
                  <a:lnTo>
                    <a:pt x="527" y="620"/>
                  </a:lnTo>
                  <a:lnTo>
                    <a:pt x="542" y="592"/>
                  </a:lnTo>
                  <a:lnTo>
                    <a:pt x="545" y="543"/>
                  </a:lnTo>
                  <a:lnTo>
                    <a:pt x="583" y="521"/>
                  </a:lnTo>
                  <a:lnTo>
                    <a:pt x="615" y="515"/>
                  </a:lnTo>
                  <a:lnTo>
                    <a:pt x="615" y="506"/>
                  </a:lnTo>
                  <a:lnTo>
                    <a:pt x="593" y="450"/>
                  </a:lnTo>
                  <a:lnTo>
                    <a:pt x="583" y="415"/>
                  </a:lnTo>
                  <a:lnTo>
                    <a:pt x="603" y="404"/>
                  </a:lnTo>
                  <a:lnTo>
                    <a:pt x="633" y="410"/>
                  </a:lnTo>
                  <a:lnTo>
                    <a:pt x="676" y="390"/>
                  </a:lnTo>
                  <a:lnTo>
                    <a:pt x="676" y="336"/>
                  </a:lnTo>
                  <a:lnTo>
                    <a:pt x="631" y="319"/>
                  </a:lnTo>
                  <a:lnTo>
                    <a:pt x="590" y="310"/>
                  </a:lnTo>
                  <a:lnTo>
                    <a:pt x="567" y="265"/>
                  </a:lnTo>
                  <a:lnTo>
                    <a:pt x="570" y="219"/>
                  </a:lnTo>
                  <a:lnTo>
                    <a:pt x="529" y="174"/>
                  </a:lnTo>
                  <a:lnTo>
                    <a:pt x="507" y="139"/>
                  </a:lnTo>
                  <a:lnTo>
                    <a:pt x="504" y="108"/>
                  </a:lnTo>
                  <a:lnTo>
                    <a:pt x="509" y="88"/>
                  </a:lnTo>
                  <a:lnTo>
                    <a:pt x="509" y="48"/>
                  </a:lnTo>
                  <a:lnTo>
                    <a:pt x="469" y="17"/>
                  </a:lnTo>
                  <a:lnTo>
                    <a:pt x="423" y="17"/>
                  </a:lnTo>
                  <a:lnTo>
                    <a:pt x="382" y="26"/>
                  </a:lnTo>
                  <a:lnTo>
                    <a:pt x="365" y="9"/>
                  </a:lnTo>
                  <a:lnTo>
                    <a:pt x="317" y="0"/>
                  </a:lnTo>
                  <a:lnTo>
                    <a:pt x="274" y="14"/>
                  </a:lnTo>
                  <a:close/>
                </a:path>
              </a:pathLst>
            </a:custGeom>
            <a:solidFill>
              <a:srgbClr val="FFFFFF">
                <a:lumMod val="75000"/>
              </a:srgbClr>
            </a:solid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38" name="RS" descr="80%"/>
            <p:cNvSpPr>
              <a:spLocks noChangeAspect="1"/>
            </p:cNvSpPr>
            <p:nvPr/>
          </p:nvSpPr>
          <p:spPr bwMode="auto">
            <a:xfrm>
              <a:off x="4864781" y="4715306"/>
              <a:ext cx="251254" cy="310412"/>
            </a:xfrm>
            <a:custGeom>
              <a:avLst/>
              <a:gdLst>
                <a:gd name="T0" fmla="*/ 152 w 414"/>
                <a:gd name="T1" fmla="*/ 4 h 550"/>
                <a:gd name="T2" fmla="*/ 213 w 414"/>
                <a:gd name="T3" fmla="*/ 1 h 550"/>
                <a:gd name="T4" fmla="*/ 228 w 414"/>
                <a:gd name="T5" fmla="*/ 17 h 550"/>
                <a:gd name="T6" fmla="*/ 237 w 414"/>
                <a:gd name="T7" fmla="*/ 30 h 550"/>
                <a:gd name="T8" fmla="*/ 248 w 414"/>
                <a:gd name="T9" fmla="*/ 82 h 550"/>
                <a:gd name="T10" fmla="*/ 282 w 414"/>
                <a:gd name="T11" fmla="*/ 94 h 550"/>
                <a:gd name="T12" fmla="*/ 297 w 414"/>
                <a:gd name="T13" fmla="*/ 168 h 550"/>
                <a:gd name="T14" fmla="*/ 319 w 414"/>
                <a:gd name="T15" fmla="*/ 188 h 550"/>
                <a:gd name="T16" fmla="*/ 357 w 414"/>
                <a:gd name="T17" fmla="*/ 181 h 550"/>
                <a:gd name="T18" fmla="*/ 384 w 414"/>
                <a:gd name="T19" fmla="*/ 222 h 550"/>
                <a:gd name="T20" fmla="*/ 381 w 414"/>
                <a:gd name="T21" fmla="*/ 256 h 550"/>
                <a:gd name="T22" fmla="*/ 376 w 414"/>
                <a:gd name="T23" fmla="*/ 274 h 550"/>
                <a:gd name="T24" fmla="*/ 387 w 414"/>
                <a:gd name="T25" fmla="*/ 326 h 550"/>
                <a:gd name="T26" fmla="*/ 414 w 414"/>
                <a:gd name="T27" fmla="val 281"/>
                <a:gd name="T28" fmla="*/ 377 w 414"/>
                <a:gd name="T29" fmla="*/ 411 h 550"/>
                <a:gd name="T30" fmla="*/ 373 w 414"/>
                <a:gd name="T31" fmla="*/ 488 h 550"/>
                <a:gd name="T32" fmla="*/ 343 w 414"/>
                <a:gd name="T33" fmla="*/ 505 h 550"/>
                <a:gd name="T34" fmla="*/ 305 w 414"/>
                <a:gd name="T35" fmla="*/ 513 h 550"/>
                <a:gd name="T36" fmla="*/ 259 w 414"/>
                <a:gd name="T37" fmla="*/ 525 h 550"/>
                <a:gd name="T38" fmla="*/ 225 w 414"/>
                <a:gd name="T39" fmla="*/ 501 h 550"/>
                <a:gd name="T40" fmla="*/ 194 w 414"/>
                <a:gd name="T41" fmla="*/ 483 h 550"/>
                <a:gd name="T42" fmla="*/ 171 w 414"/>
                <a:gd name="T43" fmla="*/ 461 h 550"/>
                <a:gd name="T44" fmla="*/ 133 w 414"/>
                <a:gd name="T45" fmla="*/ 461 h 550"/>
                <a:gd name="T46" fmla="*/ 115 w 414"/>
                <a:gd name="T47" fmla="*/ 509 h 550"/>
                <a:gd name="T48" fmla="*/ 16 w 414"/>
                <a:gd name="T49" fmla="*/ 454 h 550"/>
                <a:gd name="T50" fmla="*/ 23 w 414"/>
                <a:gd name="T51" fmla="*/ 402 h 550"/>
                <a:gd name="T52" fmla="*/ 42 w 414"/>
                <a:gd name="T53" fmla="*/ 360 h 550"/>
                <a:gd name="T54" fmla="*/ 69 w 414"/>
                <a:gd name="T55" fmla="*/ 324 h 550"/>
                <a:gd name="T56" fmla="*/ 95 w 414"/>
                <a:gd name="T57" fmla="*/ 287 h 550"/>
                <a:gd name="T58" fmla="*/ 106 w 414"/>
                <a:gd name="T59" fmla="*/ 252 h 550"/>
                <a:gd name="T60" fmla="*/ 107 w 414"/>
                <a:gd name="T61" fmla="*/ 175 h 550"/>
                <a:gd name="T62" fmla="*/ 91 w 414"/>
                <a:gd name="T63" fmla="*/ 112 h 550"/>
                <a:gd name="T64" fmla="*/ 69 w 414"/>
                <a:gd name="T65" fmla="*/ 38 h 55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2778 w 10000"/>
                <a:gd name="connsiteY47" fmla="*/ 9255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2464 w 10000"/>
                <a:gd name="connsiteY48" fmla="*/ 9800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667 w 10000"/>
                <a:gd name="connsiteY0" fmla="*/ 691 h 10000"/>
                <a:gd name="connsiteX1" fmla="*/ 3671 w 10000"/>
                <a:gd name="connsiteY1" fmla="*/ 73 h 10000"/>
                <a:gd name="connsiteX2" fmla="*/ 4589 w 10000"/>
                <a:gd name="connsiteY2" fmla="*/ 0 h 10000"/>
                <a:gd name="connsiteX3" fmla="*/ 5145 w 10000"/>
                <a:gd name="connsiteY3" fmla="*/ 18 h 10000"/>
                <a:gd name="connsiteX4" fmla="*/ 5338 w 10000"/>
                <a:gd name="connsiteY4" fmla="*/ 145 h 10000"/>
                <a:gd name="connsiteX5" fmla="*/ 5507 w 10000"/>
                <a:gd name="connsiteY5" fmla="*/ 309 h 10000"/>
                <a:gd name="connsiteX6" fmla="*/ 5531 w 10000"/>
                <a:gd name="connsiteY6" fmla="*/ 491 h 10000"/>
                <a:gd name="connsiteX7" fmla="*/ 5725 w 10000"/>
                <a:gd name="connsiteY7" fmla="*/ 545 h 10000"/>
                <a:gd name="connsiteX8" fmla="*/ 5966 w 10000"/>
                <a:gd name="connsiteY8" fmla="*/ 927 h 10000"/>
                <a:gd name="connsiteX9" fmla="*/ 5990 w 10000"/>
                <a:gd name="connsiteY9" fmla="*/ 1491 h 10000"/>
                <a:gd name="connsiteX10" fmla="*/ 6232 w 10000"/>
                <a:gd name="connsiteY10" fmla="*/ 1709 h 10000"/>
                <a:gd name="connsiteX11" fmla="*/ 6812 w 10000"/>
                <a:gd name="connsiteY11" fmla="*/ 1709 h 10000"/>
                <a:gd name="connsiteX12" fmla="*/ 7174 w 10000"/>
                <a:gd name="connsiteY12" fmla="*/ 2509 h 10000"/>
                <a:gd name="connsiteX13" fmla="*/ 7174 w 10000"/>
                <a:gd name="connsiteY13" fmla="*/ 3055 h 10000"/>
                <a:gd name="connsiteX14" fmla="*/ 7440 w 10000"/>
                <a:gd name="connsiteY14" fmla="*/ 3418 h 10000"/>
                <a:gd name="connsiteX15" fmla="*/ 7705 w 10000"/>
                <a:gd name="connsiteY15" fmla="*/ 3418 h 10000"/>
                <a:gd name="connsiteX16" fmla="*/ 8285 w 10000"/>
                <a:gd name="connsiteY16" fmla="*/ 3055 h 10000"/>
                <a:gd name="connsiteX17" fmla="*/ 8623 w 10000"/>
                <a:gd name="connsiteY17" fmla="*/ 3291 h 10000"/>
                <a:gd name="connsiteX18" fmla="*/ 8647 w 10000"/>
                <a:gd name="connsiteY18" fmla="*/ 3745 h 10000"/>
                <a:gd name="connsiteX19" fmla="*/ 9275 w 10000"/>
                <a:gd name="connsiteY19" fmla="*/ 4036 h 10000"/>
                <a:gd name="connsiteX20" fmla="*/ 9179 w 10000"/>
                <a:gd name="connsiteY20" fmla="*/ 4527 h 10000"/>
                <a:gd name="connsiteX21" fmla="*/ 9203 w 10000"/>
                <a:gd name="connsiteY21" fmla="*/ 4655 h 10000"/>
                <a:gd name="connsiteX22" fmla="*/ 9300 w 10000"/>
                <a:gd name="connsiteY22" fmla="*/ 4727 h 10000"/>
                <a:gd name="connsiteX23" fmla="*/ 9082 w 10000"/>
                <a:gd name="connsiteY23" fmla="*/ 4982 h 10000"/>
                <a:gd name="connsiteX24" fmla="*/ 9010 w 10000"/>
                <a:gd name="connsiteY24" fmla="*/ 5291 h 10000"/>
                <a:gd name="connsiteX25" fmla="*/ 9348 w 10000"/>
                <a:gd name="connsiteY25" fmla="*/ 5927 h 10000"/>
                <a:gd name="connsiteX26" fmla="*/ 9855 w 10000"/>
                <a:gd name="connsiteY26" fmla="*/ 6000 h 10000"/>
                <a:gd name="connsiteX27" fmla="*/ 10000 w 10000"/>
                <a:gd name="connsiteY27" fmla="*/ 6309 h 10000"/>
                <a:gd name="connsiteX28" fmla="*/ 9855 w 10000"/>
                <a:gd name="connsiteY28" fmla="*/ 6927 h 10000"/>
                <a:gd name="connsiteX29" fmla="*/ 9106 w 10000"/>
                <a:gd name="connsiteY29" fmla="*/ 7473 h 10000"/>
                <a:gd name="connsiteX30" fmla="*/ 9300 w 10000"/>
                <a:gd name="connsiteY30" fmla="*/ 8455 h 10000"/>
                <a:gd name="connsiteX31" fmla="*/ 9010 w 10000"/>
                <a:gd name="connsiteY31" fmla="*/ 8873 h 10000"/>
                <a:gd name="connsiteX32" fmla="*/ 9203 w 10000"/>
                <a:gd name="connsiteY32" fmla="*/ 9327 h 10000"/>
                <a:gd name="connsiteX33" fmla="*/ 8285 w 10000"/>
                <a:gd name="connsiteY33" fmla="*/ 9182 h 10000"/>
                <a:gd name="connsiteX34" fmla="*/ 7826 w 10000"/>
                <a:gd name="connsiteY34" fmla="*/ 9327 h 10000"/>
                <a:gd name="connsiteX35" fmla="*/ 7367 w 10000"/>
                <a:gd name="connsiteY35" fmla="*/ 9327 h 10000"/>
                <a:gd name="connsiteX36" fmla="*/ 6812 w 10000"/>
                <a:gd name="connsiteY36" fmla="*/ 9455 h 10000"/>
                <a:gd name="connsiteX37" fmla="*/ 6256 w 10000"/>
                <a:gd name="connsiteY37" fmla="*/ 9545 h 10000"/>
                <a:gd name="connsiteX38" fmla="*/ 5411 w 10000"/>
                <a:gd name="connsiteY38" fmla="*/ 10000 h 10000"/>
                <a:gd name="connsiteX39" fmla="*/ 5435 w 10000"/>
                <a:gd name="connsiteY39" fmla="*/ 9109 h 10000"/>
                <a:gd name="connsiteX40" fmla="*/ 5266 w 10000"/>
                <a:gd name="connsiteY40" fmla="*/ 8873 h 10000"/>
                <a:gd name="connsiteX41" fmla="*/ 4686 w 10000"/>
                <a:gd name="connsiteY41" fmla="*/ 8782 h 10000"/>
                <a:gd name="connsiteX42" fmla="*/ 4493 w 10000"/>
                <a:gd name="connsiteY42" fmla="*/ 8400 h 10000"/>
                <a:gd name="connsiteX43" fmla="*/ 4130 w 10000"/>
                <a:gd name="connsiteY43" fmla="*/ 8382 h 10000"/>
                <a:gd name="connsiteX44" fmla="*/ 3961 w 10000"/>
                <a:gd name="connsiteY44" fmla="*/ 8473 h 10000"/>
                <a:gd name="connsiteX45" fmla="*/ 3213 w 10000"/>
                <a:gd name="connsiteY45" fmla="*/ 8382 h 10000"/>
                <a:gd name="connsiteX46" fmla="*/ 2923 w 10000"/>
                <a:gd name="connsiteY46" fmla="*/ 8564 h 10000"/>
                <a:gd name="connsiteX47" fmla="*/ 3406 w 10000"/>
                <a:gd name="connsiteY47" fmla="*/ 8173 h 10000"/>
                <a:gd name="connsiteX48" fmla="*/ 3989 w 10000"/>
                <a:gd name="connsiteY48" fmla="*/ 7969 h 10000"/>
                <a:gd name="connsiteX49" fmla="*/ 2000 w 10000"/>
                <a:gd name="connsiteY49" fmla="*/ 7090 h 10000"/>
                <a:gd name="connsiteX50" fmla="*/ 0 w 10000"/>
                <a:gd name="connsiteY50" fmla="*/ 7527 h 10000"/>
                <a:gd name="connsiteX51" fmla="*/ 556 w 10000"/>
                <a:gd name="connsiteY51" fmla="*/ 7309 h 10000"/>
                <a:gd name="connsiteX52" fmla="*/ 1014 w 10000"/>
                <a:gd name="connsiteY52" fmla="*/ 7127 h 10000"/>
                <a:gd name="connsiteX53" fmla="*/ 1014 w 10000"/>
                <a:gd name="connsiteY53" fmla="*/ 6545 h 10000"/>
                <a:gd name="connsiteX54" fmla="*/ 1473 w 10000"/>
                <a:gd name="connsiteY54" fmla="*/ 6309 h 10000"/>
                <a:gd name="connsiteX55" fmla="*/ 1667 w 10000"/>
                <a:gd name="connsiteY55" fmla="*/ 5891 h 10000"/>
                <a:gd name="connsiteX56" fmla="*/ 2198 w 10000"/>
                <a:gd name="connsiteY56" fmla="*/ 5618 h 10000"/>
                <a:gd name="connsiteX57" fmla="*/ 2295 w 10000"/>
                <a:gd name="connsiteY57" fmla="*/ 5218 h 10000"/>
                <a:gd name="connsiteX58" fmla="*/ 2222 w 10000"/>
                <a:gd name="connsiteY58" fmla="*/ 4800 h 10000"/>
                <a:gd name="connsiteX59" fmla="*/ 2560 w 10000"/>
                <a:gd name="connsiteY59" fmla="*/ 4582 h 10000"/>
                <a:gd name="connsiteX60" fmla="*/ 2101 w 10000"/>
                <a:gd name="connsiteY60" fmla="*/ 3982 h 10000"/>
                <a:gd name="connsiteX61" fmla="*/ 2585 w 10000"/>
                <a:gd name="connsiteY61" fmla="*/ 3182 h 10000"/>
                <a:gd name="connsiteX62" fmla="*/ 2053 w 10000"/>
                <a:gd name="connsiteY62" fmla="*/ 2636 h 10000"/>
                <a:gd name="connsiteX63" fmla="*/ 2198 w 10000"/>
                <a:gd name="connsiteY63" fmla="*/ 2036 h 10000"/>
                <a:gd name="connsiteX64" fmla="*/ 1667 w 10000"/>
                <a:gd name="connsiteY64" fmla="*/ 1491 h 10000"/>
                <a:gd name="connsiteX65" fmla="*/ 1667 w 10000"/>
                <a:gd name="connsiteY65" fmla="*/ 691 h 10000"/>
                <a:gd name="connsiteX0" fmla="*/ 1111 w 9444"/>
                <a:gd name="connsiteY0" fmla="*/ 691 h 10000"/>
                <a:gd name="connsiteX1" fmla="*/ 3115 w 9444"/>
                <a:gd name="connsiteY1" fmla="*/ 73 h 10000"/>
                <a:gd name="connsiteX2" fmla="*/ 4033 w 9444"/>
                <a:gd name="connsiteY2" fmla="*/ 0 h 10000"/>
                <a:gd name="connsiteX3" fmla="*/ 4589 w 9444"/>
                <a:gd name="connsiteY3" fmla="*/ 18 h 10000"/>
                <a:gd name="connsiteX4" fmla="*/ 4782 w 9444"/>
                <a:gd name="connsiteY4" fmla="*/ 145 h 10000"/>
                <a:gd name="connsiteX5" fmla="*/ 4951 w 9444"/>
                <a:gd name="connsiteY5" fmla="*/ 309 h 10000"/>
                <a:gd name="connsiteX6" fmla="*/ 4975 w 9444"/>
                <a:gd name="connsiteY6" fmla="*/ 491 h 10000"/>
                <a:gd name="connsiteX7" fmla="*/ 5169 w 9444"/>
                <a:gd name="connsiteY7" fmla="*/ 545 h 10000"/>
                <a:gd name="connsiteX8" fmla="*/ 5410 w 9444"/>
                <a:gd name="connsiteY8" fmla="*/ 927 h 10000"/>
                <a:gd name="connsiteX9" fmla="*/ 5434 w 9444"/>
                <a:gd name="connsiteY9" fmla="*/ 1491 h 10000"/>
                <a:gd name="connsiteX10" fmla="*/ 5676 w 9444"/>
                <a:gd name="connsiteY10" fmla="*/ 1709 h 10000"/>
                <a:gd name="connsiteX11" fmla="*/ 6256 w 9444"/>
                <a:gd name="connsiteY11" fmla="*/ 1709 h 10000"/>
                <a:gd name="connsiteX12" fmla="*/ 6618 w 9444"/>
                <a:gd name="connsiteY12" fmla="*/ 2509 h 10000"/>
                <a:gd name="connsiteX13" fmla="*/ 6618 w 9444"/>
                <a:gd name="connsiteY13" fmla="*/ 3055 h 10000"/>
                <a:gd name="connsiteX14" fmla="*/ 6884 w 9444"/>
                <a:gd name="connsiteY14" fmla="*/ 3418 h 10000"/>
                <a:gd name="connsiteX15" fmla="*/ 7149 w 9444"/>
                <a:gd name="connsiteY15" fmla="*/ 3418 h 10000"/>
                <a:gd name="connsiteX16" fmla="*/ 7729 w 9444"/>
                <a:gd name="connsiteY16" fmla="*/ 3055 h 10000"/>
                <a:gd name="connsiteX17" fmla="*/ 8067 w 9444"/>
                <a:gd name="connsiteY17" fmla="*/ 3291 h 10000"/>
                <a:gd name="connsiteX18" fmla="*/ 8091 w 9444"/>
                <a:gd name="connsiteY18" fmla="*/ 3745 h 10000"/>
                <a:gd name="connsiteX19" fmla="*/ 8719 w 9444"/>
                <a:gd name="connsiteY19" fmla="*/ 4036 h 10000"/>
                <a:gd name="connsiteX20" fmla="*/ 8623 w 9444"/>
                <a:gd name="connsiteY20" fmla="*/ 4527 h 10000"/>
                <a:gd name="connsiteX21" fmla="*/ 8647 w 9444"/>
                <a:gd name="connsiteY21" fmla="*/ 4655 h 10000"/>
                <a:gd name="connsiteX22" fmla="*/ 8744 w 9444"/>
                <a:gd name="connsiteY22" fmla="*/ 4727 h 10000"/>
                <a:gd name="connsiteX23" fmla="*/ 8526 w 9444"/>
                <a:gd name="connsiteY23" fmla="*/ 4982 h 10000"/>
                <a:gd name="connsiteX24" fmla="*/ 8454 w 9444"/>
                <a:gd name="connsiteY24" fmla="*/ 5291 h 10000"/>
                <a:gd name="connsiteX25" fmla="*/ 8792 w 9444"/>
                <a:gd name="connsiteY25" fmla="*/ 5927 h 10000"/>
                <a:gd name="connsiteX26" fmla="*/ 9299 w 9444"/>
                <a:gd name="connsiteY26" fmla="*/ 6000 h 10000"/>
                <a:gd name="connsiteX27" fmla="*/ 9444 w 9444"/>
                <a:gd name="connsiteY27" fmla="*/ 6309 h 10000"/>
                <a:gd name="connsiteX28" fmla="*/ 9299 w 9444"/>
                <a:gd name="connsiteY28" fmla="*/ 6927 h 10000"/>
                <a:gd name="connsiteX29" fmla="*/ 8550 w 9444"/>
                <a:gd name="connsiteY29" fmla="*/ 7473 h 10000"/>
                <a:gd name="connsiteX30" fmla="*/ 8744 w 9444"/>
                <a:gd name="connsiteY30" fmla="*/ 8455 h 10000"/>
                <a:gd name="connsiteX31" fmla="*/ 8454 w 9444"/>
                <a:gd name="connsiteY31" fmla="*/ 8873 h 10000"/>
                <a:gd name="connsiteX32" fmla="*/ 8647 w 9444"/>
                <a:gd name="connsiteY32" fmla="*/ 9327 h 10000"/>
                <a:gd name="connsiteX33" fmla="*/ 7729 w 9444"/>
                <a:gd name="connsiteY33" fmla="*/ 9182 h 10000"/>
                <a:gd name="connsiteX34" fmla="*/ 7270 w 9444"/>
                <a:gd name="connsiteY34" fmla="*/ 9327 h 10000"/>
                <a:gd name="connsiteX35" fmla="*/ 6811 w 9444"/>
                <a:gd name="connsiteY35" fmla="*/ 9327 h 10000"/>
                <a:gd name="connsiteX36" fmla="*/ 6256 w 9444"/>
                <a:gd name="connsiteY36" fmla="*/ 9455 h 10000"/>
                <a:gd name="connsiteX37" fmla="*/ 5700 w 9444"/>
                <a:gd name="connsiteY37" fmla="*/ 9545 h 10000"/>
                <a:gd name="connsiteX38" fmla="*/ 4855 w 9444"/>
                <a:gd name="connsiteY38" fmla="*/ 10000 h 10000"/>
                <a:gd name="connsiteX39" fmla="*/ 4879 w 9444"/>
                <a:gd name="connsiteY39" fmla="*/ 9109 h 10000"/>
                <a:gd name="connsiteX40" fmla="*/ 4710 w 9444"/>
                <a:gd name="connsiteY40" fmla="*/ 8873 h 10000"/>
                <a:gd name="connsiteX41" fmla="*/ 4130 w 9444"/>
                <a:gd name="connsiteY41" fmla="*/ 8782 h 10000"/>
                <a:gd name="connsiteX42" fmla="*/ 3937 w 9444"/>
                <a:gd name="connsiteY42" fmla="*/ 8400 h 10000"/>
                <a:gd name="connsiteX43" fmla="*/ 3574 w 9444"/>
                <a:gd name="connsiteY43" fmla="*/ 8382 h 10000"/>
                <a:gd name="connsiteX44" fmla="*/ 3405 w 9444"/>
                <a:gd name="connsiteY44" fmla="*/ 8473 h 10000"/>
                <a:gd name="connsiteX45" fmla="*/ 2657 w 9444"/>
                <a:gd name="connsiteY45" fmla="*/ 8382 h 10000"/>
                <a:gd name="connsiteX46" fmla="*/ 2367 w 9444"/>
                <a:gd name="connsiteY46" fmla="*/ 8564 h 10000"/>
                <a:gd name="connsiteX47" fmla="*/ 2850 w 9444"/>
                <a:gd name="connsiteY47" fmla="*/ 8173 h 10000"/>
                <a:gd name="connsiteX48" fmla="*/ 3433 w 9444"/>
                <a:gd name="connsiteY48" fmla="*/ 7969 h 10000"/>
                <a:gd name="connsiteX49" fmla="*/ 1444 w 9444"/>
                <a:gd name="connsiteY49" fmla="*/ 7090 h 10000"/>
                <a:gd name="connsiteX50" fmla="*/ 1238 w 9444"/>
                <a:gd name="connsiteY50" fmla="*/ 6861 h 10000"/>
                <a:gd name="connsiteX51" fmla="*/ 0 w 9444"/>
                <a:gd name="connsiteY51" fmla="*/ 7309 h 10000"/>
                <a:gd name="connsiteX52" fmla="*/ 458 w 9444"/>
                <a:gd name="connsiteY52" fmla="*/ 7127 h 10000"/>
                <a:gd name="connsiteX53" fmla="*/ 458 w 9444"/>
                <a:gd name="connsiteY53" fmla="*/ 6545 h 10000"/>
                <a:gd name="connsiteX54" fmla="*/ 917 w 9444"/>
                <a:gd name="connsiteY54" fmla="*/ 6309 h 10000"/>
                <a:gd name="connsiteX55" fmla="*/ 1111 w 9444"/>
                <a:gd name="connsiteY55" fmla="*/ 5891 h 10000"/>
                <a:gd name="connsiteX56" fmla="*/ 1642 w 9444"/>
                <a:gd name="connsiteY56" fmla="*/ 5618 h 10000"/>
                <a:gd name="connsiteX57" fmla="*/ 1739 w 9444"/>
                <a:gd name="connsiteY57" fmla="*/ 5218 h 10000"/>
                <a:gd name="connsiteX58" fmla="*/ 1666 w 9444"/>
                <a:gd name="connsiteY58" fmla="*/ 4800 h 10000"/>
                <a:gd name="connsiteX59" fmla="*/ 2004 w 9444"/>
                <a:gd name="connsiteY59" fmla="*/ 4582 h 10000"/>
                <a:gd name="connsiteX60" fmla="*/ 1545 w 9444"/>
                <a:gd name="connsiteY60" fmla="*/ 3982 h 10000"/>
                <a:gd name="connsiteX61" fmla="*/ 2029 w 9444"/>
                <a:gd name="connsiteY61" fmla="*/ 3182 h 10000"/>
                <a:gd name="connsiteX62" fmla="*/ 1497 w 9444"/>
                <a:gd name="connsiteY62" fmla="*/ 2636 h 10000"/>
                <a:gd name="connsiteX63" fmla="*/ 1642 w 9444"/>
                <a:gd name="connsiteY63" fmla="*/ 2036 h 10000"/>
                <a:gd name="connsiteX64" fmla="*/ 1111 w 9444"/>
                <a:gd name="connsiteY64" fmla="*/ 1491 h 10000"/>
                <a:gd name="connsiteX65" fmla="*/ 1111 w 9444"/>
                <a:gd name="connsiteY65" fmla="*/ 691 h 10000"/>
                <a:gd name="connsiteX0" fmla="*/ 691 w 9515"/>
                <a:gd name="connsiteY0" fmla="*/ 691 h 10000"/>
                <a:gd name="connsiteX1" fmla="*/ 2813 w 9515"/>
                <a:gd name="connsiteY1" fmla="*/ 73 h 10000"/>
                <a:gd name="connsiteX2" fmla="*/ 3785 w 9515"/>
                <a:gd name="connsiteY2" fmla="*/ 0 h 10000"/>
                <a:gd name="connsiteX3" fmla="*/ 4374 w 9515"/>
                <a:gd name="connsiteY3" fmla="*/ 18 h 10000"/>
                <a:gd name="connsiteX4" fmla="*/ 4579 w 9515"/>
                <a:gd name="connsiteY4" fmla="*/ 145 h 10000"/>
                <a:gd name="connsiteX5" fmla="*/ 4757 w 9515"/>
                <a:gd name="connsiteY5" fmla="*/ 309 h 10000"/>
                <a:gd name="connsiteX6" fmla="*/ 4783 w 9515"/>
                <a:gd name="connsiteY6" fmla="*/ 491 h 10000"/>
                <a:gd name="connsiteX7" fmla="*/ 4988 w 9515"/>
                <a:gd name="connsiteY7" fmla="*/ 545 h 10000"/>
                <a:gd name="connsiteX8" fmla="*/ 5244 w 9515"/>
                <a:gd name="connsiteY8" fmla="*/ 927 h 10000"/>
                <a:gd name="connsiteX9" fmla="*/ 5269 w 9515"/>
                <a:gd name="connsiteY9" fmla="*/ 1491 h 10000"/>
                <a:gd name="connsiteX10" fmla="*/ 5525 w 9515"/>
                <a:gd name="connsiteY10" fmla="*/ 1709 h 10000"/>
                <a:gd name="connsiteX11" fmla="*/ 6139 w 9515"/>
                <a:gd name="connsiteY11" fmla="*/ 1709 h 10000"/>
                <a:gd name="connsiteX12" fmla="*/ 6523 w 9515"/>
                <a:gd name="connsiteY12" fmla="*/ 2509 h 10000"/>
                <a:gd name="connsiteX13" fmla="*/ 6523 w 9515"/>
                <a:gd name="connsiteY13" fmla="*/ 3055 h 10000"/>
                <a:gd name="connsiteX14" fmla="*/ 6804 w 9515"/>
                <a:gd name="connsiteY14" fmla="*/ 3418 h 10000"/>
                <a:gd name="connsiteX15" fmla="*/ 7085 w 9515"/>
                <a:gd name="connsiteY15" fmla="*/ 3418 h 10000"/>
                <a:gd name="connsiteX16" fmla="*/ 7699 w 9515"/>
                <a:gd name="connsiteY16" fmla="*/ 3055 h 10000"/>
                <a:gd name="connsiteX17" fmla="*/ 8057 w 9515"/>
                <a:gd name="connsiteY17" fmla="*/ 3291 h 10000"/>
                <a:gd name="connsiteX18" fmla="*/ 8082 w 9515"/>
                <a:gd name="connsiteY18" fmla="*/ 3745 h 10000"/>
                <a:gd name="connsiteX19" fmla="*/ 8747 w 9515"/>
                <a:gd name="connsiteY19" fmla="*/ 4036 h 10000"/>
                <a:gd name="connsiteX20" fmla="*/ 8646 w 9515"/>
                <a:gd name="connsiteY20" fmla="*/ 4527 h 10000"/>
                <a:gd name="connsiteX21" fmla="*/ 8671 w 9515"/>
                <a:gd name="connsiteY21" fmla="*/ 4655 h 10000"/>
                <a:gd name="connsiteX22" fmla="*/ 8774 w 9515"/>
                <a:gd name="connsiteY22" fmla="*/ 4727 h 10000"/>
                <a:gd name="connsiteX23" fmla="*/ 8543 w 9515"/>
                <a:gd name="connsiteY23" fmla="*/ 4982 h 10000"/>
                <a:gd name="connsiteX24" fmla="*/ 8467 w 9515"/>
                <a:gd name="connsiteY24" fmla="*/ 5291 h 10000"/>
                <a:gd name="connsiteX25" fmla="*/ 8825 w 9515"/>
                <a:gd name="connsiteY25" fmla="*/ 5927 h 10000"/>
                <a:gd name="connsiteX26" fmla="*/ 9361 w 9515"/>
                <a:gd name="connsiteY26" fmla="*/ 6000 h 10000"/>
                <a:gd name="connsiteX27" fmla="*/ 9515 w 9515"/>
                <a:gd name="connsiteY27" fmla="*/ 6309 h 10000"/>
                <a:gd name="connsiteX28" fmla="*/ 9361 w 9515"/>
                <a:gd name="connsiteY28" fmla="*/ 6927 h 10000"/>
                <a:gd name="connsiteX29" fmla="*/ 8568 w 9515"/>
                <a:gd name="connsiteY29" fmla="*/ 7473 h 10000"/>
                <a:gd name="connsiteX30" fmla="*/ 8774 w 9515"/>
                <a:gd name="connsiteY30" fmla="*/ 8455 h 10000"/>
                <a:gd name="connsiteX31" fmla="*/ 8467 w 9515"/>
                <a:gd name="connsiteY31" fmla="*/ 8873 h 10000"/>
                <a:gd name="connsiteX32" fmla="*/ 8671 w 9515"/>
                <a:gd name="connsiteY32" fmla="*/ 9327 h 10000"/>
                <a:gd name="connsiteX33" fmla="*/ 7699 w 9515"/>
                <a:gd name="connsiteY33" fmla="*/ 9182 h 10000"/>
                <a:gd name="connsiteX34" fmla="*/ 7213 w 9515"/>
                <a:gd name="connsiteY34" fmla="*/ 9327 h 10000"/>
                <a:gd name="connsiteX35" fmla="*/ 6727 w 9515"/>
                <a:gd name="connsiteY35" fmla="*/ 9327 h 10000"/>
                <a:gd name="connsiteX36" fmla="*/ 6139 w 9515"/>
                <a:gd name="connsiteY36" fmla="*/ 9455 h 10000"/>
                <a:gd name="connsiteX37" fmla="*/ 5551 w 9515"/>
                <a:gd name="connsiteY37" fmla="*/ 9545 h 10000"/>
                <a:gd name="connsiteX38" fmla="*/ 4656 w 9515"/>
                <a:gd name="connsiteY38" fmla="*/ 10000 h 10000"/>
                <a:gd name="connsiteX39" fmla="*/ 4681 w 9515"/>
                <a:gd name="connsiteY39" fmla="*/ 9109 h 10000"/>
                <a:gd name="connsiteX40" fmla="*/ 4502 w 9515"/>
                <a:gd name="connsiteY40" fmla="*/ 8873 h 10000"/>
                <a:gd name="connsiteX41" fmla="*/ 3888 w 9515"/>
                <a:gd name="connsiteY41" fmla="*/ 8782 h 10000"/>
                <a:gd name="connsiteX42" fmla="*/ 3684 w 9515"/>
                <a:gd name="connsiteY42" fmla="*/ 8400 h 10000"/>
                <a:gd name="connsiteX43" fmla="*/ 3299 w 9515"/>
                <a:gd name="connsiteY43" fmla="*/ 8382 h 10000"/>
                <a:gd name="connsiteX44" fmla="*/ 3120 w 9515"/>
                <a:gd name="connsiteY44" fmla="*/ 8473 h 10000"/>
                <a:gd name="connsiteX45" fmla="*/ 2328 w 9515"/>
                <a:gd name="connsiteY45" fmla="*/ 8382 h 10000"/>
                <a:gd name="connsiteX46" fmla="*/ 2021 w 9515"/>
                <a:gd name="connsiteY46" fmla="*/ 8564 h 10000"/>
                <a:gd name="connsiteX47" fmla="*/ 2533 w 9515"/>
                <a:gd name="connsiteY47" fmla="*/ 8173 h 10000"/>
                <a:gd name="connsiteX48" fmla="*/ 3150 w 9515"/>
                <a:gd name="connsiteY48" fmla="*/ 7969 h 10000"/>
                <a:gd name="connsiteX49" fmla="*/ 1044 w 9515"/>
                <a:gd name="connsiteY49" fmla="*/ 7090 h 10000"/>
                <a:gd name="connsiteX50" fmla="*/ 826 w 9515"/>
                <a:gd name="connsiteY50" fmla="*/ 6861 h 10000"/>
                <a:gd name="connsiteX51" fmla="*/ 1034 w 9515"/>
                <a:gd name="connsiteY51" fmla="*/ 6726 h 10000"/>
                <a:gd name="connsiteX52" fmla="*/ 0 w 9515"/>
                <a:gd name="connsiteY52" fmla="*/ 7127 h 10000"/>
                <a:gd name="connsiteX53" fmla="*/ 0 w 9515"/>
                <a:gd name="connsiteY53" fmla="*/ 6545 h 10000"/>
                <a:gd name="connsiteX54" fmla="*/ 486 w 9515"/>
                <a:gd name="connsiteY54" fmla="*/ 6309 h 10000"/>
                <a:gd name="connsiteX55" fmla="*/ 691 w 9515"/>
                <a:gd name="connsiteY55" fmla="*/ 5891 h 10000"/>
                <a:gd name="connsiteX56" fmla="*/ 1254 w 9515"/>
                <a:gd name="connsiteY56" fmla="*/ 5618 h 10000"/>
                <a:gd name="connsiteX57" fmla="*/ 1356 w 9515"/>
                <a:gd name="connsiteY57" fmla="*/ 5218 h 10000"/>
                <a:gd name="connsiteX58" fmla="*/ 1279 w 9515"/>
                <a:gd name="connsiteY58" fmla="*/ 4800 h 10000"/>
                <a:gd name="connsiteX59" fmla="*/ 1637 w 9515"/>
                <a:gd name="connsiteY59" fmla="*/ 4582 h 10000"/>
                <a:gd name="connsiteX60" fmla="*/ 1151 w 9515"/>
                <a:gd name="connsiteY60" fmla="*/ 3982 h 10000"/>
                <a:gd name="connsiteX61" fmla="*/ 1663 w 9515"/>
                <a:gd name="connsiteY61" fmla="*/ 3182 h 10000"/>
                <a:gd name="connsiteX62" fmla="*/ 1100 w 9515"/>
                <a:gd name="connsiteY62" fmla="*/ 2636 h 10000"/>
                <a:gd name="connsiteX63" fmla="*/ 1254 w 9515"/>
                <a:gd name="connsiteY63" fmla="*/ 2036 h 10000"/>
                <a:gd name="connsiteX64" fmla="*/ 691 w 9515"/>
                <a:gd name="connsiteY64" fmla="*/ 1491 h 10000"/>
                <a:gd name="connsiteX65" fmla="*/ 691 w 9515"/>
                <a:gd name="connsiteY65" fmla="*/ 691 h 10000"/>
                <a:gd name="connsiteX0" fmla="*/ 726 w 10000"/>
                <a:gd name="connsiteY0" fmla="*/ 691 h 10000"/>
                <a:gd name="connsiteX1" fmla="*/ 2956 w 10000"/>
                <a:gd name="connsiteY1" fmla="*/ 73 h 10000"/>
                <a:gd name="connsiteX2" fmla="*/ 3978 w 10000"/>
                <a:gd name="connsiteY2" fmla="*/ 0 h 10000"/>
                <a:gd name="connsiteX3" fmla="*/ 4597 w 10000"/>
                <a:gd name="connsiteY3" fmla="*/ 18 h 10000"/>
                <a:gd name="connsiteX4" fmla="*/ 4812 w 10000"/>
                <a:gd name="connsiteY4" fmla="*/ 145 h 10000"/>
                <a:gd name="connsiteX5" fmla="*/ 4999 w 10000"/>
                <a:gd name="connsiteY5" fmla="*/ 309 h 10000"/>
                <a:gd name="connsiteX6" fmla="*/ 5027 w 10000"/>
                <a:gd name="connsiteY6" fmla="*/ 491 h 10000"/>
                <a:gd name="connsiteX7" fmla="*/ 5242 w 10000"/>
                <a:gd name="connsiteY7" fmla="*/ 545 h 10000"/>
                <a:gd name="connsiteX8" fmla="*/ 5511 w 10000"/>
                <a:gd name="connsiteY8" fmla="*/ 927 h 10000"/>
                <a:gd name="connsiteX9" fmla="*/ 5538 w 10000"/>
                <a:gd name="connsiteY9" fmla="*/ 1491 h 10000"/>
                <a:gd name="connsiteX10" fmla="*/ 5807 w 10000"/>
                <a:gd name="connsiteY10" fmla="*/ 1709 h 10000"/>
                <a:gd name="connsiteX11" fmla="*/ 6452 w 10000"/>
                <a:gd name="connsiteY11" fmla="*/ 1709 h 10000"/>
                <a:gd name="connsiteX12" fmla="*/ 6855 w 10000"/>
                <a:gd name="connsiteY12" fmla="*/ 2509 h 10000"/>
                <a:gd name="connsiteX13" fmla="*/ 6855 w 10000"/>
                <a:gd name="connsiteY13" fmla="*/ 3055 h 10000"/>
                <a:gd name="connsiteX14" fmla="*/ 7151 w 10000"/>
                <a:gd name="connsiteY14" fmla="*/ 3418 h 10000"/>
                <a:gd name="connsiteX15" fmla="*/ 7446 w 10000"/>
                <a:gd name="connsiteY15" fmla="*/ 3418 h 10000"/>
                <a:gd name="connsiteX16" fmla="*/ 8091 w 10000"/>
                <a:gd name="connsiteY16" fmla="*/ 3055 h 10000"/>
                <a:gd name="connsiteX17" fmla="*/ 8468 w 10000"/>
                <a:gd name="connsiteY17" fmla="*/ 3291 h 10000"/>
                <a:gd name="connsiteX18" fmla="*/ 8494 w 10000"/>
                <a:gd name="connsiteY18" fmla="*/ 3745 h 10000"/>
                <a:gd name="connsiteX19" fmla="*/ 9193 w 10000"/>
                <a:gd name="connsiteY19" fmla="*/ 4036 h 10000"/>
                <a:gd name="connsiteX20" fmla="*/ 9087 w 10000"/>
                <a:gd name="connsiteY20" fmla="*/ 4527 h 10000"/>
                <a:gd name="connsiteX21" fmla="*/ 9113 w 10000"/>
                <a:gd name="connsiteY21" fmla="*/ 4655 h 10000"/>
                <a:gd name="connsiteX22" fmla="*/ 9221 w 10000"/>
                <a:gd name="connsiteY22" fmla="*/ 4727 h 10000"/>
                <a:gd name="connsiteX23" fmla="*/ 8978 w 10000"/>
                <a:gd name="connsiteY23" fmla="*/ 4982 h 10000"/>
                <a:gd name="connsiteX24" fmla="*/ 8899 w 10000"/>
                <a:gd name="connsiteY24" fmla="*/ 5291 h 10000"/>
                <a:gd name="connsiteX25" fmla="*/ 9275 w 10000"/>
                <a:gd name="connsiteY25" fmla="*/ 5927 h 10000"/>
                <a:gd name="connsiteX26" fmla="*/ 9838 w 10000"/>
                <a:gd name="connsiteY26" fmla="*/ 6000 h 10000"/>
                <a:gd name="connsiteX27" fmla="*/ 10000 w 10000"/>
                <a:gd name="connsiteY27" fmla="*/ 6309 h 10000"/>
                <a:gd name="connsiteX28" fmla="*/ 9838 w 10000"/>
                <a:gd name="connsiteY28" fmla="*/ 6927 h 10000"/>
                <a:gd name="connsiteX29" fmla="*/ 9005 w 10000"/>
                <a:gd name="connsiteY29" fmla="*/ 7473 h 10000"/>
                <a:gd name="connsiteX30" fmla="*/ 9221 w 10000"/>
                <a:gd name="connsiteY30" fmla="*/ 8455 h 10000"/>
                <a:gd name="connsiteX31" fmla="*/ 8899 w 10000"/>
                <a:gd name="connsiteY31" fmla="*/ 8873 h 10000"/>
                <a:gd name="connsiteX32" fmla="*/ 9113 w 10000"/>
                <a:gd name="connsiteY32" fmla="*/ 9327 h 10000"/>
                <a:gd name="connsiteX33" fmla="*/ 8091 w 10000"/>
                <a:gd name="connsiteY33" fmla="*/ 9182 h 10000"/>
                <a:gd name="connsiteX34" fmla="*/ 7581 w 10000"/>
                <a:gd name="connsiteY34" fmla="*/ 9327 h 10000"/>
                <a:gd name="connsiteX35" fmla="*/ 7070 w 10000"/>
                <a:gd name="connsiteY35" fmla="*/ 9327 h 10000"/>
                <a:gd name="connsiteX36" fmla="*/ 6452 w 10000"/>
                <a:gd name="connsiteY36" fmla="*/ 9455 h 10000"/>
                <a:gd name="connsiteX37" fmla="*/ 5834 w 10000"/>
                <a:gd name="connsiteY37" fmla="*/ 9545 h 10000"/>
                <a:gd name="connsiteX38" fmla="*/ 4893 w 10000"/>
                <a:gd name="connsiteY38" fmla="*/ 10000 h 10000"/>
                <a:gd name="connsiteX39" fmla="*/ 4920 w 10000"/>
                <a:gd name="connsiteY39" fmla="*/ 9109 h 10000"/>
                <a:gd name="connsiteX40" fmla="*/ 4731 w 10000"/>
                <a:gd name="connsiteY40" fmla="*/ 8873 h 10000"/>
                <a:gd name="connsiteX41" fmla="*/ 4086 w 10000"/>
                <a:gd name="connsiteY41" fmla="*/ 8782 h 10000"/>
                <a:gd name="connsiteX42" fmla="*/ 3872 w 10000"/>
                <a:gd name="connsiteY42" fmla="*/ 8400 h 10000"/>
                <a:gd name="connsiteX43" fmla="*/ 3467 w 10000"/>
                <a:gd name="connsiteY43" fmla="*/ 8382 h 10000"/>
                <a:gd name="connsiteX44" fmla="*/ 3279 w 10000"/>
                <a:gd name="connsiteY44" fmla="*/ 8473 h 10000"/>
                <a:gd name="connsiteX45" fmla="*/ 2447 w 10000"/>
                <a:gd name="connsiteY45" fmla="*/ 8382 h 10000"/>
                <a:gd name="connsiteX46" fmla="*/ 2124 w 10000"/>
                <a:gd name="connsiteY46" fmla="*/ 8564 h 10000"/>
                <a:gd name="connsiteX47" fmla="*/ 2662 w 10000"/>
                <a:gd name="connsiteY47" fmla="*/ 8173 h 10000"/>
                <a:gd name="connsiteX48" fmla="*/ 3311 w 10000"/>
                <a:gd name="connsiteY48" fmla="*/ 7969 h 10000"/>
                <a:gd name="connsiteX49" fmla="*/ 1097 w 10000"/>
                <a:gd name="connsiteY49" fmla="*/ 7090 h 10000"/>
                <a:gd name="connsiteX50" fmla="*/ 868 w 10000"/>
                <a:gd name="connsiteY50" fmla="*/ 6861 h 10000"/>
                <a:gd name="connsiteX51" fmla="*/ 1087 w 10000"/>
                <a:gd name="connsiteY51" fmla="*/ 6726 h 10000"/>
                <a:gd name="connsiteX52" fmla="*/ 1497 w 10000"/>
                <a:gd name="connsiteY52" fmla="*/ 6877 h 10000"/>
                <a:gd name="connsiteX53" fmla="*/ 0 w 10000"/>
                <a:gd name="connsiteY53" fmla="*/ 6545 h 10000"/>
                <a:gd name="connsiteX54" fmla="*/ 511 w 10000"/>
                <a:gd name="connsiteY54" fmla="*/ 6309 h 10000"/>
                <a:gd name="connsiteX55" fmla="*/ 726 w 10000"/>
                <a:gd name="connsiteY55" fmla="*/ 5891 h 10000"/>
                <a:gd name="connsiteX56" fmla="*/ 1318 w 10000"/>
                <a:gd name="connsiteY56" fmla="*/ 5618 h 10000"/>
                <a:gd name="connsiteX57" fmla="*/ 1425 w 10000"/>
                <a:gd name="connsiteY57" fmla="*/ 5218 h 10000"/>
                <a:gd name="connsiteX58" fmla="*/ 1344 w 10000"/>
                <a:gd name="connsiteY58" fmla="*/ 4800 h 10000"/>
                <a:gd name="connsiteX59" fmla="*/ 1720 w 10000"/>
                <a:gd name="connsiteY59" fmla="*/ 4582 h 10000"/>
                <a:gd name="connsiteX60" fmla="*/ 1210 w 10000"/>
                <a:gd name="connsiteY60" fmla="*/ 3982 h 10000"/>
                <a:gd name="connsiteX61" fmla="*/ 1748 w 10000"/>
                <a:gd name="connsiteY61" fmla="*/ 3182 h 10000"/>
                <a:gd name="connsiteX62" fmla="*/ 1156 w 10000"/>
                <a:gd name="connsiteY62" fmla="*/ 2636 h 10000"/>
                <a:gd name="connsiteX63" fmla="*/ 1318 w 10000"/>
                <a:gd name="connsiteY63" fmla="*/ 2036 h 10000"/>
                <a:gd name="connsiteX64" fmla="*/ 726 w 10000"/>
                <a:gd name="connsiteY64" fmla="*/ 1491 h 10000"/>
                <a:gd name="connsiteX65" fmla="*/ 726 w 10000"/>
                <a:gd name="connsiteY65" fmla="*/ 691 h 10000"/>
                <a:gd name="connsiteX0" fmla="*/ 215 w 9489"/>
                <a:gd name="connsiteY0" fmla="*/ 691 h 10000"/>
                <a:gd name="connsiteX1" fmla="*/ 2445 w 9489"/>
                <a:gd name="connsiteY1" fmla="*/ 73 h 10000"/>
                <a:gd name="connsiteX2" fmla="*/ 3467 w 9489"/>
                <a:gd name="connsiteY2" fmla="*/ 0 h 10000"/>
                <a:gd name="connsiteX3" fmla="*/ 4086 w 9489"/>
                <a:gd name="connsiteY3" fmla="*/ 18 h 10000"/>
                <a:gd name="connsiteX4" fmla="*/ 4301 w 9489"/>
                <a:gd name="connsiteY4" fmla="*/ 145 h 10000"/>
                <a:gd name="connsiteX5" fmla="*/ 4488 w 9489"/>
                <a:gd name="connsiteY5" fmla="*/ 309 h 10000"/>
                <a:gd name="connsiteX6" fmla="*/ 4516 w 9489"/>
                <a:gd name="connsiteY6" fmla="*/ 491 h 10000"/>
                <a:gd name="connsiteX7" fmla="*/ 4731 w 9489"/>
                <a:gd name="connsiteY7" fmla="*/ 545 h 10000"/>
                <a:gd name="connsiteX8" fmla="*/ 5000 w 9489"/>
                <a:gd name="connsiteY8" fmla="*/ 927 h 10000"/>
                <a:gd name="connsiteX9" fmla="*/ 5027 w 9489"/>
                <a:gd name="connsiteY9" fmla="*/ 1491 h 10000"/>
                <a:gd name="connsiteX10" fmla="*/ 5296 w 9489"/>
                <a:gd name="connsiteY10" fmla="*/ 1709 h 10000"/>
                <a:gd name="connsiteX11" fmla="*/ 5941 w 9489"/>
                <a:gd name="connsiteY11" fmla="*/ 1709 h 10000"/>
                <a:gd name="connsiteX12" fmla="*/ 6344 w 9489"/>
                <a:gd name="connsiteY12" fmla="*/ 2509 h 10000"/>
                <a:gd name="connsiteX13" fmla="*/ 6344 w 9489"/>
                <a:gd name="connsiteY13" fmla="*/ 3055 h 10000"/>
                <a:gd name="connsiteX14" fmla="*/ 6640 w 9489"/>
                <a:gd name="connsiteY14" fmla="*/ 3418 h 10000"/>
                <a:gd name="connsiteX15" fmla="*/ 6935 w 9489"/>
                <a:gd name="connsiteY15" fmla="*/ 3418 h 10000"/>
                <a:gd name="connsiteX16" fmla="*/ 7580 w 9489"/>
                <a:gd name="connsiteY16" fmla="*/ 3055 h 10000"/>
                <a:gd name="connsiteX17" fmla="*/ 7957 w 9489"/>
                <a:gd name="connsiteY17" fmla="*/ 3291 h 10000"/>
                <a:gd name="connsiteX18" fmla="*/ 7983 w 9489"/>
                <a:gd name="connsiteY18" fmla="*/ 3745 h 10000"/>
                <a:gd name="connsiteX19" fmla="*/ 8682 w 9489"/>
                <a:gd name="connsiteY19" fmla="*/ 4036 h 10000"/>
                <a:gd name="connsiteX20" fmla="*/ 8576 w 9489"/>
                <a:gd name="connsiteY20" fmla="*/ 4527 h 10000"/>
                <a:gd name="connsiteX21" fmla="*/ 8602 w 9489"/>
                <a:gd name="connsiteY21" fmla="*/ 4655 h 10000"/>
                <a:gd name="connsiteX22" fmla="*/ 8710 w 9489"/>
                <a:gd name="connsiteY22" fmla="*/ 4727 h 10000"/>
                <a:gd name="connsiteX23" fmla="*/ 8467 w 9489"/>
                <a:gd name="connsiteY23" fmla="*/ 4982 h 10000"/>
                <a:gd name="connsiteX24" fmla="*/ 8388 w 9489"/>
                <a:gd name="connsiteY24" fmla="*/ 5291 h 10000"/>
                <a:gd name="connsiteX25" fmla="*/ 8764 w 9489"/>
                <a:gd name="connsiteY25" fmla="*/ 5927 h 10000"/>
                <a:gd name="connsiteX26" fmla="*/ 9327 w 9489"/>
                <a:gd name="connsiteY26" fmla="*/ 6000 h 10000"/>
                <a:gd name="connsiteX27" fmla="*/ 9489 w 9489"/>
                <a:gd name="connsiteY27" fmla="*/ 6309 h 10000"/>
                <a:gd name="connsiteX28" fmla="*/ 9327 w 9489"/>
                <a:gd name="connsiteY28" fmla="*/ 6927 h 10000"/>
                <a:gd name="connsiteX29" fmla="*/ 8494 w 9489"/>
                <a:gd name="connsiteY29" fmla="*/ 7473 h 10000"/>
                <a:gd name="connsiteX30" fmla="*/ 8710 w 9489"/>
                <a:gd name="connsiteY30" fmla="*/ 8455 h 10000"/>
                <a:gd name="connsiteX31" fmla="*/ 8388 w 9489"/>
                <a:gd name="connsiteY31" fmla="*/ 8873 h 10000"/>
                <a:gd name="connsiteX32" fmla="*/ 8602 w 9489"/>
                <a:gd name="connsiteY32" fmla="*/ 9327 h 10000"/>
                <a:gd name="connsiteX33" fmla="*/ 7580 w 9489"/>
                <a:gd name="connsiteY33" fmla="*/ 9182 h 10000"/>
                <a:gd name="connsiteX34" fmla="*/ 7070 w 9489"/>
                <a:gd name="connsiteY34" fmla="*/ 9327 h 10000"/>
                <a:gd name="connsiteX35" fmla="*/ 6559 w 9489"/>
                <a:gd name="connsiteY35" fmla="*/ 9327 h 10000"/>
                <a:gd name="connsiteX36" fmla="*/ 5941 w 9489"/>
                <a:gd name="connsiteY36" fmla="*/ 9455 h 10000"/>
                <a:gd name="connsiteX37" fmla="*/ 5323 w 9489"/>
                <a:gd name="connsiteY37" fmla="*/ 9545 h 10000"/>
                <a:gd name="connsiteX38" fmla="*/ 4382 w 9489"/>
                <a:gd name="connsiteY38" fmla="*/ 10000 h 10000"/>
                <a:gd name="connsiteX39" fmla="*/ 4409 w 9489"/>
                <a:gd name="connsiteY39" fmla="*/ 9109 h 10000"/>
                <a:gd name="connsiteX40" fmla="*/ 4220 w 9489"/>
                <a:gd name="connsiteY40" fmla="*/ 8873 h 10000"/>
                <a:gd name="connsiteX41" fmla="*/ 3575 w 9489"/>
                <a:gd name="connsiteY41" fmla="*/ 8782 h 10000"/>
                <a:gd name="connsiteX42" fmla="*/ 3361 w 9489"/>
                <a:gd name="connsiteY42" fmla="*/ 8400 h 10000"/>
                <a:gd name="connsiteX43" fmla="*/ 2956 w 9489"/>
                <a:gd name="connsiteY43" fmla="*/ 8382 h 10000"/>
                <a:gd name="connsiteX44" fmla="*/ 2768 w 9489"/>
                <a:gd name="connsiteY44" fmla="*/ 8473 h 10000"/>
                <a:gd name="connsiteX45" fmla="*/ 1936 w 9489"/>
                <a:gd name="connsiteY45" fmla="*/ 8382 h 10000"/>
                <a:gd name="connsiteX46" fmla="*/ 1613 w 9489"/>
                <a:gd name="connsiteY46" fmla="*/ 8564 h 10000"/>
                <a:gd name="connsiteX47" fmla="*/ 2151 w 9489"/>
                <a:gd name="connsiteY47" fmla="*/ 8173 h 10000"/>
                <a:gd name="connsiteX48" fmla="*/ 2800 w 9489"/>
                <a:gd name="connsiteY48" fmla="*/ 7969 h 10000"/>
                <a:gd name="connsiteX49" fmla="*/ 586 w 9489"/>
                <a:gd name="connsiteY49" fmla="*/ 7090 h 10000"/>
                <a:gd name="connsiteX50" fmla="*/ 357 w 9489"/>
                <a:gd name="connsiteY50" fmla="*/ 6861 h 10000"/>
                <a:gd name="connsiteX51" fmla="*/ 576 w 9489"/>
                <a:gd name="connsiteY51" fmla="*/ 6726 h 10000"/>
                <a:gd name="connsiteX52" fmla="*/ 986 w 9489"/>
                <a:gd name="connsiteY52" fmla="*/ 6877 h 10000"/>
                <a:gd name="connsiteX53" fmla="*/ 587 w 9489"/>
                <a:gd name="connsiteY53" fmla="*/ 6295 h 10000"/>
                <a:gd name="connsiteX54" fmla="*/ 0 w 9489"/>
                <a:gd name="connsiteY54" fmla="*/ 6309 h 10000"/>
                <a:gd name="connsiteX55" fmla="*/ 215 w 9489"/>
                <a:gd name="connsiteY55" fmla="*/ 5891 h 10000"/>
                <a:gd name="connsiteX56" fmla="*/ 807 w 9489"/>
                <a:gd name="connsiteY56" fmla="*/ 5618 h 10000"/>
                <a:gd name="connsiteX57" fmla="*/ 914 w 9489"/>
                <a:gd name="connsiteY57" fmla="*/ 5218 h 10000"/>
                <a:gd name="connsiteX58" fmla="*/ 833 w 9489"/>
                <a:gd name="connsiteY58" fmla="*/ 4800 h 10000"/>
                <a:gd name="connsiteX59" fmla="*/ 1209 w 9489"/>
                <a:gd name="connsiteY59" fmla="*/ 4582 h 10000"/>
                <a:gd name="connsiteX60" fmla="*/ 699 w 9489"/>
                <a:gd name="connsiteY60" fmla="*/ 3982 h 10000"/>
                <a:gd name="connsiteX61" fmla="*/ 1237 w 9489"/>
                <a:gd name="connsiteY61" fmla="*/ 3182 h 10000"/>
                <a:gd name="connsiteX62" fmla="*/ 645 w 9489"/>
                <a:gd name="connsiteY62" fmla="*/ 2636 h 10000"/>
                <a:gd name="connsiteX63" fmla="*/ 807 w 9489"/>
                <a:gd name="connsiteY63" fmla="*/ 2036 h 10000"/>
                <a:gd name="connsiteX64" fmla="*/ 215 w 9489"/>
                <a:gd name="connsiteY64" fmla="*/ 1491 h 10000"/>
                <a:gd name="connsiteX65" fmla="*/ 215 w 9489"/>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618 w 10000"/>
                <a:gd name="connsiteY49" fmla="*/ 7090 h 10000"/>
                <a:gd name="connsiteX50" fmla="*/ 1112 w 10000"/>
                <a:gd name="connsiteY50" fmla="*/ 6778 h 10000"/>
                <a:gd name="connsiteX51" fmla="*/ 607 w 10000"/>
                <a:gd name="connsiteY51" fmla="*/ 6726 h 10000"/>
                <a:gd name="connsiteX52" fmla="*/ 1039 w 10000"/>
                <a:gd name="connsiteY52" fmla="*/ 6877 h 10000"/>
                <a:gd name="connsiteX53" fmla="*/ 619 w 10000"/>
                <a:gd name="connsiteY53" fmla="*/ 6295 h 10000"/>
                <a:gd name="connsiteX54" fmla="*/ 0 w 10000"/>
                <a:gd name="connsiteY54" fmla="*/ 6309 h 10000"/>
                <a:gd name="connsiteX55" fmla="*/ 227 w 10000"/>
                <a:gd name="connsiteY55" fmla="*/ 5891 h 10000"/>
                <a:gd name="connsiteX56" fmla="*/ 850 w 10000"/>
                <a:gd name="connsiteY56" fmla="*/ 5618 h 10000"/>
                <a:gd name="connsiteX57" fmla="*/ 963 w 10000"/>
                <a:gd name="connsiteY57" fmla="*/ 5218 h 10000"/>
                <a:gd name="connsiteX58" fmla="*/ 878 w 10000"/>
                <a:gd name="connsiteY58" fmla="*/ 4800 h 10000"/>
                <a:gd name="connsiteX59" fmla="*/ 1274 w 10000"/>
                <a:gd name="connsiteY59" fmla="*/ 4582 h 10000"/>
                <a:gd name="connsiteX60" fmla="*/ 737 w 10000"/>
                <a:gd name="connsiteY60" fmla="*/ 3982 h 10000"/>
                <a:gd name="connsiteX61" fmla="*/ 1304 w 10000"/>
                <a:gd name="connsiteY61" fmla="*/ 3182 h 10000"/>
                <a:gd name="connsiteX62" fmla="*/ 680 w 10000"/>
                <a:gd name="connsiteY62" fmla="*/ 2636 h 10000"/>
                <a:gd name="connsiteX63" fmla="*/ 850 w 10000"/>
                <a:gd name="connsiteY63" fmla="*/ 2036 h 10000"/>
                <a:gd name="connsiteX64" fmla="*/ 227 w 10000"/>
                <a:gd name="connsiteY64" fmla="*/ 1491 h 10000"/>
                <a:gd name="connsiteX65" fmla="*/ 227 w 10000"/>
                <a:gd name="connsiteY65"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618 w 10000"/>
                <a:gd name="connsiteY50" fmla="*/ 709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951 w 10000"/>
                <a:gd name="connsiteY48" fmla="*/ 7969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 name="connsiteX0" fmla="*/ 227 w 10000"/>
                <a:gd name="connsiteY0" fmla="*/ 691 h 10000"/>
                <a:gd name="connsiteX1" fmla="*/ 2577 w 10000"/>
                <a:gd name="connsiteY1" fmla="*/ 73 h 10000"/>
                <a:gd name="connsiteX2" fmla="*/ 3654 w 10000"/>
                <a:gd name="connsiteY2" fmla="*/ 0 h 10000"/>
                <a:gd name="connsiteX3" fmla="*/ 4306 w 10000"/>
                <a:gd name="connsiteY3" fmla="*/ 18 h 10000"/>
                <a:gd name="connsiteX4" fmla="*/ 4533 w 10000"/>
                <a:gd name="connsiteY4" fmla="*/ 145 h 10000"/>
                <a:gd name="connsiteX5" fmla="*/ 4730 w 10000"/>
                <a:gd name="connsiteY5" fmla="*/ 309 h 10000"/>
                <a:gd name="connsiteX6" fmla="*/ 4759 w 10000"/>
                <a:gd name="connsiteY6" fmla="*/ 491 h 10000"/>
                <a:gd name="connsiteX7" fmla="*/ 4986 w 10000"/>
                <a:gd name="connsiteY7" fmla="*/ 545 h 10000"/>
                <a:gd name="connsiteX8" fmla="*/ 5269 w 10000"/>
                <a:gd name="connsiteY8" fmla="*/ 927 h 10000"/>
                <a:gd name="connsiteX9" fmla="*/ 5298 w 10000"/>
                <a:gd name="connsiteY9" fmla="*/ 1491 h 10000"/>
                <a:gd name="connsiteX10" fmla="*/ 5581 w 10000"/>
                <a:gd name="connsiteY10" fmla="*/ 1709 h 10000"/>
                <a:gd name="connsiteX11" fmla="*/ 6261 w 10000"/>
                <a:gd name="connsiteY11" fmla="*/ 1709 h 10000"/>
                <a:gd name="connsiteX12" fmla="*/ 6686 w 10000"/>
                <a:gd name="connsiteY12" fmla="*/ 2509 h 10000"/>
                <a:gd name="connsiteX13" fmla="*/ 6686 w 10000"/>
                <a:gd name="connsiteY13" fmla="*/ 3055 h 10000"/>
                <a:gd name="connsiteX14" fmla="*/ 6998 w 10000"/>
                <a:gd name="connsiteY14" fmla="*/ 3418 h 10000"/>
                <a:gd name="connsiteX15" fmla="*/ 7308 w 10000"/>
                <a:gd name="connsiteY15" fmla="*/ 3418 h 10000"/>
                <a:gd name="connsiteX16" fmla="*/ 7988 w 10000"/>
                <a:gd name="connsiteY16" fmla="*/ 3055 h 10000"/>
                <a:gd name="connsiteX17" fmla="*/ 8385 w 10000"/>
                <a:gd name="connsiteY17" fmla="*/ 3291 h 10000"/>
                <a:gd name="connsiteX18" fmla="*/ 8413 w 10000"/>
                <a:gd name="connsiteY18" fmla="*/ 3745 h 10000"/>
                <a:gd name="connsiteX19" fmla="*/ 9150 w 10000"/>
                <a:gd name="connsiteY19" fmla="*/ 4036 h 10000"/>
                <a:gd name="connsiteX20" fmla="*/ 9038 w 10000"/>
                <a:gd name="connsiteY20" fmla="*/ 4527 h 10000"/>
                <a:gd name="connsiteX21" fmla="*/ 9065 w 10000"/>
                <a:gd name="connsiteY21" fmla="*/ 4655 h 10000"/>
                <a:gd name="connsiteX22" fmla="*/ 9179 w 10000"/>
                <a:gd name="connsiteY22" fmla="*/ 4727 h 10000"/>
                <a:gd name="connsiteX23" fmla="*/ 8923 w 10000"/>
                <a:gd name="connsiteY23" fmla="*/ 4982 h 10000"/>
                <a:gd name="connsiteX24" fmla="*/ 8840 w 10000"/>
                <a:gd name="connsiteY24" fmla="*/ 5291 h 10000"/>
                <a:gd name="connsiteX25" fmla="*/ 9236 w 10000"/>
                <a:gd name="connsiteY25" fmla="*/ 5927 h 10000"/>
                <a:gd name="connsiteX26" fmla="*/ 9829 w 10000"/>
                <a:gd name="connsiteY26" fmla="*/ 6000 h 10000"/>
                <a:gd name="connsiteX27" fmla="*/ 10000 w 10000"/>
                <a:gd name="connsiteY27" fmla="*/ 6309 h 10000"/>
                <a:gd name="connsiteX28" fmla="*/ 9829 w 10000"/>
                <a:gd name="connsiteY28" fmla="*/ 6927 h 10000"/>
                <a:gd name="connsiteX29" fmla="*/ 8951 w 10000"/>
                <a:gd name="connsiteY29" fmla="*/ 7473 h 10000"/>
                <a:gd name="connsiteX30" fmla="*/ 9179 w 10000"/>
                <a:gd name="connsiteY30" fmla="*/ 8455 h 10000"/>
                <a:gd name="connsiteX31" fmla="*/ 8840 w 10000"/>
                <a:gd name="connsiteY31" fmla="*/ 8873 h 10000"/>
                <a:gd name="connsiteX32" fmla="*/ 9065 w 10000"/>
                <a:gd name="connsiteY32" fmla="*/ 9327 h 10000"/>
                <a:gd name="connsiteX33" fmla="*/ 7988 w 10000"/>
                <a:gd name="connsiteY33" fmla="*/ 9182 h 10000"/>
                <a:gd name="connsiteX34" fmla="*/ 7451 w 10000"/>
                <a:gd name="connsiteY34" fmla="*/ 9327 h 10000"/>
                <a:gd name="connsiteX35" fmla="*/ 6912 w 10000"/>
                <a:gd name="connsiteY35" fmla="*/ 9327 h 10000"/>
                <a:gd name="connsiteX36" fmla="*/ 6261 w 10000"/>
                <a:gd name="connsiteY36" fmla="*/ 9455 h 10000"/>
                <a:gd name="connsiteX37" fmla="*/ 5610 w 10000"/>
                <a:gd name="connsiteY37" fmla="*/ 9545 h 10000"/>
                <a:gd name="connsiteX38" fmla="*/ 4618 w 10000"/>
                <a:gd name="connsiteY38" fmla="*/ 10000 h 10000"/>
                <a:gd name="connsiteX39" fmla="*/ 4646 w 10000"/>
                <a:gd name="connsiteY39" fmla="*/ 9109 h 10000"/>
                <a:gd name="connsiteX40" fmla="*/ 4447 w 10000"/>
                <a:gd name="connsiteY40" fmla="*/ 8873 h 10000"/>
                <a:gd name="connsiteX41" fmla="*/ 3768 w 10000"/>
                <a:gd name="connsiteY41" fmla="*/ 8782 h 10000"/>
                <a:gd name="connsiteX42" fmla="*/ 3542 w 10000"/>
                <a:gd name="connsiteY42" fmla="*/ 8400 h 10000"/>
                <a:gd name="connsiteX43" fmla="*/ 3115 w 10000"/>
                <a:gd name="connsiteY43" fmla="*/ 8382 h 10000"/>
                <a:gd name="connsiteX44" fmla="*/ 2917 w 10000"/>
                <a:gd name="connsiteY44" fmla="*/ 8473 h 10000"/>
                <a:gd name="connsiteX45" fmla="*/ 2040 w 10000"/>
                <a:gd name="connsiteY45" fmla="*/ 8382 h 10000"/>
                <a:gd name="connsiteX46" fmla="*/ 1700 w 10000"/>
                <a:gd name="connsiteY46" fmla="*/ 8564 h 10000"/>
                <a:gd name="connsiteX47" fmla="*/ 2267 w 10000"/>
                <a:gd name="connsiteY47" fmla="*/ 8173 h 10000"/>
                <a:gd name="connsiteX48" fmla="*/ 2583 w 10000"/>
                <a:gd name="connsiteY48" fmla="*/ 8144 h 10000"/>
                <a:gd name="connsiteX49" fmla="*/ 1901 w 10000"/>
                <a:gd name="connsiteY49" fmla="*/ 7254 h 10000"/>
                <a:gd name="connsiteX50" fmla="*/ 1144 w 10000"/>
                <a:gd name="connsiteY50" fmla="*/ 6840 h 10000"/>
                <a:gd name="connsiteX51" fmla="*/ 1112 w 10000"/>
                <a:gd name="connsiteY51" fmla="*/ 6778 h 10000"/>
                <a:gd name="connsiteX52" fmla="*/ 607 w 10000"/>
                <a:gd name="connsiteY52" fmla="*/ 6726 h 10000"/>
                <a:gd name="connsiteX53" fmla="*/ 1039 w 10000"/>
                <a:gd name="connsiteY53" fmla="*/ 6877 h 10000"/>
                <a:gd name="connsiteX54" fmla="*/ 619 w 10000"/>
                <a:gd name="connsiteY54" fmla="*/ 6295 h 10000"/>
                <a:gd name="connsiteX55" fmla="*/ 0 w 10000"/>
                <a:gd name="connsiteY55" fmla="*/ 6309 h 10000"/>
                <a:gd name="connsiteX56" fmla="*/ 227 w 10000"/>
                <a:gd name="connsiteY56" fmla="*/ 5891 h 10000"/>
                <a:gd name="connsiteX57" fmla="*/ 850 w 10000"/>
                <a:gd name="connsiteY57" fmla="*/ 5618 h 10000"/>
                <a:gd name="connsiteX58" fmla="*/ 963 w 10000"/>
                <a:gd name="connsiteY58" fmla="*/ 5218 h 10000"/>
                <a:gd name="connsiteX59" fmla="*/ 878 w 10000"/>
                <a:gd name="connsiteY59" fmla="*/ 4800 h 10000"/>
                <a:gd name="connsiteX60" fmla="*/ 1274 w 10000"/>
                <a:gd name="connsiteY60" fmla="*/ 4582 h 10000"/>
                <a:gd name="connsiteX61" fmla="*/ 737 w 10000"/>
                <a:gd name="connsiteY61" fmla="*/ 3982 h 10000"/>
                <a:gd name="connsiteX62" fmla="*/ 1304 w 10000"/>
                <a:gd name="connsiteY62" fmla="*/ 3182 h 10000"/>
                <a:gd name="connsiteX63" fmla="*/ 680 w 10000"/>
                <a:gd name="connsiteY63" fmla="*/ 2636 h 10000"/>
                <a:gd name="connsiteX64" fmla="*/ 850 w 10000"/>
                <a:gd name="connsiteY64" fmla="*/ 2036 h 10000"/>
                <a:gd name="connsiteX65" fmla="*/ 227 w 10000"/>
                <a:gd name="connsiteY65" fmla="*/ 1491 h 10000"/>
                <a:gd name="connsiteX66" fmla="*/ 227 w 10000"/>
                <a:gd name="connsiteY66" fmla="*/ 69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0000" h="10000">
                  <a:moveTo>
                    <a:pt x="227" y="691"/>
                  </a:moveTo>
                  <a:lnTo>
                    <a:pt x="2577" y="73"/>
                  </a:lnTo>
                  <a:lnTo>
                    <a:pt x="3654" y="0"/>
                  </a:lnTo>
                  <a:lnTo>
                    <a:pt x="4306" y="18"/>
                  </a:lnTo>
                  <a:lnTo>
                    <a:pt x="4533" y="145"/>
                  </a:lnTo>
                  <a:cubicBezTo>
                    <a:pt x="4598" y="200"/>
                    <a:pt x="4664" y="254"/>
                    <a:pt x="4730" y="309"/>
                  </a:cubicBezTo>
                  <a:cubicBezTo>
                    <a:pt x="4740" y="370"/>
                    <a:pt x="4749" y="430"/>
                    <a:pt x="4759" y="491"/>
                  </a:cubicBezTo>
                  <a:lnTo>
                    <a:pt x="4986" y="545"/>
                  </a:lnTo>
                  <a:lnTo>
                    <a:pt x="5269" y="927"/>
                  </a:lnTo>
                  <a:cubicBezTo>
                    <a:pt x="5279" y="1115"/>
                    <a:pt x="5288" y="1303"/>
                    <a:pt x="5298" y="1491"/>
                  </a:cubicBezTo>
                  <a:lnTo>
                    <a:pt x="5581" y="1709"/>
                  </a:lnTo>
                  <a:lnTo>
                    <a:pt x="6261" y="1709"/>
                  </a:lnTo>
                  <a:lnTo>
                    <a:pt x="6686" y="2509"/>
                  </a:lnTo>
                  <a:lnTo>
                    <a:pt x="6686" y="3055"/>
                  </a:lnTo>
                  <a:lnTo>
                    <a:pt x="6998" y="3418"/>
                  </a:lnTo>
                  <a:lnTo>
                    <a:pt x="7308" y="3418"/>
                  </a:lnTo>
                  <a:lnTo>
                    <a:pt x="7988" y="3055"/>
                  </a:lnTo>
                  <a:lnTo>
                    <a:pt x="8385" y="3291"/>
                  </a:lnTo>
                  <a:cubicBezTo>
                    <a:pt x="8394" y="3442"/>
                    <a:pt x="8404" y="3594"/>
                    <a:pt x="8413" y="3745"/>
                  </a:cubicBezTo>
                  <a:lnTo>
                    <a:pt x="9150" y="4036"/>
                  </a:lnTo>
                  <a:cubicBezTo>
                    <a:pt x="9112" y="4200"/>
                    <a:pt x="9075" y="4363"/>
                    <a:pt x="9038" y="4527"/>
                  </a:cubicBezTo>
                  <a:cubicBezTo>
                    <a:pt x="9046" y="4570"/>
                    <a:pt x="9057" y="4612"/>
                    <a:pt x="9065" y="4655"/>
                  </a:cubicBezTo>
                  <a:lnTo>
                    <a:pt x="9179" y="4727"/>
                  </a:lnTo>
                  <a:lnTo>
                    <a:pt x="8923" y="4982"/>
                  </a:lnTo>
                  <a:cubicBezTo>
                    <a:pt x="8896" y="5085"/>
                    <a:pt x="8867" y="5188"/>
                    <a:pt x="8840" y="5291"/>
                  </a:cubicBezTo>
                  <a:lnTo>
                    <a:pt x="9236" y="5927"/>
                  </a:lnTo>
                  <a:lnTo>
                    <a:pt x="9829" y="6000"/>
                  </a:lnTo>
                  <a:lnTo>
                    <a:pt x="10000" y="6309"/>
                  </a:lnTo>
                  <a:lnTo>
                    <a:pt x="9829" y="6927"/>
                  </a:lnTo>
                  <a:lnTo>
                    <a:pt x="8951" y="7473"/>
                  </a:lnTo>
                  <a:lnTo>
                    <a:pt x="9179" y="8455"/>
                  </a:lnTo>
                  <a:lnTo>
                    <a:pt x="8840" y="8873"/>
                  </a:lnTo>
                  <a:lnTo>
                    <a:pt x="9065" y="9327"/>
                  </a:lnTo>
                  <a:lnTo>
                    <a:pt x="7988" y="9182"/>
                  </a:lnTo>
                  <a:lnTo>
                    <a:pt x="7451" y="9327"/>
                  </a:lnTo>
                  <a:lnTo>
                    <a:pt x="6912" y="9327"/>
                  </a:lnTo>
                  <a:lnTo>
                    <a:pt x="6261" y="9455"/>
                  </a:lnTo>
                  <a:lnTo>
                    <a:pt x="5610" y="9545"/>
                  </a:lnTo>
                  <a:lnTo>
                    <a:pt x="4618" y="10000"/>
                  </a:lnTo>
                  <a:cubicBezTo>
                    <a:pt x="4627" y="9703"/>
                    <a:pt x="4637" y="9406"/>
                    <a:pt x="4646" y="9109"/>
                  </a:cubicBezTo>
                  <a:cubicBezTo>
                    <a:pt x="4581" y="9030"/>
                    <a:pt x="4515" y="8952"/>
                    <a:pt x="4447" y="8873"/>
                  </a:cubicBezTo>
                  <a:lnTo>
                    <a:pt x="3768" y="8782"/>
                  </a:lnTo>
                  <a:lnTo>
                    <a:pt x="3542" y="8400"/>
                  </a:lnTo>
                  <a:lnTo>
                    <a:pt x="3115" y="8382"/>
                  </a:lnTo>
                  <a:lnTo>
                    <a:pt x="2917" y="8473"/>
                  </a:lnTo>
                  <a:lnTo>
                    <a:pt x="2040" y="8382"/>
                  </a:lnTo>
                  <a:lnTo>
                    <a:pt x="1700" y="8564"/>
                  </a:lnTo>
                  <a:cubicBezTo>
                    <a:pt x="1644" y="8794"/>
                    <a:pt x="2324" y="7943"/>
                    <a:pt x="2267" y="8173"/>
                  </a:cubicBezTo>
                  <a:lnTo>
                    <a:pt x="2583" y="8144"/>
                  </a:lnTo>
                  <a:cubicBezTo>
                    <a:pt x="2364" y="8005"/>
                    <a:pt x="2290" y="7400"/>
                    <a:pt x="1901" y="7254"/>
                  </a:cubicBezTo>
                  <a:cubicBezTo>
                    <a:pt x="1512" y="7108"/>
                    <a:pt x="1118" y="6933"/>
                    <a:pt x="1144" y="6840"/>
                  </a:cubicBezTo>
                  <a:cubicBezTo>
                    <a:pt x="1133" y="6819"/>
                    <a:pt x="1123" y="6799"/>
                    <a:pt x="1112" y="6778"/>
                  </a:cubicBezTo>
                  <a:lnTo>
                    <a:pt x="607" y="6726"/>
                  </a:lnTo>
                  <a:lnTo>
                    <a:pt x="1039" y="6877"/>
                  </a:lnTo>
                  <a:lnTo>
                    <a:pt x="619" y="6295"/>
                  </a:lnTo>
                  <a:lnTo>
                    <a:pt x="0" y="6309"/>
                  </a:lnTo>
                  <a:cubicBezTo>
                    <a:pt x="76" y="6170"/>
                    <a:pt x="152" y="6030"/>
                    <a:pt x="227" y="5891"/>
                  </a:cubicBezTo>
                  <a:lnTo>
                    <a:pt x="850" y="5618"/>
                  </a:lnTo>
                  <a:cubicBezTo>
                    <a:pt x="888" y="5485"/>
                    <a:pt x="925" y="5351"/>
                    <a:pt x="963" y="5218"/>
                  </a:cubicBezTo>
                  <a:cubicBezTo>
                    <a:pt x="936" y="5079"/>
                    <a:pt x="905" y="4939"/>
                    <a:pt x="878" y="4800"/>
                  </a:cubicBezTo>
                  <a:lnTo>
                    <a:pt x="1274" y="4582"/>
                  </a:lnTo>
                  <a:lnTo>
                    <a:pt x="737" y="3982"/>
                  </a:lnTo>
                  <a:lnTo>
                    <a:pt x="1304" y="3182"/>
                  </a:lnTo>
                  <a:lnTo>
                    <a:pt x="680" y="2636"/>
                  </a:lnTo>
                  <a:cubicBezTo>
                    <a:pt x="737" y="2436"/>
                    <a:pt x="793" y="2236"/>
                    <a:pt x="850" y="2036"/>
                  </a:cubicBezTo>
                  <a:lnTo>
                    <a:pt x="227" y="1491"/>
                  </a:lnTo>
                  <a:lnTo>
                    <a:pt x="227" y="691"/>
                  </a:lnTo>
                  <a:close/>
                </a:path>
              </a:pathLst>
            </a:custGeom>
            <a:solidFill>
              <a:schemeClr val="tx1">
                <a:lumMod val="65000"/>
                <a:lumOff val="35000"/>
              </a:schemeClr>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39" name="AL"/>
            <p:cNvSpPr>
              <a:spLocks noChangeAspect="1"/>
            </p:cNvSpPr>
            <p:nvPr/>
          </p:nvSpPr>
          <p:spPr bwMode="auto">
            <a:xfrm>
              <a:off x="4886773" y="4975992"/>
              <a:ext cx="133416" cy="198905"/>
            </a:xfrm>
            <a:custGeom>
              <a:avLst/>
              <a:gdLst>
                <a:gd name="T0" fmla="*/ 14 w 188"/>
                <a:gd name="T1" fmla="*/ 80 h 353"/>
                <a:gd name="T2" fmla="*/ 26 w 188"/>
                <a:gd name="T3" fmla="*/ 90 h 353"/>
                <a:gd name="T4" fmla="*/ 26 w 188"/>
                <a:gd name="T5" fmla="*/ 106 h 353"/>
                <a:gd name="T6" fmla="*/ 24 w 188"/>
                <a:gd name="T7" fmla="*/ 116 h 353"/>
                <a:gd name="T8" fmla="*/ 17 w 188"/>
                <a:gd name="T9" fmla="*/ 130 h 353"/>
                <a:gd name="T10" fmla="*/ 17 w 188"/>
                <a:gd name="T11" fmla="*/ 164 h 353"/>
                <a:gd name="T12" fmla="*/ 22 w 188"/>
                <a:gd name="T13" fmla="*/ 177 h 353"/>
                <a:gd name="T14" fmla="*/ 5 w 188"/>
                <a:gd name="T15" fmla="*/ 205 h 353"/>
                <a:gd name="T16" fmla="*/ 9 w 188"/>
                <a:gd name="T17" fmla="*/ 211 h 353"/>
                <a:gd name="T18" fmla="*/ 0 w 188"/>
                <a:gd name="T19" fmla="*/ 226 h 353"/>
                <a:gd name="T20" fmla="*/ 8 w 188"/>
                <a:gd name="T21" fmla="*/ 242 h 353"/>
                <a:gd name="T22" fmla="*/ 9 w 188"/>
                <a:gd name="T23" fmla="*/ 253 h 353"/>
                <a:gd name="T24" fmla="*/ 14 w 188"/>
                <a:gd name="T25" fmla="*/ 239 h 353"/>
                <a:gd name="T26" fmla="*/ 28 w 188"/>
                <a:gd name="T27" fmla="*/ 258 h 353"/>
                <a:gd name="T28" fmla="*/ 26 w 188"/>
                <a:gd name="T29" fmla="*/ 276 h 353"/>
                <a:gd name="T30" fmla="*/ 19 w 188"/>
                <a:gd name="T31" fmla="*/ 285 h 353"/>
                <a:gd name="T32" fmla="*/ 28 w 188"/>
                <a:gd name="T33" fmla="*/ 300 h 353"/>
                <a:gd name="T34" fmla="*/ 40 w 188"/>
                <a:gd name="T35" fmla="*/ 306 h 353"/>
                <a:gd name="T36" fmla="*/ 59 w 188"/>
                <a:gd name="T37" fmla="*/ 319 h 353"/>
                <a:gd name="T38" fmla="*/ 75 w 188"/>
                <a:gd name="T39" fmla="*/ 335 h 353"/>
                <a:gd name="T40" fmla="*/ 78 w 188"/>
                <a:gd name="T41" fmla="*/ 345 h 353"/>
                <a:gd name="T42" fmla="*/ 97 w 188"/>
                <a:gd name="T43" fmla="*/ 353 h 353"/>
                <a:gd name="T44" fmla="*/ 113 w 188"/>
                <a:gd name="T45" fmla="*/ 345 h 353"/>
                <a:gd name="T46" fmla="*/ 133 w 188"/>
                <a:gd name="T47" fmla="*/ 332 h 353"/>
                <a:gd name="T48" fmla="*/ 143 w 188"/>
                <a:gd name="T49" fmla="*/ 309 h 353"/>
                <a:gd name="T50" fmla="*/ 152 w 188"/>
                <a:gd name="T51" fmla="*/ 295 h 353"/>
                <a:gd name="T52" fmla="*/ 169 w 188"/>
                <a:gd name="T53" fmla="*/ 261 h 353"/>
                <a:gd name="T54" fmla="*/ 174 w 188"/>
                <a:gd name="T55" fmla="*/ 235 h 353"/>
                <a:gd name="T56" fmla="*/ 176 w 188"/>
                <a:gd name="T57" fmla="*/ 211 h 353"/>
                <a:gd name="T58" fmla="*/ 188 w 188"/>
                <a:gd name="T59" fmla="*/ 195 h 353"/>
                <a:gd name="T60" fmla="*/ 169 w 188"/>
                <a:gd name="T61" fmla="*/ 189 h 353"/>
                <a:gd name="T62" fmla="*/ 162 w 188"/>
                <a:gd name="T63" fmla="*/ 180 h 353"/>
                <a:gd name="T64" fmla="*/ 152 w 188"/>
                <a:gd name="T65" fmla="*/ 182 h 353"/>
                <a:gd name="T66" fmla="*/ 136 w 188"/>
                <a:gd name="T67" fmla="*/ 174 h 353"/>
                <a:gd name="T68" fmla="*/ 132 w 188"/>
                <a:gd name="T69" fmla="*/ 150 h 353"/>
                <a:gd name="T70" fmla="*/ 127 w 188"/>
                <a:gd name="T71" fmla="*/ 133 h 353"/>
                <a:gd name="T72" fmla="*/ 136 w 188"/>
                <a:gd name="T73" fmla="*/ 114 h 353"/>
                <a:gd name="T74" fmla="*/ 136 w 188"/>
                <a:gd name="T75" fmla="*/ 59 h 353"/>
                <a:gd name="T76" fmla="*/ 136 w 188"/>
                <a:gd name="T77" fmla="*/ 40 h 353"/>
                <a:gd name="T78" fmla="*/ 127 w 188"/>
                <a:gd name="T79" fmla="*/ 29 h 353"/>
                <a:gd name="T80" fmla="*/ 110 w 188"/>
                <a:gd name="T81" fmla="*/ 27 h 353"/>
                <a:gd name="T82" fmla="*/ 99 w 188"/>
                <a:gd name="T83" fmla="*/ 22 h 353"/>
                <a:gd name="T84" fmla="*/ 89 w 188"/>
                <a:gd name="T85" fmla="*/ 3 h 353"/>
                <a:gd name="T86" fmla="*/ 78 w 188"/>
                <a:gd name="T87" fmla="*/ 0 h 353"/>
                <a:gd name="T88" fmla="*/ 72 w 188"/>
                <a:gd name="T89" fmla="*/ 9 h 353"/>
                <a:gd name="T90" fmla="*/ 71 w 188"/>
                <a:gd name="T91" fmla="*/ 3 h 353"/>
                <a:gd name="T92" fmla="*/ 52 w 188"/>
                <a:gd name="T93" fmla="*/ 6 h 353"/>
                <a:gd name="T94" fmla="*/ 42 w 188"/>
                <a:gd name="T95" fmla="*/ 0 h 353"/>
                <a:gd name="T96" fmla="*/ 28 w 188"/>
                <a:gd name="T97" fmla="*/ 10 h 353"/>
                <a:gd name="T98" fmla="*/ 26 w 188"/>
                <a:gd name="T99" fmla="*/ 43 h 353"/>
                <a:gd name="T100" fmla="*/ 22 w 188"/>
                <a:gd name="T101" fmla="*/ 63 h 353"/>
                <a:gd name="T102" fmla="*/ 14 w 188"/>
                <a:gd name="T103" fmla="*/ 8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8" h="353">
                  <a:moveTo>
                    <a:pt x="14" y="80"/>
                  </a:moveTo>
                  <a:lnTo>
                    <a:pt x="26" y="90"/>
                  </a:lnTo>
                  <a:lnTo>
                    <a:pt x="26" y="106"/>
                  </a:lnTo>
                  <a:lnTo>
                    <a:pt x="24" y="116"/>
                  </a:lnTo>
                  <a:lnTo>
                    <a:pt x="17" y="130"/>
                  </a:lnTo>
                  <a:lnTo>
                    <a:pt x="17" y="164"/>
                  </a:lnTo>
                  <a:lnTo>
                    <a:pt x="22" y="177"/>
                  </a:lnTo>
                  <a:lnTo>
                    <a:pt x="5" y="205"/>
                  </a:lnTo>
                  <a:lnTo>
                    <a:pt x="9" y="211"/>
                  </a:lnTo>
                  <a:lnTo>
                    <a:pt x="0" y="226"/>
                  </a:lnTo>
                  <a:lnTo>
                    <a:pt x="8" y="242"/>
                  </a:lnTo>
                  <a:lnTo>
                    <a:pt x="9" y="253"/>
                  </a:lnTo>
                  <a:lnTo>
                    <a:pt x="14" y="239"/>
                  </a:lnTo>
                  <a:lnTo>
                    <a:pt x="28" y="258"/>
                  </a:lnTo>
                  <a:lnTo>
                    <a:pt x="26" y="276"/>
                  </a:lnTo>
                  <a:lnTo>
                    <a:pt x="19" y="285"/>
                  </a:lnTo>
                  <a:lnTo>
                    <a:pt x="28" y="300"/>
                  </a:lnTo>
                  <a:lnTo>
                    <a:pt x="40" y="306"/>
                  </a:lnTo>
                  <a:lnTo>
                    <a:pt x="59" y="319"/>
                  </a:lnTo>
                  <a:lnTo>
                    <a:pt x="75" y="335"/>
                  </a:lnTo>
                  <a:lnTo>
                    <a:pt x="78" y="345"/>
                  </a:lnTo>
                  <a:lnTo>
                    <a:pt x="97" y="353"/>
                  </a:lnTo>
                  <a:lnTo>
                    <a:pt x="113" y="345"/>
                  </a:lnTo>
                  <a:lnTo>
                    <a:pt x="133" y="332"/>
                  </a:lnTo>
                  <a:lnTo>
                    <a:pt x="143" y="309"/>
                  </a:lnTo>
                  <a:lnTo>
                    <a:pt x="152" y="295"/>
                  </a:lnTo>
                  <a:lnTo>
                    <a:pt x="169" y="261"/>
                  </a:lnTo>
                  <a:lnTo>
                    <a:pt x="174" y="235"/>
                  </a:lnTo>
                  <a:lnTo>
                    <a:pt x="176" y="211"/>
                  </a:lnTo>
                  <a:lnTo>
                    <a:pt x="188" y="195"/>
                  </a:lnTo>
                  <a:lnTo>
                    <a:pt x="169" y="189"/>
                  </a:lnTo>
                  <a:lnTo>
                    <a:pt x="162" y="180"/>
                  </a:lnTo>
                  <a:lnTo>
                    <a:pt x="152" y="182"/>
                  </a:lnTo>
                  <a:lnTo>
                    <a:pt x="136" y="174"/>
                  </a:lnTo>
                  <a:lnTo>
                    <a:pt x="132" y="150"/>
                  </a:lnTo>
                  <a:lnTo>
                    <a:pt x="127" y="133"/>
                  </a:lnTo>
                  <a:lnTo>
                    <a:pt x="136" y="114"/>
                  </a:lnTo>
                  <a:lnTo>
                    <a:pt x="136" y="59"/>
                  </a:lnTo>
                  <a:lnTo>
                    <a:pt x="136" y="40"/>
                  </a:lnTo>
                  <a:lnTo>
                    <a:pt x="127" y="29"/>
                  </a:lnTo>
                  <a:lnTo>
                    <a:pt x="110" y="27"/>
                  </a:lnTo>
                  <a:lnTo>
                    <a:pt x="99" y="22"/>
                  </a:lnTo>
                  <a:lnTo>
                    <a:pt x="89" y="3"/>
                  </a:lnTo>
                  <a:lnTo>
                    <a:pt x="78" y="0"/>
                  </a:lnTo>
                  <a:lnTo>
                    <a:pt x="72" y="9"/>
                  </a:lnTo>
                  <a:lnTo>
                    <a:pt x="71" y="3"/>
                  </a:lnTo>
                  <a:lnTo>
                    <a:pt x="52" y="6"/>
                  </a:lnTo>
                  <a:lnTo>
                    <a:pt x="42" y="0"/>
                  </a:lnTo>
                  <a:lnTo>
                    <a:pt x="28" y="10"/>
                  </a:lnTo>
                  <a:lnTo>
                    <a:pt x="26" y="43"/>
                  </a:lnTo>
                  <a:lnTo>
                    <a:pt x="22" y="63"/>
                  </a:lnTo>
                  <a:lnTo>
                    <a:pt x="14" y="80"/>
                  </a:lnTo>
                  <a:close/>
                </a:path>
              </a:pathLst>
            </a:custGeom>
            <a:solidFill>
              <a:srgbClr val="FFFFFF">
                <a:lumMod val="75000"/>
              </a:srgbClr>
            </a:solid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40" name="BA"/>
            <p:cNvSpPr>
              <a:spLocks noChangeAspect="1"/>
            </p:cNvSpPr>
            <p:nvPr/>
          </p:nvSpPr>
          <p:spPr bwMode="auto">
            <a:xfrm>
              <a:off x="4684348" y="4771814"/>
              <a:ext cx="214693" cy="175548"/>
            </a:xfrm>
            <a:custGeom>
              <a:avLst/>
              <a:gdLst>
                <a:gd name="T0" fmla="*/ 277 w 300"/>
                <a:gd name="T1" fmla="*/ 44 h 313"/>
                <a:gd name="T2" fmla="*/ 262 w 300"/>
                <a:gd name="T3" fmla="*/ 44 h 313"/>
                <a:gd name="T4" fmla="*/ 245 w 300"/>
                <a:gd name="T5" fmla="*/ 31 h 313"/>
                <a:gd name="T6" fmla="*/ 224 w 300"/>
                <a:gd name="T7" fmla="*/ 18 h 313"/>
                <a:gd name="T8" fmla="*/ 197 w 300"/>
                <a:gd name="T9" fmla="*/ 34 h 313"/>
                <a:gd name="T10" fmla="*/ 173 w 300"/>
                <a:gd name="T11" fmla="*/ 27 h 313"/>
                <a:gd name="T12" fmla="*/ 152 w 300"/>
                <a:gd name="T13" fmla="*/ 38 h 313"/>
                <a:gd name="T14" fmla="*/ 150 w 300"/>
                <a:gd name="T15" fmla="*/ 27 h 313"/>
                <a:gd name="T16" fmla="*/ 131 w 300"/>
                <a:gd name="T17" fmla="*/ 26 h 313"/>
                <a:gd name="T18" fmla="*/ 109 w 300"/>
                <a:gd name="T19" fmla="*/ 0 h 313"/>
                <a:gd name="T20" fmla="*/ 74 w 300"/>
                <a:gd name="T21" fmla="*/ 43 h 313"/>
                <a:gd name="T22" fmla="*/ 21 w 300"/>
                <a:gd name="T23" fmla="*/ 23 h 313"/>
                <a:gd name="T24" fmla="*/ 0 w 300"/>
                <a:gd name="T25" fmla="*/ 30 h 313"/>
                <a:gd name="T26" fmla="*/ 0 w 300"/>
                <a:gd name="T27" fmla="*/ 44 h 313"/>
                <a:gd name="T28" fmla="*/ 57 w 300"/>
                <a:gd name="T29" fmla="*/ 111 h 313"/>
                <a:gd name="T30" fmla="*/ 71 w 300"/>
                <a:gd name="T31" fmla="*/ 155 h 313"/>
                <a:gd name="T32" fmla="*/ 101 w 300"/>
                <a:gd name="T33" fmla="*/ 181 h 313"/>
                <a:gd name="T34" fmla="*/ 114 w 300"/>
                <a:gd name="T35" fmla="*/ 176 h 313"/>
                <a:gd name="T36" fmla="*/ 188 w 300"/>
                <a:gd name="T37" fmla="*/ 266 h 313"/>
                <a:gd name="T38" fmla="*/ 193 w 300"/>
                <a:gd name="T39" fmla="*/ 286 h 313"/>
                <a:gd name="T40" fmla="*/ 188 w 300"/>
                <a:gd name="T41" fmla="*/ 299 h 313"/>
                <a:gd name="T42" fmla="*/ 193 w 300"/>
                <a:gd name="T43" fmla="*/ 313 h 313"/>
                <a:gd name="T44" fmla="*/ 215 w 300"/>
                <a:gd name="T45" fmla="*/ 300 h 313"/>
                <a:gd name="T46" fmla="*/ 231 w 300"/>
                <a:gd name="T47" fmla="*/ 294 h 313"/>
                <a:gd name="T48" fmla="*/ 231 w 300"/>
                <a:gd name="T49" fmla="*/ 265 h 313"/>
                <a:gd name="T50" fmla="*/ 253 w 300"/>
                <a:gd name="T51" fmla="*/ 245 h 313"/>
                <a:gd name="T52" fmla="*/ 262 w 300"/>
                <a:gd name="T53" fmla="*/ 223 h 313"/>
                <a:gd name="T54" fmla="*/ 285 w 300"/>
                <a:gd name="T55" fmla="*/ 213 h 313"/>
                <a:gd name="T56" fmla="*/ 288 w 300"/>
                <a:gd name="T57" fmla="*/ 188 h 313"/>
                <a:gd name="T58" fmla="*/ 285 w 300"/>
                <a:gd name="T59" fmla="*/ 164 h 313"/>
                <a:gd name="T60" fmla="*/ 296 w 300"/>
                <a:gd name="T61" fmla="*/ 154 h 313"/>
                <a:gd name="T62" fmla="*/ 276 w 300"/>
                <a:gd name="T63" fmla="*/ 121 h 313"/>
                <a:gd name="T64" fmla="*/ 300 w 300"/>
                <a:gd name="T65" fmla="*/ 74 h 313"/>
                <a:gd name="T66" fmla="*/ 277 w 300"/>
                <a:gd name="T6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313">
                  <a:moveTo>
                    <a:pt x="277" y="44"/>
                  </a:moveTo>
                  <a:lnTo>
                    <a:pt x="262" y="44"/>
                  </a:lnTo>
                  <a:lnTo>
                    <a:pt x="245" y="31"/>
                  </a:lnTo>
                  <a:lnTo>
                    <a:pt x="224" y="18"/>
                  </a:lnTo>
                  <a:lnTo>
                    <a:pt x="197" y="34"/>
                  </a:lnTo>
                  <a:lnTo>
                    <a:pt x="173" y="27"/>
                  </a:lnTo>
                  <a:lnTo>
                    <a:pt x="152" y="38"/>
                  </a:lnTo>
                  <a:lnTo>
                    <a:pt x="150" y="27"/>
                  </a:lnTo>
                  <a:lnTo>
                    <a:pt x="131" y="26"/>
                  </a:lnTo>
                  <a:lnTo>
                    <a:pt x="109" y="0"/>
                  </a:lnTo>
                  <a:lnTo>
                    <a:pt x="74" y="43"/>
                  </a:lnTo>
                  <a:lnTo>
                    <a:pt x="21" y="23"/>
                  </a:lnTo>
                  <a:lnTo>
                    <a:pt x="0" y="30"/>
                  </a:lnTo>
                  <a:lnTo>
                    <a:pt x="0" y="44"/>
                  </a:lnTo>
                  <a:lnTo>
                    <a:pt x="57" y="111"/>
                  </a:lnTo>
                  <a:lnTo>
                    <a:pt x="71" y="155"/>
                  </a:lnTo>
                  <a:lnTo>
                    <a:pt x="101" y="181"/>
                  </a:lnTo>
                  <a:lnTo>
                    <a:pt x="114" y="176"/>
                  </a:lnTo>
                  <a:lnTo>
                    <a:pt x="188" y="266"/>
                  </a:lnTo>
                  <a:lnTo>
                    <a:pt x="193" y="286"/>
                  </a:lnTo>
                  <a:lnTo>
                    <a:pt x="188" y="299"/>
                  </a:lnTo>
                  <a:lnTo>
                    <a:pt x="193" y="313"/>
                  </a:lnTo>
                  <a:lnTo>
                    <a:pt x="215" y="300"/>
                  </a:lnTo>
                  <a:lnTo>
                    <a:pt x="231" y="294"/>
                  </a:lnTo>
                  <a:lnTo>
                    <a:pt x="231" y="265"/>
                  </a:lnTo>
                  <a:lnTo>
                    <a:pt x="253" y="245"/>
                  </a:lnTo>
                  <a:lnTo>
                    <a:pt x="262" y="223"/>
                  </a:lnTo>
                  <a:lnTo>
                    <a:pt x="285" y="213"/>
                  </a:lnTo>
                  <a:lnTo>
                    <a:pt x="288" y="188"/>
                  </a:lnTo>
                  <a:lnTo>
                    <a:pt x="285" y="164"/>
                  </a:lnTo>
                  <a:lnTo>
                    <a:pt x="296" y="154"/>
                  </a:lnTo>
                  <a:lnTo>
                    <a:pt x="276" y="121"/>
                  </a:lnTo>
                  <a:lnTo>
                    <a:pt x="300" y="74"/>
                  </a:lnTo>
                  <a:lnTo>
                    <a:pt x="277" y="44"/>
                  </a:lnTo>
                  <a:close/>
                </a:path>
              </a:pathLst>
            </a:custGeom>
            <a:solidFill>
              <a:srgbClr val="FFFFFF">
                <a:lumMod val="75000"/>
              </a:srgbClr>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nvGrpSpPr>
            <p:cNvPr id="141" name="IE"/>
            <p:cNvGrpSpPr/>
            <p:nvPr/>
          </p:nvGrpSpPr>
          <p:grpSpPr>
            <a:xfrm>
              <a:off x="3465195" y="3853386"/>
              <a:ext cx="301218" cy="222261"/>
              <a:chOff x="754064" y="3078845"/>
              <a:chExt cx="623640" cy="468313"/>
            </a:xfrm>
            <a:solidFill>
              <a:srgbClr val="BFBFBF"/>
            </a:solidFill>
            <a:effectLst/>
          </p:grpSpPr>
          <p:sp>
            <p:nvSpPr>
              <p:cNvPr id="229" name="Freeform 228"/>
              <p:cNvSpPr>
                <a:spLocks noChangeAspect="1"/>
              </p:cNvSpPr>
              <p:nvPr/>
            </p:nvSpPr>
            <p:spPr bwMode="auto">
              <a:xfrm>
                <a:off x="754064" y="3078845"/>
                <a:ext cx="566737" cy="468313"/>
              </a:xfrm>
              <a:custGeom>
                <a:avLst/>
                <a:gdLst>
                  <a:gd name="T0" fmla="*/ 137 w 384"/>
                  <a:gd name="T1" fmla="*/ 163 h 392"/>
                  <a:gd name="T2" fmla="*/ 135 w 384"/>
                  <a:gd name="T3" fmla="*/ 198 h 392"/>
                  <a:gd name="T4" fmla="*/ 109 w 384"/>
                  <a:gd name="T5" fmla="*/ 192 h 392"/>
                  <a:gd name="T6" fmla="*/ 80 w 384"/>
                  <a:gd name="T7" fmla="*/ 237 h 392"/>
                  <a:gd name="T8" fmla="*/ 42 w 384"/>
                  <a:gd name="T9" fmla="*/ 272 h 392"/>
                  <a:gd name="T10" fmla="*/ 17 w 384"/>
                  <a:gd name="T11" fmla="*/ 277 h 392"/>
                  <a:gd name="T12" fmla="*/ 8 w 384"/>
                  <a:gd name="T13" fmla="*/ 286 h 392"/>
                  <a:gd name="T14" fmla="*/ 14 w 384"/>
                  <a:gd name="T15" fmla="*/ 313 h 392"/>
                  <a:gd name="T16" fmla="*/ 6 w 384"/>
                  <a:gd name="T17" fmla="*/ 347 h 392"/>
                  <a:gd name="T18" fmla="*/ 22 w 384"/>
                  <a:gd name="T19" fmla="*/ 347 h 392"/>
                  <a:gd name="T20" fmla="*/ 38 w 384"/>
                  <a:gd name="T21" fmla="*/ 346 h 392"/>
                  <a:gd name="T22" fmla="*/ 31 w 384"/>
                  <a:gd name="T23" fmla="*/ 371 h 392"/>
                  <a:gd name="T24" fmla="*/ 69 w 384"/>
                  <a:gd name="T25" fmla="*/ 380 h 392"/>
                  <a:gd name="T26" fmla="*/ 102 w 384"/>
                  <a:gd name="T27" fmla="*/ 392 h 392"/>
                  <a:gd name="T28" fmla="*/ 137 w 384"/>
                  <a:gd name="T29" fmla="*/ 371 h 392"/>
                  <a:gd name="T30" fmla="*/ 236 w 384"/>
                  <a:gd name="T31" fmla="*/ 380 h 392"/>
                  <a:gd name="T32" fmla="*/ 288 w 384"/>
                  <a:gd name="T33" fmla="*/ 343 h 392"/>
                  <a:gd name="T34" fmla="*/ 316 w 384"/>
                  <a:gd name="T35" fmla="*/ 313 h 392"/>
                  <a:gd name="T36" fmla="*/ 340 w 384"/>
                  <a:gd name="T37" fmla="*/ 277 h 392"/>
                  <a:gd name="T38" fmla="*/ 351 w 384"/>
                  <a:gd name="T39" fmla="*/ 192 h 392"/>
                  <a:gd name="T40" fmla="*/ 365 w 384"/>
                  <a:gd name="T41" fmla="*/ 152 h 392"/>
                  <a:gd name="T42" fmla="*/ 346 w 384"/>
                  <a:gd name="T43" fmla="*/ 108 h 392"/>
                  <a:gd name="T44" fmla="*/ 318 w 384"/>
                  <a:gd name="T45" fmla="*/ 99 h 392"/>
                  <a:gd name="T46" fmla="*/ 304 w 384"/>
                  <a:gd name="T47" fmla="*/ 58 h 392"/>
                  <a:gd name="T48" fmla="*/ 344 w 384"/>
                  <a:gd name="T49" fmla="*/ 0 h 392"/>
                  <a:gd name="T50" fmla="*/ 283 w 384"/>
                  <a:gd name="T51" fmla="*/ 6 h 392"/>
                  <a:gd name="T52" fmla="*/ 255 w 384"/>
                  <a:gd name="T53" fmla="*/ 27 h 392"/>
                  <a:gd name="T54" fmla="*/ 228 w 384"/>
                  <a:gd name="T55" fmla="*/ 31 h 392"/>
                  <a:gd name="T56" fmla="*/ 259 w 384"/>
                  <a:gd name="T57" fmla="*/ 62 h 392"/>
                  <a:gd name="T58" fmla="*/ 201 w 384"/>
                  <a:gd name="T59" fmla="*/ 71 h 392"/>
                  <a:gd name="T60" fmla="*/ 144 w 384"/>
                  <a:gd name="T61" fmla="*/ 45 h 392"/>
                  <a:gd name="T62" fmla="*/ 127 w 384"/>
                  <a:gd name="T63" fmla="*/ 77 h 392"/>
                  <a:gd name="T64" fmla="*/ 126 w 384"/>
                  <a:gd name="T65" fmla="*/ 95 h 392"/>
                  <a:gd name="T66" fmla="*/ 111 w 384"/>
                  <a:gd name="T67" fmla="*/ 126 h 392"/>
                  <a:gd name="T68" fmla="*/ 92 w 384"/>
                  <a:gd name="T69" fmla="*/ 158 h 392"/>
                  <a:gd name="T70" fmla="*/ 113 w 384"/>
                  <a:gd name="T71" fmla="*/ 17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92">
                    <a:moveTo>
                      <a:pt x="142" y="148"/>
                    </a:moveTo>
                    <a:lnTo>
                      <a:pt x="137" y="163"/>
                    </a:lnTo>
                    <a:lnTo>
                      <a:pt x="142" y="185"/>
                    </a:lnTo>
                    <a:lnTo>
                      <a:pt x="135" y="198"/>
                    </a:lnTo>
                    <a:lnTo>
                      <a:pt x="123" y="189"/>
                    </a:lnTo>
                    <a:lnTo>
                      <a:pt x="109" y="192"/>
                    </a:lnTo>
                    <a:lnTo>
                      <a:pt x="109" y="208"/>
                    </a:lnTo>
                    <a:lnTo>
                      <a:pt x="80" y="237"/>
                    </a:lnTo>
                    <a:lnTo>
                      <a:pt x="64" y="245"/>
                    </a:lnTo>
                    <a:lnTo>
                      <a:pt x="42" y="272"/>
                    </a:lnTo>
                    <a:lnTo>
                      <a:pt x="28" y="279"/>
                    </a:lnTo>
                    <a:lnTo>
                      <a:pt x="17" y="277"/>
                    </a:lnTo>
                    <a:lnTo>
                      <a:pt x="12" y="281"/>
                    </a:lnTo>
                    <a:lnTo>
                      <a:pt x="8" y="286"/>
                    </a:lnTo>
                    <a:lnTo>
                      <a:pt x="14" y="294"/>
                    </a:lnTo>
                    <a:lnTo>
                      <a:pt x="14" y="313"/>
                    </a:lnTo>
                    <a:lnTo>
                      <a:pt x="0" y="330"/>
                    </a:lnTo>
                    <a:lnTo>
                      <a:pt x="6" y="347"/>
                    </a:lnTo>
                    <a:lnTo>
                      <a:pt x="6" y="347"/>
                    </a:lnTo>
                    <a:lnTo>
                      <a:pt x="22" y="347"/>
                    </a:lnTo>
                    <a:lnTo>
                      <a:pt x="28" y="334"/>
                    </a:lnTo>
                    <a:lnTo>
                      <a:pt x="38" y="346"/>
                    </a:lnTo>
                    <a:lnTo>
                      <a:pt x="26" y="355"/>
                    </a:lnTo>
                    <a:lnTo>
                      <a:pt x="31" y="371"/>
                    </a:lnTo>
                    <a:lnTo>
                      <a:pt x="38" y="374"/>
                    </a:lnTo>
                    <a:lnTo>
                      <a:pt x="69" y="380"/>
                    </a:lnTo>
                    <a:lnTo>
                      <a:pt x="74" y="382"/>
                    </a:lnTo>
                    <a:lnTo>
                      <a:pt x="102" y="392"/>
                    </a:lnTo>
                    <a:lnTo>
                      <a:pt x="113" y="387"/>
                    </a:lnTo>
                    <a:lnTo>
                      <a:pt x="137" y="371"/>
                    </a:lnTo>
                    <a:lnTo>
                      <a:pt x="173" y="380"/>
                    </a:lnTo>
                    <a:lnTo>
                      <a:pt x="236" y="380"/>
                    </a:lnTo>
                    <a:lnTo>
                      <a:pt x="271" y="371"/>
                    </a:lnTo>
                    <a:lnTo>
                      <a:pt x="288" y="343"/>
                    </a:lnTo>
                    <a:lnTo>
                      <a:pt x="309" y="330"/>
                    </a:lnTo>
                    <a:lnTo>
                      <a:pt x="316" y="313"/>
                    </a:lnTo>
                    <a:lnTo>
                      <a:pt x="323" y="290"/>
                    </a:lnTo>
                    <a:lnTo>
                      <a:pt x="340" y="277"/>
                    </a:lnTo>
                    <a:lnTo>
                      <a:pt x="354" y="237"/>
                    </a:lnTo>
                    <a:lnTo>
                      <a:pt x="351" y="192"/>
                    </a:lnTo>
                    <a:lnTo>
                      <a:pt x="384" y="171"/>
                    </a:lnTo>
                    <a:lnTo>
                      <a:pt x="365" y="152"/>
                    </a:lnTo>
                    <a:lnTo>
                      <a:pt x="359" y="121"/>
                    </a:lnTo>
                    <a:lnTo>
                      <a:pt x="346" y="108"/>
                    </a:lnTo>
                    <a:lnTo>
                      <a:pt x="332" y="108"/>
                    </a:lnTo>
                    <a:lnTo>
                      <a:pt x="318" y="99"/>
                    </a:lnTo>
                    <a:lnTo>
                      <a:pt x="293" y="65"/>
                    </a:lnTo>
                    <a:lnTo>
                      <a:pt x="304" y="58"/>
                    </a:lnTo>
                    <a:lnTo>
                      <a:pt x="349" y="13"/>
                    </a:lnTo>
                    <a:lnTo>
                      <a:pt x="344" y="0"/>
                    </a:lnTo>
                    <a:lnTo>
                      <a:pt x="330" y="3"/>
                    </a:lnTo>
                    <a:lnTo>
                      <a:pt x="283" y="6"/>
                    </a:lnTo>
                    <a:lnTo>
                      <a:pt x="266" y="18"/>
                    </a:lnTo>
                    <a:lnTo>
                      <a:pt x="255" y="27"/>
                    </a:lnTo>
                    <a:lnTo>
                      <a:pt x="239" y="24"/>
                    </a:lnTo>
                    <a:lnTo>
                      <a:pt x="228" y="31"/>
                    </a:lnTo>
                    <a:lnTo>
                      <a:pt x="236" y="45"/>
                    </a:lnTo>
                    <a:lnTo>
                      <a:pt x="259" y="62"/>
                    </a:lnTo>
                    <a:lnTo>
                      <a:pt x="242" y="65"/>
                    </a:lnTo>
                    <a:lnTo>
                      <a:pt x="201" y="71"/>
                    </a:lnTo>
                    <a:lnTo>
                      <a:pt x="173" y="58"/>
                    </a:lnTo>
                    <a:lnTo>
                      <a:pt x="144" y="45"/>
                    </a:lnTo>
                    <a:lnTo>
                      <a:pt x="135" y="52"/>
                    </a:lnTo>
                    <a:lnTo>
                      <a:pt x="127" y="77"/>
                    </a:lnTo>
                    <a:lnTo>
                      <a:pt x="130" y="89"/>
                    </a:lnTo>
                    <a:lnTo>
                      <a:pt x="126" y="95"/>
                    </a:lnTo>
                    <a:lnTo>
                      <a:pt x="109" y="102"/>
                    </a:lnTo>
                    <a:lnTo>
                      <a:pt x="111" y="126"/>
                    </a:lnTo>
                    <a:lnTo>
                      <a:pt x="109" y="132"/>
                    </a:lnTo>
                    <a:lnTo>
                      <a:pt x="92" y="158"/>
                    </a:lnTo>
                    <a:lnTo>
                      <a:pt x="107" y="182"/>
                    </a:lnTo>
                    <a:lnTo>
                      <a:pt x="113" y="179"/>
                    </a:lnTo>
                    <a:lnTo>
                      <a:pt x="142" y="148"/>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30" name="Freeform 229"/>
              <p:cNvSpPr>
                <a:spLocks noChangeAspect="1"/>
              </p:cNvSpPr>
              <p:nvPr/>
            </p:nvSpPr>
            <p:spPr bwMode="auto">
              <a:xfrm>
                <a:off x="1194304" y="3106399"/>
                <a:ext cx="183400" cy="169876"/>
              </a:xfrm>
              <a:custGeom>
                <a:avLst/>
                <a:gdLst>
                  <a:gd name="T0" fmla="*/ 43 w 123"/>
                  <a:gd name="T1" fmla="*/ 0 h 140"/>
                  <a:gd name="T2" fmla="*/ 71 w 123"/>
                  <a:gd name="T3" fmla="*/ 0 h 140"/>
                  <a:gd name="T4" fmla="*/ 92 w 123"/>
                  <a:gd name="T5" fmla="*/ 5 h 140"/>
                  <a:gd name="T6" fmla="*/ 106 w 123"/>
                  <a:gd name="T7" fmla="*/ 28 h 140"/>
                  <a:gd name="T8" fmla="*/ 120 w 123"/>
                  <a:gd name="T9" fmla="*/ 65 h 140"/>
                  <a:gd name="T10" fmla="*/ 123 w 123"/>
                  <a:gd name="T11" fmla="*/ 96 h 140"/>
                  <a:gd name="T12" fmla="*/ 109 w 123"/>
                  <a:gd name="T13" fmla="*/ 112 h 140"/>
                  <a:gd name="T14" fmla="*/ 104 w 123"/>
                  <a:gd name="T15" fmla="*/ 133 h 140"/>
                  <a:gd name="T16" fmla="*/ 90 w 123"/>
                  <a:gd name="T17" fmla="*/ 140 h 140"/>
                  <a:gd name="T18" fmla="*/ 76 w 123"/>
                  <a:gd name="T19" fmla="*/ 122 h 140"/>
                  <a:gd name="T20" fmla="*/ 63 w 123"/>
                  <a:gd name="T21" fmla="*/ 88 h 140"/>
                  <a:gd name="T22" fmla="*/ 54 w 123"/>
                  <a:gd name="T23" fmla="*/ 75 h 140"/>
                  <a:gd name="T24" fmla="*/ 30 w 123"/>
                  <a:gd name="T25" fmla="*/ 72 h 140"/>
                  <a:gd name="T26" fmla="*/ 0 w 123"/>
                  <a:gd name="T27" fmla="*/ 37 h 140"/>
                  <a:gd name="T28" fmla="*/ 43 w 123"/>
                  <a:gd name="T2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0">
                    <a:moveTo>
                      <a:pt x="43" y="0"/>
                    </a:moveTo>
                    <a:lnTo>
                      <a:pt x="71" y="0"/>
                    </a:lnTo>
                    <a:lnTo>
                      <a:pt x="92" y="5"/>
                    </a:lnTo>
                    <a:lnTo>
                      <a:pt x="106" y="28"/>
                    </a:lnTo>
                    <a:lnTo>
                      <a:pt x="120" y="65"/>
                    </a:lnTo>
                    <a:lnTo>
                      <a:pt x="123" y="96"/>
                    </a:lnTo>
                    <a:lnTo>
                      <a:pt x="109" y="112"/>
                    </a:lnTo>
                    <a:lnTo>
                      <a:pt x="104" y="133"/>
                    </a:lnTo>
                    <a:lnTo>
                      <a:pt x="90" y="140"/>
                    </a:lnTo>
                    <a:lnTo>
                      <a:pt x="76" y="122"/>
                    </a:lnTo>
                    <a:lnTo>
                      <a:pt x="63" y="88"/>
                    </a:lnTo>
                    <a:lnTo>
                      <a:pt x="54" y="75"/>
                    </a:lnTo>
                    <a:lnTo>
                      <a:pt x="30" y="72"/>
                    </a:lnTo>
                    <a:lnTo>
                      <a:pt x="0" y="37"/>
                    </a:lnTo>
                    <a:lnTo>
                      <a:pt x="43" y="0"/>
                    </a:lnTo>
                    <a:close/>
                  </a:path>
                </a:pathLst>
              </a:custGeom>
              <a:grpFill/>
              <a:ln w="3175" cap="flat" cmpd="sng" algn="ctr">
                <a:solidFill>
                  <a:srgbClr val="FFFFFF"/>
                </a:solidFill>
                <a:prstDash val="solid"/>
                <a:headEnd type="none" w="med" len="med"/>
                <a:tailEnd type="none" w="med" len="med"/>
              </a:ln>
              <a:effec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sp>
          <p:nvSpPr>
            <p:cNvPr id="142" name="CH"/>
            <p:cNvSpPr>
              <a:spLocks/>
            </p:cNvSpPr>
            <p:nvPr/>
          </p:nvSpPr>
          <p:spPr bwMode="auto">
            <a:xfrm>
              <a:off x="4153052" y="4535990"/>
              <a:ext cx="265684" cy="155206"/>
            </a:xfrm>
            <a:custGeom>
              <a:avLst/>
              <a:gdLst>
                <a:gd name="T0" fmla="*/ 197 w 376"/>
                <a:gd name="T1" fmla="*/ 53 h 276"/>
                <a:gd name="T2" fmla="*/ 178 w 376"/>
                <a:gd name="T3" fmla="*/ 34 h 276"/>
                <a:gd name="T4" fmla="*/ 181 w 376"/>
                <a:gd name="T5" fmla="*/ 27 h 276"/>
                <a:gd name="T6" fmla="*/ 170 w 376"/>
                <a:gd name="T7" fmla="*/ 16 h 276"/>
                <a:gd name="T8" fmla="*/ 159 w 376"/>
                <a:gd name="T9" fmla="*/ 0 h 276"/>
                <a:gd name="T10" fmla="*/ 148 w 376"/>
                <a:gd name="T11" fmla="*/ 16 h 276"/>
                <a:gd name="T12" fmla="*/ 140 w 376"/>
                <a:gd name="T13" fmla="*/ 10 h 276"/>
                <a:gd name="T14" fmla="*/ 127 w 376"/>
                <a:gd name="T15" fmla="*/ 24 h 276"/>
                <a:gd name="T16" fmla="*/ 127 w 376"/>
                <a:gd name="T17" fmla="*/ 32 h 276"/>
                <a:gd name="T18" fmla="*/ 110 w 376"/>
                <a:gd name="T19" fmla="*/ 40 h 276"/>
                <a:gd name="T20" fmla="*/ 68 w 376"/>
                <a:gd name="T21" fmla="*/ 77 h 276"/>
                <a:gd name="T22" fmla="*/ 57 w 376"/>
                <a:gd name="T23" fmla="*/ 93 h 276"/>
                <a:gd name="T24" fmla="*/ 57 w 376"/>
                <a:gd name="T25" fmla="*/ 111 h 276"/>
                <a:gd name="T26" fmla="*/ 42 w 376"/>
                <a:gd name="T27" fmla="*/ 117 h 276"/>
                <a:gd name="T28" fmla="*/ 11 w 376"/>
                <a:gd name="T29" fmla="*/ 154 h 276"/>
                <a:gd name="T30" fmla="*/ 11 w 376"/>
                <a:gd name="T31" fmla="*/ 167 h 276"/>
                <a:gd name="T32" fmla="*/ 0 w 376"/>
                <a:gd name="T33" fmla="*/ 182 h 276"/>
                <a:gd name="T34" fmla="*/ 5 w 376"/>
                <a:gd name="T35" fmla="*/ 201 h 276"/>
                <a:gd name="T36" fmla="*/ 19 w 376"/>
                <a:gd name="T37" fmla="*/ 191 h 276"/>
                <a:gd name="T38" fmla="*/ 33 w 376"/>
                <a:gd name="T39" fmla="*/ 174 h 276"/>
                <a:gd name="T40" fmla="*/ 54 w 376"/>
                <a:gd name="T41" fmla="*/ 169 h 276"/>
                <a:gd name="T42" fmla="*/ 68 w 376"/>
                <a:gd name="T43" fmla="*/ 174 h 276"/>
                <a:gd name="T44" fmla="*/ 73 w 376"/>
                <a:gd name="T45" fmla="*/ 201 h 276"/>
                <a:gd name="T46" fmla="*/ 71 w 376"/>
                <a:gd name="T47" fmla="*/ 219 h 276"/>
                <a:gd name="T48" fmla="*/ 80 w 376"/>
                <a:gd name="T49" fmla="*/ 232 h 276"/>
                <a:gd name="T50" fmla="*/ 91 w 376"/>
                <a:gd name="T51" fmla="*/ 241 h 276"/>
                <a:gd name="T52" fmla="*/ 115 w 376"/>
                <a:gd name="T53" fmla="*/ 243 h 276"/>
                <a:gd name="T54" fmla="*/ 167 w 376"/>
                <a:gd name="T55" fmla="*/ 251 h 276"/>
                <a:gd name="T56" fmla="*/ 178 w 376"/>
                <a:gd name="T57" fmla="*/ 243 h 276"/>
                <a:gd name="T58" fmla="*/ 186 w 376"/>
                <a:gd name="T59" fmla="*/ 232 h 276"/>
                <a:gd name="T60" fmla="*/ 191 w 376"/>
                <a:gd name="T61" fmla="*/ 208 h 276"/>
                <a:gd name="T62" fmla="*/ 210 w 376"/>
                <a:gd name="T63" fmla="*/ 206 h 276"/>
                <a:gd name="T64" fmla="*/ 216 w 376"/>
                <a:gd name="T65" fmla="*/ 222 h 276"/>
                <a:gd name="T66" fmla="*/ 216 w 376"/>
                <a:gd name="T67" fmla="*/ 258 h 276"/>
                <a:gd name="T68" fmla="*/ 240 w 376"/>
                <a:gd name="T69" fmla="*/ 276 h 276"/>
                <a:gd name="T70" fmla="*/ 258 w 376"/>
                <a:gd name="T71" fmla="*/ 245 h 276"/>
                <a:gd name="T72" fmla="*/ 277 w 376"/>
                <a:gd name="T73" fmla="*/ 235 h 276"/>
                <a:gd name="T74" fmla="*/ 299 w 376"/>
                <a:gd name="T75" fmla="*/ 238 h 276"/>
                <a:gd name="T76" fmla="*/ 315 w 376"/>
                <a:gd name="T77" fmla="*/ 248 h 276"/>
                <a:gd name="T78" fmla="*/ 322 w 376"/>
                <a:gd name="T79" fmla="*/ 256 h 276"/>
                <a:gd name="T80" fmla="*/ 327 w 376"/>
                <a:gd name="T81" fmla="*/ 229 h 276"/>
                <a:gd name="T82" fmla="*/ 339 w 376"/>
                <a:gd name="T83" fmla="*/ 198 h 276"/>
                <a:gd name="T84" fmla="*/ 367 w 376"/>
                <a:gd name="T85" fmla="*/ 192 h 276"/>
                <a:gd name="T86" fmla="*/ 376 w 376"/>
                <a:gd name="T87" fmla="*/ 172 h 276"/>
                <a:gd name="T88" fmla="*/ 367 w 376"/>
                <a:gd name="T89" fmla="*/ 155 h 276"/>
                <a:gd name="T90" fmla="*/ 354 w 376"/>
                <a:gd name="T91" fmla="*/ 148 h 276"/>
                <a:gd name="T92" fmla="*/ 319 w 376"/>
                <a:gd name="T93" fmla="*/ 141 h 276"/>
                <a:gd name="T94" fmla="*/ 318 w 376"/>
                <a:gd name="T95" fmla="*/ 121 h 276"/>
                <a:gd name="T96" fmla="*/ 318 w 376"/>
                <a:gd name="T97" fmla="*/ 100 h 276"/>
                <a:gd name="T98" fmla="*/ 318 w 376"/>
                <a:gd name="T99" fmla="*/ 84 h 276"/>
                <a:gd name="T100" fmla="*/ 296 w 376"/>
                <a:gd name="T101" fmla="*/ 71 h 276"/>
                <a:gd name="T102" fmla="*/ 285 w 376"/>
                <a:gd name="T103" fmla="*/ 77 h 276"/>
                <a:gd name="T104" fmla="*/ 266 w 376"/>
                <a:gd name="T105" fmla="*/ 61 h 276"/>
                <a:gd name="T106" fmla="*/ 263 w 376"/>
                <a:gd name="T107" fmla="*/ 50 h 276"/>
                <a:gd name="T108" fmla="*/ 256 w 376"/>
                <a:gd name="T109" fmla="*/ 37 h 276"/>
                <a:gd name="T110" fmla="*/ 256 w 376"/>
                <a:gd name="T111" fmla="*/ 32 h 276"/>
                <a:gd name="T112" fmla="*/ 235 w 376"/>
                <a:gd name="T113" fmla="*/ 24 h 276"/>
                <a:gd name="T114" fmla="*/ 228 w 376"/>
                <a:gd name="T115" fmla="*/ 34 h 276"/>
                <a:gd name="T116" fmla="*/ 214 w 376"/>
                <a:gd name="T117" fmla="*/ 46 h 276"/>
                <a:gd name="T118" fmla="*/ 197 w 376"/>
                <a:gd name="T119" fmla="*/ 5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6" h="276">
                  <a:moveTo>
                    <a:pt x="197" y="53"/>
                  </a:moveTo>
                  <a:lnTo>
                    <a:pt x="178" y="34"/>
                  </a:lnTo>
                  <a:lnTo>
                    <a:pt x="181" y="27"/>
                  </a:lnTo>
                  <a:lnTo>
                    <a:pt x="170" y="16"/>
                  </a:lnTo>
                  <a:lnTo>
                    <a:pt x="159" y="0"/>
                  </a:lnTo>
                  <a:lnTo>
                    <a:pt x="148" y="16"/>
                  </a:lnTo>
                  <a:lnTo>
                    <a:pt x="140" y="10"/>
                  </a:lnTo>
                  <a:lnTo>
                    <a:pt x="127" y="24"/>
                  </a:lnTo>
                  <a:lnTo>
                    <a:pt x="127" y="32"/>
                  </a:lnTo>
                  <a:lnTo>
                    <a:pt x="110" y="40"/>
                  </a:lnTo>
                  <a:lnTo>
                    <a:pt x="68" y="77"/>
                  </a:lnTo>
                  <a:lnTo>
                    <a:pt x="57" y="93"/>
                  </a:lnTo>
                  <a:lnTo>
                    <a:pt x="57" y="111"/>
                  </a:lnTo>
                  <a:lnTo>
                    <a:pt x="42" y="117"/>
                  </a:lnTo>
                  <a:lnTo>
                    <a:pt x="11" y="154"/>
                  </a:lnTo>
                  <a:lnTo>
                    <a:pt x="11" y="167"/>
                  </a:lnTo>
                  <a:lnTo>
                    <a:pt x="0" y="182"/>
                  </a:lnTo>
                  <a:lnTo>
                    <a:pt x="5" y="201"/>
                  </a:lnTo>
                  <a:lnTo>
                    <a:pt x="19" y="191"/>
                  </a:lnTo>
                  <a:lnTo>
                    <a:pt x="33" y="174"/>
                  </a:lnTo>
                  <a:lnTo>
                    <a:pt x="54" y="169"/>
                  </a:lnTo>
                  <a:lnTo>
                    <a:pt x="68" y="174"/>
                  </a:lnTo>
                  <a:lnTo>
                    <a:pt x="73" y="201"/>
                  </a:lnTo>
                  <a:lnTo>
                    <a:pt x="71" y="219"/>
                  </a:lnTo>
                  <a:lnTo>
                    <a:pt x="80" y="232"/>
                  </a:lnTo>
                  <a:lnTo>
                    <a:pt x="91" y="241"/>
                  </a:lnTo>
                  <a:lnTo>
                    <a:pt x="115" y="243"/>
                  </a:lnTo>
                  <a:lnTo>
                    <a:pt x="167" y="251"/>
                  </a:lnTo>
                  <a:lnTo>
                    <a:pt x="178" y="243"/>
                  </a:lnTo>
                  <a:lnTo>
                    <a:pt x="186" y="232"/>
                  </a:lnTo>
                  <a:lnTo>
                    <a:pt x="191" y="208"/>
                  </a:lnTo>
                  <a:lnTo>
                    <a:pt x="210" y="206"/>
                  </a:lnTo>
                  <a:lnTo>
                    <a:pt x="216" y="222"/>
                  </a:lnTo>
                  <a:lnTo>
                    <a:pt x="216" y="258"/>
                  </a:lnTo>
                  <a:lnTo>
                    <a:pt x="240" y="276"/>
                  </a:lnTo>
                  <a:lnTo>
                    <a:pt x="258" y="245"/>
                  </a:lnTo>
                  <a:lnTo>
                    <a:pt x="277" y="235"/>
                  </a:lnTo>
                  <a:lnTo>
                    <a:pt x="299" y="238"/>
                  </a:lnTo>
                  <a:lnTo>
                    <a:pt x="315" y="248"/>
                  </a:lnTo>
                  <a:lnTo>
                    <a:pt x="322" y="256"/>
                  </a:lnTo>
                  <a:lnTo>
                    <a:pt x="327" y="229"/>
                  </a:lnTo>
                  <a:lnTo>
                    <a:pt x="339" y="198"/>
                  </a:lnTo>
                  <a:lnTo>
                    <a:pt x="367" y="192"/>
                  </a:lnTo>
                  <a:lnTo>
                    <a:pt x="376" y="172"/>
                  </a:lnTo>
                  <a:lnTo>
                    <a:pt x="367" y="155"/>
                  </a:lnTo>
                  <a:lnTo>
                    <a:pt x="354" y="148"/>
                  </a:lnTo>
                  <a:lnTo>
                    <a:pt x="319" y="141"/>
                  </a:lnTo>
                  <a:lnTo>
                    <a:pt x="318" y="121"/>
                  </a:lnTo>
                  <a:lnTo>
                    <a:pt x="318" y="100"/>
                  </a:lnTo>
                  <a:lnTo>
                    <a:pt x="318" y="84"/>
                  </a:lnTo>
                  <a:lnTo>
                    <a:pt x="296" y="71"/>
                  </a:lnTo>
                  <a:lnTo>
                    <a:pt x="285" y="77"/>
                  </a:lnTo>
                  <a:lnTo>
                    <a:pt x="266" y="61"/>
                  </a:lnTo>
                  <a:lnTo>
                    <a:pt x="263" y="50"/>
                  </a:lnTo>
                  <a:lnTo>
                    <a:pt x="256" y="37"/>
                  </a:lnTo>
                  <a:lnTo>
                    <a:pt x="256" y="32"/>
                  </a:lnTo>
                  <a:lnTo>
                    <a:pt x="235" y="24"/>
                  </a:lnTo>
                  <a:lnTo>
                    <a:pt x="228" y="34"/>
                  </a:lnTo>
                  <a:lnTo>
                    <a:pt x="214" y="46"/>
                  </a:lnTo>
                  <a:lnTo>
                    <a:pt x="197" y="53"/>
                  </a:lnTo>
                  <a:close/>
                </a:path>
              </a:pathLst>
            </a:custGeom>
            <a:solidFill>
              <a:srgbClr val="1F497D"/>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43" name="AT"/>
            <p:cNvSpPr>
              <a:spLocks/>
            </p:cNvSpPr>
            <p:nvPr/>
          </p:nvSpPr>
          <p:spPr bwMode="auto">
            <a:xfrm>
              <a:off x="4367265" y="4518139"/>
              <a:ext cx="408684" cy="162490"/>
            </a:xfrm>
            <a:custGeom>
              <a:avLst/>
              <a:gdLst>
                <a:gd name="T0" fmla="*/ 24 w 573"/>
                <a:gd name="T1" fmla="*/ 102 h 293"/>
                <a:gd name="T2" fmla="*/ 46 w 573"/>
                <a:gd name="T3" fmla="*/ 117 h 293"/>
                <a:gd name="T4" fmla="*/ 80 w 573"/>
                <a:gd name="T5" fmla="*/ 114 h 293"/>
                <a:gd name="T6" fmla="*/ 112 w 573"/>
                <a:gd name="T7" fmla="*/ 111 h 293"/>
                <a:gd name="T8" fmla="*/ 150 w 573"/>
                <a:gd name="T9" fmla="*/ 125 h 293"/>
                <a:gd name="T10" fmla="*/ 175 w 573"/>
                <a:gd name="T11" fmla="*/ 121 h 293"/>
                <a:gd name="T12" fmla="*/ 218 w 573"/>
                <a:gd name="T13" fmla="*/ 115 h 293"/>
                <a:gd name="T14" fmla="*/ 265 w 573"/>
                <a:gd name="T15" fmla="*/ 142 h 293"/>
                <a:gd name="T16" fmla="*/ 288 w 573"/>
                <a:gd name="T17" fmla="*/ 115 h 293"/>
                <a:gd name="T18" fmla="*/ 269 w 573"/>
                <a:gd name="T19" fmla="*/ 57 h 293"/>
                <a:gd name="T20" fmla="*/ 347 w 573"/>
                <a:gd name="T21" fmla="*/ 7 h 293"/>
                <a:gd name="T22" fmla="*/ 369 w 573"/>
                <a:gd name="T23" fmla="*/ 28 h 293"/>
                <a:gd name="T24" fmla="*/ 426 w 573"/>
                <a:gd name="T25" fmla="*/ 3 h 293"/>
                <a:gd name="T26" fmla="*/ 488 w 573"/>
                <a:gd name="T27" fmla="*/ 24 h 293"/>
                <a:gd name="T28" fmla="*/ 527 w 573"/>
                <a:gd name="T29" fmla="*/ 11 h 293"/>
                <a:gd name="T30" fmla="*/ 559 w 573"/>
                <a:gd name="T31" fmla="*/ 74 h 293"/>
                <a:gd name="T32" fmla="*/ 569 w 573"/>
                <a:gd name="T33" fmla="*/ 117 h 293"/>
                <a:gd name="T34" fmla="*/ 542 w 573"/>
                <a:gd name="T35" fmla="*/ 142 h 293"/>
                <a:gd name="T36" fmla="*/ 546 w 573"/>
                <a:gd name="T37" fmla="*/ 171 h 293"/>
                <a:gd name="T38" fmla="*/ 536 w 573"/>
                <a:gd name="T39" fmla="*/ 210 h 293"/>
                <a:gd name="T40" fmla="*/ 507 w 573"/>
                <a:gd name="T41" fmla="*/ 245 h 293"/>
                <a:gd name="T42" fmla="*/ 482 w 573"/>
                <a:gd name="T43" fmla="*/ 269 h 293"/>
                <a:gd name="T44" fmla="*/ 418 w 573"/>
                <a:gd name="T45" fmla="*/ 273 h 293"/>
                <a:gd name="T46" fmla="*/ 366 w 573"/>
                <a:gd name="T47" fmla="*/ 293 h 293"/>
                <a:gd name="T48" fmla="*/ 279 w 573"/>
                <a:gd name="T49" fmla="*/ 273 h 293"/>
                <a:gd name="T50" fmla="*/ 195 w 573"/>
                <a:gd name="T51" fmla="*/ 235 h 293"/>
                <a:gd name="T52" fmla="*/ 190 w 573"/>
                <a:gd name="T53" fmla="*/ 200 h 293"/>
                <a:gd name="T54" fmla="*/ 136 w 573"/>
                <a:gd name="T55" fmla="*/ 198 h 293"/>
                <a:gd name="T56" fmla="*/ 66 w 573"/>
                <a:gd name="T57" fmla="*/ 188 h 293"/>
                <a:gd name="T58" fmla="*/ 36 w 573"/>
                <a:gd name="T59" fmla="*/ 175 h 293"/>
                <a:gd name="T60" fmla="*/ 17 w 573"/>
                <a:gd name="T61" fmla="*/ 149 h 293"/>
                <a:gd name="T62" fmla="*/ 0 w 573"/>
                <a:gd name="T63" fmla="*/ 105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293">
                  <a:moveTo>
                    <a:pt x="0" y="105"/>
                  </a:moveTo>
                  <a:lnTo>
                    <a:pt x="24" y="102"/>
                  </a:lnTo>
                  <a:lnTo>
                    <a:pt x="33" y="100"/>
                  </a:lnTo>
                  <a:lnTo>
                    <a:pt x="46" y="117"/>
                  </a:lnTo>
                  <a:lnTo>
                    <a:pt x="61" y="111"/>
                  </a:lnTo>
                  <a:lnTo>
                    <a:pt x="80" y="114"/>
                  </a:lnTo>
                  <a:lnTo>
                    <a:pt x="91" y="124"/>
                  </a:lnTo>
                  <a:lnTo>
                    <a:pt x="112" y="111"/>
                  </a:lnTo>
                  <a:lnTo>
                    <a:pt x="138" y="112"/>
                  </a:lnTo>
                  <a:lnTo>
                    <a:pt x="150" y="125"/>
                  </a:lnTo>
                  <a:lnTo>
                    <a:pt x="166" y="129"/>
                  </a:lnTo>
                  <a:lnTo>
                    <a:pt x="175" y="121"/>
                  </a:lnTo>
                  <a:lnTo>
                    <a:pt x="204" y="115"/>
                  </a:lnTo>
                  <a:lnTo>
                    <a:pt x="218" y="115"/>
                  </a:lnTo>
                  <a:lnTo>
                    <a:pt x="240" y="124"/>
                  </a:lnTo>
                  <a:lnTo>
                    <a:pt x="265" y="142"/>
                  </a:lnTo>
                  <a:lnTo>
                    <a:pt x="284" y="134"/>
                  </a:lnTo>
                  <a:lnTo>
                    <a:pt x="288" y="115"/>
                  </a:lnTo>
                  <a:lnTo>
                    <a:pt x="275" y="91"/>
                  </a:lnTo>
                  <a:lnTo>
                    <a:pt x="269" y="57"/>
                  </a:lnTo>
                  <a:lnTo>
                    <a:pt x="333" y="7"/>
                  </a:lnTo>
                  <a:lnTo>
                    <a:pt x="347" y="7"/>
                  </a:lnTo>
                  <a:lnTo>
                    <a:pt x="350" y="24"/>
                  </a:lnTo>
                  <a:lnTo>
                    <a:pt x="369" y="28"/>
                  </a:lnTo>
                  <a:lnTo>
                    <a:pt x="409" y="23"/>
                  </a:lnTo>
                  <a:lnTo>
                    <a:pt x="426" y="3"/>
                  </a:lnTo>
                  <a:lnTo>
                    <a:pt x="476" y="0"/>
                  </a:lnTo>
                  <a:lnTo>
                    <a:pt x="488" y="24"/>
                  </a:lnTo>
                  <a:lnTo>
                    <a:pt x="508" y="24"/>
                  </a:lnTo>
                  <a:lnTo>
                    <a:pt x="527" y="11"/>
                  </a:lnTo>
                  <a:lnTo>
                    <a:pt x="559" y="34"/>
                  </a:lnTo>
                  <a:lnTo>
                    <a:pt x="559" y="74"/>
                  </a:lnTo>
                  <a:lnTo>
                    <a:pt x="573" y="91"/>
                  </a:lnTo>
                  <a:lnTo>
                    <a:pt x="569" y="117"/>
                  </a:lnTo>
                  <a:lnTo>
                    <a:pt x="559" y="142"/>
                  </a:lnTo>
                  <a:lnTo>
                    <a:pt x="542" y="142"/>
                  </a:lnTo>
                  <a:lnTo>
                    <a:pt x="536" y="149"/>
                  </a:lnTo>
                  <a:lnTo>
                    <a:pt x="546" y="171"/>
                  </a:lnTo>
                  <a:lnTo>
                    <a:pt x="546" y="192"/>
                  </a:lnTo>
                  <a:lnTo>
                    <a:pt x="536" y="210"/>
                  </a:lnTo>
                  <a:lnTo>
                    <a:pt x="508" y="226"/>
                  </a:lnTo>
                  <a:lnTo>
                    <a:pt x="507" y="245"/>
                  </a:lnTo>
                  <a:lnTo>
                    <a:pt x="507" y="263"/>
                  </a:lnTo>
                  <a:lnTo>
                    <a:pt x="482" y="269"/>
                  </a:lnTo>
                  <a:lnTo>
                    <a:pt x="438" y="266"/>
                  </a:lnTo>
                  <a:lnTo>
                    <a:pt x="418" y="273"/>
                  </a:lnTo>
                  <a:lnTo>
                    <a:pt x="381" y="273"/>
                  </a:lnTo>
                  <a:lnTo>
                    <a:pt x="366" y="293"/>
                  </a:lnTo>
                  <a:lnTo>
                    <a:pt x="308" y="272"/>
                  </a:lnTo>
                  <a:lnTo>
                    <a:pt x="279" y="273"/>
                  </a:lnTo>
                  <a:lnTo>
                    <a:pt x="205" y="255"/>
                  </a:lnTo>
                  <a:lnTo>
                    <a:pt x="195" y="235"/>
                  </a:lnTo>
                  <a:lnTo>
                    <a:pt x="195" y="213"/>
                  </a:lnTo>
                  <a:lnTo>
                    <a:pt x="190" y="200"/>
                  </a:lnTo>
                  <a:lnTo>
                    <a:pt x="181" y="195"/>
                  </a:lnTo>
                  <a:lnTo>
                    <a:pt x="136" y="198"/>
                  </a:lnTo>
                  <a:lnTo>
                    <a:pt x="72" y="205"/>
                  </a:lnTo>
                  <a:lnTo>
                    <a:pt x="66" y="188"/>
                  </a:lnTo>
                  <a:lnTo>
                    <a:pt x="55" y="182"/>
                  </a:lnTo>
                  <a:lnTo>
                    <a:pt x="36" y="175"/>
                  </a:lnTo>
                  <a:lnTo>
                    <a:pt x="17" y="169"/>
                  </a:lnTo>
                  <a:lnTo>
                    <a:pt x="17" y="149"/>
                  </a:lnTo>
                  <a:lnTo>
                    <a:pt x="17" y="121"/>
                  </a:lnTo>
                  <a:lnTo>
                    <a:pt x="0" y="105"/>
                  </a:lnTo>
                  <a:close/>
                </a:path>
              </a:pathLst>
            </a:custGeom>
            <a:solidFill>
              <a:srgbClr val="1F497D"/>
            </a:solidFill>
            <a:ln w="3175" cap="flat" cmpd="sng" algn="ctr">
              <a:solidFill>
                <a:sysClr val="window" lastClr="FFFFFF"/>
              </a:solidFill>
              <a:prstDash val="soli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spcBef>
                  <a:spcPct val="50000"/>
                </a:spcBef>
                <a:defRPr/>
              </a:pPr>
              <a:endParaRPr lang="de-CH" sz="1400" kern="0" dirty="0">
                <a:solidFill>
                  <a:prstClr val="white"/>
                </a:solidFill>
                <a:latin typeface="Arial"/>
              </a:endParaRPr>
            </a:p>
          </p:txBody>
        </p:sp>
        <p:sp>
          <p:nvSpPr>
            <p:cNvPr id="144" name="SI"/>
            <p:cNvSpPr>
              <a:spLocks/>
            </p:cNvSpPr>
            <p:nvPr/>
          </p:nvSpPr>
          <p:spPr bwMode="auto">
            <a:xfrm>
              <a:off x="4563199" y="4664035"/>
              <a:ext cx="178656" cy="96514"/>
            </a:xfrm>
            <a:custGeom>
              <a:avLst/>
              <a:gdLst>
                <a:gd name="T0" fmla="*/ 22 w 251"/>
                <a:gd name="T1" fmla="*/ 89 h 163"/>
                <a:gd name="T2" fmla="*/ 47 w 251"/>
                <a:gd name="T3" fmla="*/ 118 h 163"/>
                <a:gd name="T4" fmla="*/ 39 w 251"/>
                <a:gd name="T5" fmla="*/ 132 h 163"/>
                <a:gd name="T6" fmla="*/ 28 w 251"/>
                <a:gd name="T7" fmla="*/ 142 h 163"/>
                <a:gd name="T8" fmla="*/ 14 w 251"/>
                <a:gd name="T9" fmla="*/ 145 h 163"/>
                <a:gd name="T10" fmla="*/ 0 w 251"/>
                <a:gd name="T11" fmla="*/ 147 h 163"/>
                <a:gd name="T12" fmla="*/ 25 w 251"/>
                <a:gd name="T13" fmla="*/ 160 h 163"/>
                <a:gd name="T14" fmla="*/ 36 w 251"/>
                <a:gd name="T15" fmla="*/ 163 h 163"/>
                <a:gd name="T16" fmla="*/ 67 w 251"/>
                <a:gd name="T17" fmla="*/ 142 h 163"/>
                <a:gd name="T18" fmla="*/ 137 w 251"/>
                <a:gd name="T19" fmla="*/ 162 h 163"/>
                <a:gd name="T20" fmla="*/ 182 w 251"/>
                <a:gd name="T21" fmla="*/ 105 h 163"/>
                <a:gd name="T22" fmla="*/ 191 w 251"/>
                <a:gd name="T23" fmla="*/ 81 h 163"/>
                <a:gd name="T24" fmla="*/ 200 w 251"/>
                <a:gd name="T25" fmla="*/ 73 h 163"/>
                <a:gd name="T26" fmla="*/ 226 w 251"/>
                <a:gd name="T27" fmla="*/ 76 h 163"/>
                <a:gd name="T28" fmla="*/ 251 w 251"/>
                <a:gd name="T29" fmla="*/ 42 h 163"/>
                <a:gd name="T30" fmla="*/ 248 w 251"/>
                <a:gd name="T31" fmla="*/ 21 h 163"/>
                <a:gd name="T32" fmla="*/ 231 w 251"/>
                <a:gd name="T33" fmla="*/ 0 h 163"/>
                <a:gd name="T34" fmla="*/ 219 w 251"/>
                <a:gd name="T35" fmla="*/ 2 h 163"/>
                <a:gd name="T36" fmla="*/ 207 w 251"/>
                <a:gd name="T37" fmla="*/ 7 h 163"/>
                <a:gd name="T38" fmla="*/ 184 w 251"/>
                <a:gd name="T39" fmla="*/ 1 h 163"/>
                <a:gd name="T40" fmla="*/ 161 w 251"/>
                <a:gd name="T41" fmla="*/ 2 h 163"/>
                <a:gd name="T42" fmla="*/ 138 w 251"/>
                <a:gd name="T43" fmla="*/ 9 h 163"/>
                <a:gd name="T44" fmla="*/ 106 w 251"/>
                <a:gd name="T45" fmla="*/ 7 h 163"/>
                <a:gd name="T46" fmla="*/ 93 w 251"/>
                <a:gd name="T47" fmla="*/ 28 h 163"/>
                <a:gd name="T48" fmla="*/ 39 w 251"/>
                <a:gd name="T49" fmla="*/ 9 h 163"/>
                <a:gd name="T50" fmla="*/ 19 w 251"/>
                <a:gd name="T51" fmla="*/ 9 h 163"/>
                <a:gd name="T52" fmla="*/ 19 w 251"/>
                <a:gd name="T53" fmla="*/ 45 h 163"/>
                <a:gd name="T54" fmla="*/ 22 w 251"/>
                <a:gd name="T55" fmla="*/ 8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1" h="163">
                  <a:moveTo>
                    <a:pt x="22" y="89"/>
                  </a:moveTo>
                  <a:lnTo>
                    <a:pt x="47" y="118"/>
                  </a:lnTo>
                  <a:lnTo>
                    <a:pt x="39" y="132"/>
                  </a:lnTo>
                  <a:lnTo>
                    <a:pt x="28" y="142"/>
                  </a:lnTo>
                  <a:lnTo>
                    <a:pt x="14" y="145"/>
                  </a:lnTo>
                  <a:lnTo>
                    <a:pt x="0" y="147"/>
                  </a:lnTo>
                  <a:lnTo>
                    <a:pt x="25" y="160"/>
                  </a:lnTo>
                  <a:lnTo>
                    <a:pt x="36" y="163"/>
                  </a:lnTo>
                  <a:lnTo>
                    <a:pt x="67" y="142"/>
                  </a:lnTo>
                  <a:lnTo>
                    <a:pt x="137" y="162"/>
                  </a:lnTo>
                  <a:lnTo>
                    <a:pt x="182" y="105"/>
                  </a:lnTo>
                  <a:lnTo>
                    <a:pt x="191" y="81"/>
                  </a:lnTo>
                  <a:lnTo>
                    <a:pt x="200" y="73"/>
                  </a:lnTo>
                  <a:lnTo>
                    <a:pt x="226" y="76"/>
                  </a:lnTo>
                  <a:lnTo>
                    <a:pt x="251" y="42"/>
                  </a:lnTo>
                  <a:lnTo>
                    <a:pt x="248" y="21"/>
                  </a:lnTo>
                  <a:lnTo>
                    <a:pt x="231" y="0"/>
                  </a:lnTo>
                  <a:lnTo>
                    <a:pt x="219" y="2"/>
                  </a:lnTo>
                  <a:lnTo>
                    <a:pt x="207" y="7"/>
                  </a:lnTo>
                  <a:lnTo>
                    <a:pt x="184" y="1"/>
                  </a:lnTo>
                  <a:lnTo>
                    <a:pt x="161" y="2"/>
                  </a:lnTo>
                  <a:lnTo>
                    <a:pt x="138" y="9"/>
                  </a:lnTo>
                  <a:lnTo>
                    <a:pt x="106" y="7"/>
                  </a:lnTo>
                  <a:lnTo>
                    <a:pt x="93" y="28"/>
                  </a:lnTo>
                  <a:lnTo>
                    <a:pt x="39" y="9"/>
                  </a:lnTo>
                  <a:lnTo>
                    <a:pt x="19" y="9"/>
                  </a:lnTo>
                  <a:lnTo>
                    <a:pt x="19" y="45"/>
                  </a:lnTo>
                  <a:lnTo>
                    <a:pt x="22" y="89"/>
                  </a:lnTo>
                  <a:close/>
                </a:path>
              </a:pathLst>
            </a:custGeom>
            <a:solidFill>
              <a:srgbClr val="1F497D"/>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45" name="BG"/>
            <p:cNvSpPr>
              <a:spLocks noChangeAspect="1"/>
            </p:cNvSpPr>
            <p:nvPr/>
          </p:nvSpPr>
          <p:spPr bwMode="auto">
            <a:xfrm>
              <a:off x="5086897" y="4829842"/>
              <a:ext cx="347344" cy="230534"/>
            </a:xfrm>
            <a:custGeom>
              <a:avLst/>
              <a:gdLst>
                <a:gd name="T0" fmla="*/ 9 w 485"/>
                <a:gd name="T1" fmla="*/ 56 h 398"/>
                <a:gd name="T2" fmla="*/ 3 w 485"/>
                <a:gd name="T3" fmla="*/ 84 h 398"/>
                <a:gd name="T4" fmla="*/ 36 w 485"/>
                <a:gd name="T5" fmla="*/ 117 h 398"/>
                <a:gd name="T6" fmla="*/ 38 w 485"/>
                <a:gd name="T7" fmla="*/ 164 h 398"/>
                <a:gd name="T8" fmla="*/ 8 w 485"/>
                <a:gd name="T9" fmla="*/ 191 h 398"/>
                <a:gd name="T10" fmla="*/ 12 w 485"/>
                <a:gd name="T11" fmla="*/ 225 h 398"/>
                <a:gd name="T12" fmla="*/ 8 w 485"/>
                <a:gd name="T13" fmla="*/ 263 h 398"/>
                <a:gd name="T14" fmla="*/ 12 w 485"/>
                <a:gd name="T15" fmla="*/ 296 h 398"/>
                <a:gd name="T16" fmla="*/ 38 w 485"/>
                <a:gd name="T17" fmla="*/ 315 h 398"/>
                <a:gd name="T18" fmla="*/ 39 w 485"/>
                <a:gd name="T19" fmla="*/ 362 h 398"/>
                <a:gd name="T20" fmla="*/ 56 w 485"/>
                <a:gd name="T21" fmla="*/ 398 h 398"/>
                <a:gd name="T22" fmla="*/ 138 w 485"/>
                <a:gd name="T23" fmla="*/ 374 h 398"/>
                <a:gd name="T24" fmla="*/ 188 w 485"/>
                <a:gd name="T25" fmla="*/ 334 h 398"/>
                <a:gd name="T26" fmla="*/ 226 w 485"/>
                <a:gd name="T27" fmla="*/ 359 h 398"/>
                <a:gd name="T28" fmla="*/ 262 w 485"/>
                <a:gd name="T29" fmla="*/ 371 h 398"/>
                <a:gd name="T30" fmla="*/ 307 w 485"/>
                <a:gd name="T31" fmla="*/ 353 h 398"/>
                <a:gd name="T32" fmla="*/ 309 w 485"/>
                <a:gd name="T33" fmla="*/ 312 h 398"/>
                <a:gd name="T34" fmla="*/ 342 w 485"/>
                <a:gd name="T35" fmla="*/ 312 h 398"/>
                <a:gd name="T36" fmla="*/ 359 w 485"/>
                <a:gd name="T37" fmla="*/ 300 h 398"/>
                <a:gd name="T38" fmla="*/ 424 w 485"/>
                <a:gd name="T39" fmla="*/ 278 h 398"/>
                <a:gd name="T40" fmla="*/ 447 w 485"/>
                <a:gd name="T41" fmla="*/ 248 h 398"/>
                <a:gd name="T42" fmla="*/ 414 w 485"/>
                <a:gd name="T43" fmla="*/ 208 h 398"/>
                <a:gd name="T44" fmla="*/ 429 w 485"/>
                <a:gd name="T45" fmla="*/ 177 h 398"/>
                <a:gd name="T46" fmla="*/ 441 w 485"/>
                <a:gd name="T47" fmla="*/ 158 h 398"/>
                <a:gd name="T48" fmla="*/ 450 w 485"/>
                <a:gd name="T49" fmla="*/ 117 h 398"/>
                <a:gd name="T50" fmla="*/ 460 w 485"/>
                <a:gd name="T51" fmla="*/ 74 h 398"/>
                <a:gd name="T52" fmla="*/ 485 w 485"/>
                <a:gd name="T53" fmla="*/ 56 h 398"/>
                <a:gd name="T54" fmla="*/ 471 w 485"/>
                <a:gd name="T55" fmla="*/ 13 h 398"/>
                <a:gd name="T56" fmla="*/ 405 w 485"/>
                <a:gd name="T57" fmla="*/ 3 h 398"/>
                <a:gd name="T58" fmla="*/ 336 w 485"/>
                <a:gd name="T59" fmla="*/ 9 h 398"/>
                <a:gd name="T60" fmla="*/ 270 w 485"/>
                <a:gd name="T61" fmla="*/ 46 h 398"/>
                <a:gd name="T62" fmla="*/ 218 w 485"/>
                <a:gd name="T63" fmla="*/ 71 h 398"/>
                <a:gd name="T64" fmla="*/ 150 w 485"/>
                <a:gd name="T65" fmla="*/ 77 h 398"/>
                <a:gd name="T66" fmla="*/ 105 w 485"/>
                <a:gd name="T67" fmla="*/ 74 h 398"/>
                <a:gd name="T68" fmla="*/ 52 w 485"/>
                <a:gd name="T69" fmla="*/ 53 h 398"/>
                <a:gd name="T70" fmla="*/ 12 w 485"/>
                <a:gd name="T71" fmla="*/ 4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5" h="398">
                  <a:moveTo>
                    <a:pt x="12" y="47"/>
                  </a:moveTo>
                  <a:lnTo>
                    <a:pt x="9" y="56"/>
                  </a:lnTo>
                  <a:lnTo>
                    <a:pt x="0" y="66"/>
                  </a:lnTo>
                  <a:lnTo>
                    <a:pt x="3" y="84"/>
                  </a:lnTo>
                  <a:lnTo>
                    <a:pt x="17" y="114"/>
                  </a:lnTo>
                  <a:lnTo>
                    <a:pt x="36" y="117"/>
                  </a:lnTo>
                  <a:lnTo>
                    <a:pt x="39" y="130"/>
                  </a:lnTo>
                  <a:lnTo>
                    <a:pt x="38" y="164"/>
                  </a:lnTo>
                  <a:lnTo>
                    <a:pt x="31" y="174"/>
                  </a:lnTo>
                  <a:lnTo>
                    <a:pt x="8" y="191"/>
                  </a:lnTo>
                  <a:lnTo>
                    <a:pt x="5" y="199"/>
                  </a:lnTo>
                  <a:lnTo>
                    <a:pt x="12" y="225"/>
                  </a:lnTo>
                  <a:lnTo>
                    <a:pt x="14" y="245"/>
                  </a:lnTo>
                  <a:lnTo>
                    <a:pt x="8" y="263"/>
                  </a:lnTo>
                  <a:lnTo>
                    <a:pt x="0" y="278"/>
                  </a:lnTo>
                  <a:lnTo>
                    <a:pt x="12" y="296"/>
                  </a:lnTo>
                  <a:lnTo>
                    <a:pt x="22" y="293"/>
                  </a:lnTo>
                  <a:lnTo>
                    <a:pt x="38" y="315"/>
                  </a:lnTo>
                  <a:lnTo>
                    <a:pt x="39" y="334"/>
                  </a:lnTo>
                  <a:lnTo>
                    <a:pt x="39" y="362"/>
                  </a:lnTo>
                  <a:lnTo>
                    <a:pt x="38" y="374"/>
                  </a:lnTo>
                  <a:lnTo>
                    <a:pt x="56" y="398"/>
                  </a:lnTo>
                  <a:lnTo>
                    <a:pt x="94" y="390"/>
                  </a:lnTo>
                  <a:lnTo>
                    <a:pt x="138" y="374"/>
                  </a:lnTo>
                  <a:lnTo>
                    <a:pt x="171" y="352"/>
                  </a:lnTo>
                  <a:lnTo>
                    <a:pt x="188" y="334"/>
                  </a:lnTo>
                  <a:lnTo>
                    <a:pt x="209" y="367"/>
                  </a:lnTo>
                  <a:lnTo>
                    <a:pt x="226" y="359"/>
                  </a:lnTo>
                  <a:lnTo>
                    <a:pt x="248" y="367"/>
                  </a:lnTo>
                  <a:lnTo>
                    <a:pt x="262" y="371"/>
                  </a:lnTo>
                  <a:lnTo>
                    <a:pt x="290" y="359"/>
                  </a:lnTo>
                  <a:lnTo>
                    <a:pt x="307" y="353"/>
                  </a:lnTo>
                  <a:lnTo>
                    <a:pt x="307" y="337"/>
                  </a:lnTo>
                  <a:lnTo>
                    <a:pt x="309" y="312"/>
                  </a:lnTo>
                  <a:lnTo>
                    <a:pt x="323" y="303"/>
                  </a:lnTo>
                  <a:lnTo>
                    <a:pt x="342" y="312"/>
                  </a:lnTo>
                  <a:lnTo>
                    <a:pt x="345" y="322"/>
                  </a:lnTo>
                  <a:lnTo>
                    <a:pt x="359" y="300"/>
                  </a:lnTo>
                  <a:lnTo>
                    <a:pt x="394" y="282"/>
                  </a:lnTo>
                  <a:lnTo>
                    <a:pt x="424" y="278"/>
                  </a:lnTo>
                  <a:lnTo>
                    <a:pt x="452" y="278"/>
                  </a:lnTo>
                  <a:lnTo>
                    <a:pt x="447" y="248"/>
                  </a:lnTo>
                  <a:lnTo>
                    <a:pt x="443" y="232"/>
                  </a:lnTo>
                  <a:lnTo>
                    <a:pt x="414" y="208"/>
                  </a:lnTo>
                  <a:lnTo>
                    <a:pt x="413" y="201"/>
                  </a:lnTo>
                  <a:lnTo>
                    <a:pt x="429" y="177"/>
                  </a:lnTo>
                  <a:lnTo>
                    <a:pt x="446" y="172"/>
                  </a:lnTo>
                  <a:lnTo>
                    <a:pt x="441" y="158"/>
                  </a:lnTo>
                  <a:lnTo>
                    <a:pt x="450" y="133"/>
                  </a:lnTo>
                  <a:lnTo>
                    <a:pt x="450" y="117"/>
                  </a:lnTo>
                  <a:lnTo>
                    <a:pt x="455" y="87"/>
                  </a:lnTo>
                  <a:lnTo>
                    <a:pt x="460" y="74"/>
                  </a:lnTo>
                  <a:lnTo>
                    <a:pt x="476" y="77"/>
                  </a:lnTo>
                  <a:lnTo>
                    <a:pt x="485" y="56"/>
                  </a:lnTo>
                  <a:lnTo>
                    <a:pt x="476" y="37"/>
                  </a:lnTo>
                  <a:lnTo>
                    <a:pt x="471" y="13"/>
                  </a:lnTo>
                  <a:lnTo>
                    <a:pt x="460" y="16"/>
                  </a:lnTo>
                  <a:lnTo>
                    <a:pt x="405" y="3"/>
                  </a:lnTo>
                  <a:lnTo>
                    <a:pt x="370" y="0"/>
                  </a:lnTo>
                  <a:lnTo>
                    <a:pt x="336" y="9"/>
                  </a:lnTo>
                  <a:lnTo>
                    <a:pt x="305" y="24"/>
                  </a:lnTo>
                  <a:lnTo>
                    <a:pt x="270" y="46"/>
                  </a:lnTo>
                  <a:lnTo>
                    <a:pt x="243" y="68"/>
                  </a:lnTo>
                  <a:lnTo>
                    <a:pt x="218" y="71"/>
                  </a:lnTo>
                  <a:lnTo>
                    <a:pt x="183" y="64"/>
                  </a:lnTo>
                  <a:lnTo>
                    <a:pt x="150" y="77"/>
                  </a:lnTo>
                  <a:lnTo>
                    <a:pt x="129" y="83"/>
                  </a:lnTo>
                  <a:lnTo>
                    <a:pt x="105" y="74"/>
                  </a:lnTo>
                  <a:lnTo>
                    <a:pt x="71" y="59"/>
                  </a:lnTo>
                  <a:lnTo>
                    <a:pt x="52" y="53"/>
                  </a:lnTo>
                  <a:lnTo>
                    <a:pt x="25" y="47"/>
                  </a:lnTo>
                  <a:lnTo>
                    <a:pt x="12" y="47"/>
                  </a:lnTo>
                  <a:close/>
                </a:path>
              </a:pathLst>
            </a:custGeom>
            <a:solidFill>
              <a:srgbClr val="595959"/>
            </a:solidFill>
            <a:ln w="3175" cap="flat" cmpd="sng" algn="ctr">
              <a:solidFill>
                <a:sysClr val="window" lastClr="FFFFFF"/>
              </a:solidFill>
              <a:prstDash val="solid"/>
            </a:ln>
            <a:effectLst/>
            <a:extLst/>
          </p:spPr>
          <p:txBody>
            <a:bodyPr wrap="square">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46" name="BE"/>
            <p:cNvSpPr>
              <a:spLocks noChangeAspect="1"/>
            </p:cNvSpPr>
            <p:nvPr/>
          </p:nvSpPr>
          <p:spPr bwMode="auto">
            <a:xfrm>
              <a:off x="4063270" y="4250442"/>
              <a:ext cx="187856" cy="146071"/>
            </a:xfrm>
            <a:custGeom>
              <a:avLst/>
              <a:gdLst>
                <a:gd name="T0" fmla="*/ 0 w 266"/>
                <a:gd name="T1" fmla="*/ 47 h 263"/>
                <a:gd name="T2" fmla="*/ 7 w 266"/>
                <a:gd name="T3" fmla="*/ 37 h 263"/>
                <a:gd name="T4" fmla="*/ 4 w 266"/>
                <a:gd name="T5" fmla="*/ 24 h 263"/>
                <a:gd name="T6" fmla="*/ 45 w 266"/>
                <a:gd name="T7" fmla="*/ 0 h 263"/>
                <a:gd name="T8" fmla="*/ 48 w 266"/>
                <a:gd name="T9" fmla="*/ 9 h 263"/>
                <a:gd name="T10" fmla="*/ 77 w 266"/>
                <a:gd name="T11" fmla="*/ 3 h 263"/>
                <a:gd name="T12" fmla="*/ 100 w 266"/>
                <a:gd name="T13" fmla="*/ 5 h 263"/>
                <a:gd name="T14" fmla="*/ 91 w 266"/>
                <a:gd name="T15" fmla="*/ 17 h 263"/>
                <a:gd name="T16" fmla="*/ 96 w 266"/>
                <a:gd name="T17" fmla="*/ 34 h 263"/>
                <a:gd name="T18" fmla="*/ 115 w 266"/>
                <a:gd name="T19" fmla="*/ 42 h 263"/>
                <a:gd name="T20" fmla="*/ 134 w 266"/>
                <a:gd name="T21" fmla="*/ 40 h 263"/>
                <a:gd name="T22" fmla="*/ 150 w 266"/>
                <a:gd name="T23" fmla="*/ 27 h 263"/>
                <a:gd name="T24" fmla="*/ 175 w 266"/>
                <a:gd name="T25" fmla="*/ 24 h 263"/>
                <a:gd name="T26" fmla="*/ 183 w 266"/>
                <a:gd name="T27" fmla="*/ 36 h 263"/>
                <a:gd name="T28" fmla="*/ 198 w 266"/>
                <a:gd name="T29" fmla="*/ 46 h 263"/>
                <a:gd name="T30" fmla="*/ 219 w 266"/>
                <a:gd name="T31" fmla="*/ 47 h 263"/>
                <a:gd name="T32" fmla="*/ 216 w 266"/>
                <a:gd name="T33" fmla="*/ 67 h 263"/>
                <a:gd name="T34" fmla="*/ 217 w 266"/>
                <a:gd name="T35" fmla="*/ 107 h 263"/>
                <a:gd name="T36" fmla="*/ 221 w 266"/>
                <a:gd name="T37" fmla="*/ 131 h 263"/>
                <a:gd name="T38" fmla="*/ 245 w 266"/>
                <a:gd name="T39" fmla="*/ 128 h 263"/>
                <a:gd name="T40" fmla="*/ 252 w 266"/>
                <a:gd name="T41" fmla="*/ 145 h 263"/>
                <a:gd name="T42" fmla="*/ 254 w 266"/>
                <a:gd name="T43" fmla="*/ 160 h 263"/>
                <a:gd name="T44" fmla="*/ 266 w 266"/>
                <a:gd name="T45" fmla="*/ 179 h 263"/>
                <a:gd name="T46" fmla="*/ 251 w 266"/>
                <a:gd name="T47" fmla="*/ 194 h 263"/>
                <a:gd name="T48" fmla="*/ 237 w 266"/>
                <a:gd name="T49" fmla="*/ 205 h 263"/>
                <a:gd name="T50" fmla="*/ 222 w 266"/>
                <a:gd name="T51" fmla="*/ 205 h 263"/>
                <a:gd name="T52" fmla="*/ 204 w 266"/>
                <a:gd name="T53" fmla="*/ 211 h 263"/>
                <a:gd name="T54" fmla="*/ 204 w 266"/>
                <a:gd name="T55" fmla="*/ 232 h 263"/>
                <a:gd name="T56" fmla="*/ 197 w 266"/>
                <a:gd name="T57" fmla="*/ 246 h 263"/>
                <a:gd name="T58" fmla="*/ 178 w 266"/>
                <a:gd name="T59" fmla="*/ 263 h 263"/>
                <a:gd name="T60" fmla="*/ 146 w 266"/>
                <a:gd name="T61" fmla="*/ 236 h 263"/>
                <a:gd name="T62" fmla="*/ 137 w 266"/>
                <a:gd name="T63" fmla="*/ 212 h 263"/>
                <a:gd name="T64" fmla="*/ 108 w 266"/>
                <a:gd name="T65" fmla="*/ 205 h 263"/>
                <a:gd name="T66" fmla="*/ 98 w 266"/>
                <a:gd name="T67" fmla="*/ 174 h 263"/>
                <a:gd name="T68" fmla="*/ 77 w 266"/>
                <a:gd name="T69" fmla="*/ 155 h 263"/>
                <a:gd name="T70" fmla="*/ 70 w 266"/>
                <a:gd name="T71" fmla="*/ 133 h 263"/>
                <a:gd name="T72" fmla="*/ 53 w 266"/>
                <a:gd name="T73" fmla="*/ 110 h 263"/>
                <a:gd name="T74" fmla="*/ 42 w 266"/>
                <a:gd name="T75" fmla="*/ 87 h 263"/>
                <a:gd name="T76" fmla="*/ 20 w 266"/>
                <a:gd name="T77" fmla="*/ 70 h 263"/>
                <a:gd name="T78" fmla="*/ 0 w 266"/>
                <a:gd name="T79" fmla="*/ 47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6" h="263">
                  <a:moveTo>
                    <a:pt x="0" y="47"/>
                  </a:moveTo>
                  <a:lnTo>
                    <a:pt x="7" y="37"/>
                  </a:lnTo>
                  <a:lnTo>
                    <a:pt x="4" y="24"/>
                  </a:lnTo>
                  <a:lnTo>
                    <a:pt x="45" y="0"/>
                  </a:lnTo>
                  <a:lnTo>
                    <a:pt x="48" y="9"/>
                  </a:lnTo>
                  <a:lnTo>
                    <a:pt x="77" y="3"/>
                  </a:lnTo>
                  <a:lnTo>
                    <a:pt x="100" y="5"/>
                  </a:lnTo>
                  <a:lnTo>
                    <a:pt x="91" y="17"/>
                  </a:lnTo>
                  <a:lnTo>
                    <a:pt x="96" y="34"/>
                  </a:lnTo>
                  <a:lnTo>
                    <a:pt x="115" y="42"/>
                  </a:lnTo>
                  <a:lnTo>
                    <a:pt x="134" y="40"/>
                  </a:lnTo>
                  <a:lnTo>
                    <a:pt x="150" y="27"/>
                  </a:lnTo>
                  <a:lnTo>
                    <a:pt x="175" y="24"/>
                  </a:lnTo>
                  <a:lnTo>
                    <a:pt x="183" y="36"/>
                  </a:lnTo>
                  <a:lnTo>
                    <a:pt x="198" y="46"/>
                  </a:lnTo>
                  <a:lnTo>
                    <a:pt x="219" y="47"/>
                  </a:lnTo>
                  <a:lnTo>
                    <a:pt x="216" y="67"/>
                  </a:lnTo>
                  <a:lnTo>
                    <a:pt x="217" y="107"/>
                  </a:lnTo>
                  <a:lnTo>
                    <a:pt x="221" y="131"/>
                  </a:lnTo>
                  <a:lnTo>
                    <a:pt x="245" y="128"/>
                  </a:lnTo>
                  <a:lnTo>
                    <a:pt x="252" y="145"/>
                  </a:lnTo>
                  <a:lnTo>
                    <a:pt x="254" y="160"/>
                  </a:lnTo>
                  <a:lnTo>
                    <a:pt x="266" y="179"/>
                  </a:lnTo>
                  <a:lnTo>
                    <a:pt x="251" y="194"/>
                  </a:lnTo>
                  <a:lnTo>
                    <a:pt x="237" y="205"/>
                  </a:lnTo>
                  <a:lnTo>
                    <a:pt x="222" y="205"/>
                  </a:lnTo>
                  <a:lnTo>
                    <a:pt x="204" y="211"/>
                  </a:lnTo>
                  <a:lnTo>
                    <a:pt x="204" y="232"/>
                  </a:lnTo>
                  <a:lnTo>
                    <a:pt x="197" y="246"/>
                  </a:lnTo>
                  <a:lnTo>
                    <a:pt x="178" y="263"/>
                  </a:lnTo>
                  <a:lnTo>
                    <a:pt x="146" y="236"/>
                  </a:lnTo>
                  <a:lnTo>
                    <a:pt x="137" y="212"/>
                  </a:lnTo>
                  <a:lnTo>
                    <a:pt x="108" y="205"/>
                  </a:lnTo>
                  <a:lnTo>
                    <a:pt x="98" y="174"/>
                  </a:lnTo>
                  <a:lnTo>
                    <a:pt x="77" y="155"/>
                  </a:lnTo>
                  <a:lnTo>
                    <a:pt x="70" y="133"/>
                  </a:lnTo>
                  <a:lnTo>
                    <a:pt x="53" y="110"/>
                  </a:lnTo>
                  <a:lnTo>
                    <a:pt x="42" y="87"/>
                  </a:lnTo>
                  <a:lnTo>
                    <a:pt x="20" y="70"/>
                  </a:lnTo>
                  <a:lnTo>
                    <a:pt x="0" y="47"/>
                  </a:lnTo>
                  <a:close/>
                </a:path>
              </a:pathLst>
            </a:custGeom>
            <a:solidFill>
              <a:srgbClr val="1F497D"/>
            </a:solidFill>
            <a:ln w="3175" cap="flat" cmpd="sng" algn="ctr">
              <a:solidFill>
                <a:sysClr val="window" lastClr="FFFFFF"/>
              </a:solidFill>
              <a:prstDash val="soli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spcBef>
                  <a:spcPct val="50000"/>
                </a:spcBef>
                <a:defRPr/>
              </a:pPr>
              <a:endParaRPr lang="de-CH" sz="1400" kern="0" dirty="0">
                <a:solidFill>
                  <a:prstClr val="white"/>
                </a:solidFill>
                <a:latin typeface="Arial"/>
              </a:endParaRPr>
            </a:p>
          </p:txBody>
        </p:sp>
        <p:sp>
          <p:nvSpPr>
            <p:cNvPr id="147" name="LU"/>
            <p:cNvSpPr>
              <a:spLocks noChangeAspect="1"/>
            </p:cNvSpPr>
            <p:nvPr/>
          </p:nvSpPr>
          <p:spPr bwMode="auto">
            <a:xfrm>
              <a:off x="4185951" y="4363455"/>
              <a:ext cx="52907" cy="124160"/>
            </a:xfrm>
            <a:custGeom>
              <a:avLst/>
              <a:gdLst>
                <a:gd name="T0" fmla="*/ 52 w 73"/>
                <a:gd name="T1" fmla="*/ 101 h 101"/>
                <a:gd name="T2" fmla="*/ 56 w 73"/>
                <a:gd name="T3" fmla="*/ 68 h 101"/>
                <a:gd name="T4" fmla="*/ 73 w 73"/>
                <a:gd name="T5" fmla="*/ 56 h 101"/>
                <a:gd name="T6" fmla="*/ 73 w 73"/>
                <a:gd name="T7" fmla="*/ 40 h 101"/>
                <a:gd name="T8" fmla="*/ 64 w 73"/>
                <a:gd name="T9" fmla="*/ 29 h 101"/>
                <a:gd name="T10" fmla="*/ 55 w 73"/>
                <a:gd name="T11" fmla="*/ 13 h 101"/>
                <a:gd name="T12" fmla="*/ 50 w 73"/>
                <a:gd name="T13" fmla="*/ 0 h 101"/>
                <a:gd name="T14" fmla="*/ 33 w 73"/>
                <a:gd name="T15" fmla="*/ 0 h 101"/>
                <a:gd name="T16" fmla="*/ 22 w 73"/>
                <a:gd name="T17" fmla="*/ 6 h 101"/>
                <a:gd name="T18" fmla="*/ 22 w 73"/>
                <a:gd name="T19" fmla="*/ 27 h 101"/>
                <a:gd name="T20" fmla="*/ 12 w 73"/>
                <a:gd name="T21" fmla="*/ 46 h 101"/>
                <a:gd name="T22" fmla="*/ 0 w 73"/>
                <a:gd name="T23" fmla="*/ 51 h 101"/>
                <a:gd name="T24" fmla="*/ 5 w 73"/>
                <a:gd name="T25" fmla="*/ 67 h 101"/>
                <a:gd name="T26" fmla="*/ 21 w 73"/>
                <a:gd name="T27" fmla="*/ 71 h 101"/>
                <a:gd name="T28" fmla="*/ 36 w 73"/>
                <a:gd name="T29" fmla="*/ 75 h 101"/>
                <a:gd name="T30" fmla="*/ 45 w 73"/>
                <a:gd name="T31" fmla="*/ 85 h 101"/>
                <a:gd name="T32" fmla="*/ 52 w 73"/>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01">
                  <a:moveTo>
                    <a:pt x="52" y="101"/>
                  </a:moveTo>
                  <a:lnTo>
                    <a:pt x="56" y="68"/>
                  </a:lnTo>
                  <a:lnTo>
                    <a:pt x="73" y="56"/>
                  </a:lnTo>
                  <a:lnTo>
                    <a:pt x="73" y="40"/>
                  </a:lnTo>
                  <a:lnTo>
                    <a:pt x="64" y="29"/>
                  </a:lnTo>
                  <a:lnTo>
                    <a:pt x="55" y="13"/>
                  </a:lnTo>
                  <a:lnTo>
                    <a:pt x="50" y="0"/>
                  </a:lnTo>
                  <a:lnTo>
                    <a:pt x="33" y="0"/>
                  </a:lnTo>
                  <a:lnTo>
                    <a:pt x="22" y="6"/>
                  </a:lnTo>
                  <a:lnTo>
                    <a:pt x="22" y="27"/>
                  </a:lnTo>
                  <a:lnTo>
                    <a:pt x="12" y="46"/>
                  </a:lnTo>
                  <a:lnTo>
                    <a:pt x="0" y="51"/>
                  </a:lnTo>
                  <a:lnTo>
                    <a:pt x="5" y="67"/>
                  </a:lnTo>
                  <a:lnTo>
                    <a:pt x="21" y="71"/>
                  </a:lnTo>
                  <a:lnTo>
                    <a:pt x="36" y="75"/>
                  </a:lnTo>
                  <a:lnTo>
                    <a:pt x="45" y="85"/>
                  </a:lnTo>
                  <a:lnTo>
                    <a:pt x="52" y="101"/>
                  </a:lnTo>
                  <a:close/>
                </a:path>
              </a:pathLst>
            </a:custGeom>
            <a:solidFill>
              <a:srgbClr val="1F497D"/>
            </a:solidFill>
            <a:ln w="3175" cap="flat" cmpd="sng" algn="ctr">
              <a:solidFill>
                <a:sysClr val="window" lastClr="FFFFFF"/>
              </a:solidFill>
              <a:prstDash val="solid"/>
              <a:headEnd type="none" w="med" len="med"/>
              <a:tailEnd type="none" w="med" len="med"/>
            </a:ln>
            <a:effectLst/>
            <a:extLst/>
          </p:spPr>
          <p:txBody>
            <a:bodyPr wrap="square">
              <a:spAutoFit/>
            </a:bodyPr>
            <a:lstStyle/>
            <a:p>
              <a:pPr algn="ctr">
                <a:defRPr/>
              </a:pPr>
              <a:endParaRPr lang="de-CH" sz="1100" kern="0" dirty="0" smtClean="0">
                <a:solidFill>
                  <a:prstClr val="black"/>
                </a:solidFill>
              </a:endParaRPr>
            </a:p>
          </p:txBody>
        </p:sp>
        <p:sp>
          <p:nvSpPr>
            <p:cNvPr id="148" name="NL"/>
            <p:cNvSpPr>
              <a:spLocks noChangeAspect="1"/>
            </p:cNvSpPr>
            <p:nvPr/>
          </p:nvSpPr>
          <p:spPr bwMode="auto">
            <a:xfrm>
              <a:off x="4123844" y="4142701"/>
              <a:ext cx="195525" cy="183083"/>
            </a:xfrm>
            <a:custGeom>
              <a:avLst/>
              <a:gdLst>
                <a:gd name="T0" fmla="*/ 112 w 271"/>
                <a:gd name="T1" fmla="*/ 9 h 323"/>
                <a:gd name="T2" fmla="*/ 85 w 271"/>
                <a:gd name="T3" fmla="*/ 47 h 323"/>
                <a:gd name="T4" fmla="*/ 85 w 271"/>
                <a:gd name="T5" fmla="*/ 59 h 323"/>
                <a:gd name="T6" fmla="*/ 68 w 271"/>
                <a:gd name="T7" fmla="*/ 77 h 323"/>
                <a:gd name="T8" fmla="*/ 71 w 271"/>
                <a:gd name="T9" fmla="*/ 81 h 323"/>
                <a:gd name="T10" fmla="*/ 66 w 271"/>
                <a:gd name="T11" fmla="*/ 94 h 323"/>
                <a:gd name="T12" fmla="*/ 49 w 271"/>
                <a:gd name="T13" fmla="*/ 113 h 323"/>
                <a:gd name="T14" fmla="*/ 33 w 271"/>
                <a:gd name="T15" fmla="*/ 134 h 323"/>
                <a:gd name="T16" fmla="*/ 26 w 271"/>
                <a:gd name="T17" fmla="*/ 145 h 323"/>
                <a:gd name="T18" fmla="*/ 33 w 271"/>
                <a:gd name="T19" fmla="*/ 155 h 323"/>
                <a:gd name="T20" fmla="*/ 28 w 271"/>
                <a:gd name="T21" fmla="*/ 171 h 323"/>
                <a:gd name="T22" fmla="*/ 19 w 271"/>
                <a:gd name="T23" fmla="*/ 184 h 323"/>
                <a:gd name="T24" fmla="*/ 11 w 271"/>
                <a:gd name="T25" fmla="*/ 189 h 323"/>
                <a:gd name="T26" fmla="*/ 0 w 271"/>
                <a:gd name="T27" fmla="*/ 205 h 323"/>
                <a:gd name="T28" fmla="*/ 1 w 271"/>
                <a:gd name="T29" fmla="*/ 221 h 323"/>
                <a:gd name="T30" fmla="*/ 14 w 271"/>
                <a:gd name="T31" fmla="*/ 229 h 323"/>
                <a:gd name="T32" fmla="*/ 44 w 271"/>
                <a:gd name="T33" fmla="*/ 229 h 323"/>
                <a:gd name="T34" fmla="*/ 62 w 271"/>
                <a:gd name="T35" fmla="*/ 218 h 323"/>
                <a:gd name="T36" fmla="*/ 79 w 271"/>
                <a:gd name="T37" fmla="*/ 215 h 323"/>
                <a:gd name="T38" fmla="*/ 93 w 271"/>
                <a:gd name="T39" fmla="*/ 229 h 323"/>
                <a:gd name="T40" fmla="*/ 107 w 271"/>
                <a:gd name="T41" fmla="*/ 236 h 323"/>
                <a:gd name="T42" fmla="*/ 126 w 271"/>
                <a:gd name="T43" fmla="*/ 239 h 323"/>
                <a:gd name="T44" fmla="*/ 121 w 271"/>
                <a:gd name="T45" fmla="*/ 263 h 323"/>
                <a:gd name="T46" fmla="*/ 128 w 271"/>
                <a:gd name="T47" fmla="*/ 323 h 323"/>
                <a:gd name="T48" fmla="*/ 144 w 271"/>
                <a:gd name="T49" fmla="*/ 322 h 323"/>
                <a:gd name="T50" fmla="*/ 154 w 271"/>
                <a:gd name="T51" fmla="*/ 320 h 323"/>
                <a:gd name="T52" fmla="*/ 158 w 271"/>
                <a:gd name="T53" fmla="*/ 303 h 323"/>
                <a:gd name="T54" fmla="*/ 161 w 271"/>
                <a:gd name="T55" fmla="*/ 268 h 323"/>
                <a:gd name="T56" fmla="*/ 173 w 271"/>
                <a:gd name="T57" fmla="*/ 249 h 323"/>
                <a:gd name="T58" fmla="*/ 173 w 271"/>
                <a:gd name="T59" fmla="*/ 218 h 323"/>
                <a:gd name="T60" fmla="*/ 183 w 271"/>
                <a:gd name="T61" fmla="*/ 199 h 323"/>
                <a:gd name="T62" fmla="*/ 204 w 271"/>
                <a:gd name="T63" fmla="*/ 189 h 323"/>
                <a:gd name="T64" fmla="*/ 243 w 271"/>
                <a:gd name="T65" fmla="*/ 140 h 323"/>
                <a:gd name="T66" fmla="*/ 248 w 271"/>
                <a:gd name="T67" fmla="*/ 118 h 323"/>
                <a:gd name="T68" fmla="*/ 242 w 271"/>
                <a:gd name="T69" fmla="*/ 84 h 323"/>
                <a:gd name="T70" fmla="*/ 267 w 271"/>
                <a:gd name="T71" fmla="*/ 61 h 323"/>
                <a:gd name="T72" fmla="*/ 271 w 271"/>
                <a:gd name="T73" fmla="*/ 23 h 323"/>
                <a:gd name="T74" fmla="*/ 253 w 271"/>
                <a:gd name="T75" fmla="*/ 6 h 323"/>
                <a:gd name="T76" fmla="*/ 242 w 271"/>
                <a:gd name="T77" fmla="*/ 3 h 323"/>
                <a:gd name="T78" fmla="*/ 220 w 271"/>
                <a:gd name="T79" fmla="*/ 0 h 323"/>
                <a:gd name="T80" fmla="*/ 173 w 271"/>
                <a:gd name="T81" fmla="*/ 0 h 323"/>
                <a:gd name="T82" fmla="*/ 159 w 271"/>
                <a:gd name="T83" fmla="*/ 13 h 323"/>
                <a:gd name="T84" fmla="*/ 148 w 271"/>
                <a:gd name="T85" fmla="*/ 29 h 323"/>
                <a:gd name="T86" fmla="*/ 150 w 271"/>
                <a:gd name="T87" fmla="*/ 43 h 323"/>
                <a:gd name="T88" fmla="*/ 167 w 271"/>
                <a:gd name="T89" fmla="*/ 56 h 323"/>
                <a:gd name="T90" fmla="*/ 178 w 271"/>
                <a:gd name="T91" fmla="*/ 71 h 323"/>
                <a:gd name="T92" fmla="*/ 178 w 271"/>
                <a:gd name="T93" fmla="*/ 93 h 323"/>
                <a:gd name="T94" fmla="*/ 159 w 271"/>
                <a:gd name="T95" fmla="*/ 108 h 323"/>
                <a:gd name="T96" fmla="*/ 140 w 271"/>
                <a:gd name="T97" fmla="*/ 113 h 323"/>
                <a:gd name="T98" fmla="*/ 126 w 271"/>
                <a:gd name="T99" fmla="*/ 115 h 323"/>
                <a:gd name="T100" fmla="*/ 120 w 271"/>
                <a:gd name="T101" fmla="*/ 103 h 323"/>
                <a:gd name="T102" fmla="*/ 115 w 271"/>
                <a:gd name="T103" fmla="*/ 84 h 323"/>
                <a:gd name="T104" fmla="*/ 124 w 271"/>
                <a:gd name="T105" fmla="*/ 69 h 323"/>
                <a:gd name="T106" fmla="*/ 121 w 271"/>
                <a:gd name="T107" fmla="*/ 50 h 323"/>
                <a:gd name="T108" fmla="*/ 120 w 271"/>
                <a:gd name="T109" fmla="*/ 32 h 323"/>
                <a:gd name="T110" fmla="*/ 112 w 271"/>
                <a:gd name="T111" fmla="*/ 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1" h="323">
                  <a:moveTo>
                    <a:pt x="112" y="9"/>
                  </a:moveTo>
                  <a:lnTo>
                    <a:pt x="85" y="47"/>
                  </a:lnTo>
                  <a:lnTo>
                    <a:pt x="85" y="59"/>
                  </a:lnTo>
                  <a:lnTo>
                    <a:pt x="68" y="77"/>
                  </a:lnTo>
                  <a:lnTo>
                    <a:pt x="71" y="81"/>
                  </a:lnTo>
                  <a:lnTo>
                    <a:pt x="66" y="94"/>
                  </a:lnTo>
                  <a:lnTo>
                    <a:pt x="49" y="113"/>
                  </a:lnTo>
                  <a:lnTo>
                    <a:pt x="33" y="134"/>
                  </a:lnTo>
                  <a:lnTo>
                    <a:pt x="26" y="145"/>
                  </a:lnTo>
                  <a:lnTo>
                    <a:pt x="33" y="155"/>
                  </a:lnTo>
                  <a:lnTo>
                    <a:pt x="28" y="171"/>
                  </a:lnTo>
                  <a:lnTo>
                    <a:pt x="19" y="184"/>
                  </a:lnTo>
                  <a:lnTo>
                    <a:pt x="11" y="189"/>
                  </a:lnTo>
                  <a:lnTo>
                    <a:pt x="0" y="205"/>
                  </a:lnTo>
                  <a:lnTo>
                    <a:pt x="1" y="221"/>
                  </a:lnTo>
                  <a:lnTo>
                    <a:pt x="14" y="229"/>
                  </a:lnTo>
                  <a:lnTo>
                    <a:pt x="44" y="229"/>
                  </a:lnTo>
                  <a:lnTo>
                    <a:pt x="62" y="218"/>
                  </a:lnTo>
                  <a:lnTo>
                    <a:pt x="79" y="215"/>
                  </a:lnTo>
                  <a:lnTo>
                    <a:pt x="93" y="229"/>
                  </a:lnTo>
                  <a:lnTo>
                    <a:pt x="107" y="236"/>
                  </a:lnTo>
                  <a:lnTo>
                    <a:pt x="126" y="239"/>
                  </a:lnTo>
                  <a:lnTo>
                    <a:pt x="121" y="263"/>
                  </a:lnTo>
                  <a:lnTo>
                    <a:pt x="128" y="323"/>
                  </a:lnTo>
                  <a:lnTo>
                    <a:pt x="144" y="322"/>
                  </a:lnTo>
                  <a:lnTo>
                    <a:pt x="154" y="320"/>
                  </a:lnTo>
                  <a:lnTo>
                    <a:pt x="158" y="303"/>
                  </a:lnTo>
                  <a:lnTo>
                    <a:pt x="161" y="268"/>
                  </a:lnTo>
                  <a:lnTo>
                    <a:pt x="173" y="249"/>
                  </a:lnTo>
                  <a:lnTo>
                    <a:pt x="173" y="218"/>
                  </a:lnTo>
                  <a:lnTo>
                    <a:pt x="183" y="199"/>
                  </a:lnTo>
                  <a:lnTo>
                    <a:pt x="204" y="189"/>
                  </a:lnTo>
                  <a:lnTo>
                    <a:pt x="243" y="140"/>
                  </a:lnTo>
                  <a:lnTo>
                    <a:pt x="248" y="118"/>
                  </a:lnTo>
                  <a:lnTo>
                    <a:pt x="242" y="84"/>
                  </a:lnTo>
                  <a:lnTo>
                    <a:pt x="267" y="61"/>
                  </a:lnTo>
                  <a:lnTo>
                    <a:pt x="271" y="23"/>
                  </a:lnTo>
                  <a:lnTo>
                    <a:pt x="253" y="6"/>
                  </a:lnTo>
                  <a:lnTo>
                    <a:pt x="242" y="3"/>
                  </a:lnTo>
                  <a:lnTo>
                    <a:pt x="220" y="0"/>
                  </a:lnTo>
                  <a:lnTo>
                    <a:pt x="173" y="0"/>
                  </a:lnTo>
                  <a:lnTo>
                    <a:pt x="159" y="13"/>
                  </a:lnTo>
                  <a:lnTo>
                    <a:pt x="148" y="29"/>
                  </a:lnTo>
                  <a:lnTo>
                    <a:pt x="150" y="43"/>
                  </a:lnTo>
                  <a:lnTo>
                    <a:pt x="167" y="56"/>
                  </a:lnTo>
                  <a:lnTo>
                    <a:pt x="178" y="71"/>
                  </a:lnTo>
                  <a:lnTo>
                    <a:pt x="178" y="93"/>
                  </a:lnTo>
                  <a:lnTo>
                    <a:pt x="159" y="108"/>
                  </a:lnTo>
                  <a:lnTo>
                    <a:pt x="140" y="113"/>
                  </a:lnTo>
                  <a:lnTo>
                    <a:pt x="126" y="115"/>
                  </a:lnTo>
                  <a:lnTo>
                    <a:pt x="120" y="103"/>
                  </a:lnTo>
                  <a:lnTo>
                    <a:pt x="115" y="84"/>
                  </a:lnTo>
                  <a:lnTo>
                    <a:pt x="124" y="69"/>
                  </a:lnTo>
                  <a:lnTo>
                    <a:pt x="121" y="50"/>
                  </a:lnTo>
                  <a:lnTo>
                    <a:pt x="120" y="32"/>
                  </a:lnTo>
                  <a:lnTo>
                    <a:pt x="112" y="9"/>
                  </a:lnTo>
                  <a:close/>
                </a:path>
              </a:pathLst>
            </a:custGeom>
            <a:solidFill>
              <a:srgbClr val="1F497D"/>
            </a:solidFill>
            <a:ln w="3175" cap="flat" cmpd="sng" algn="ctr">
              <a:solidFill>
                <a:sysClr val="window" lastClr="FFFFFF"/>
              </a:solidFill>
              <a:prstDash val="solid"/>
              <a:headEnd type="none" w="med" len="med"/>
              <a:tailEnd type="none" w="med" len="med"/>
            </a:ln>
            <a:effec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49" name="CZ"/>
            <p:cNvSpPr>
              <a:spLocks/>
            </p:cNvSpPr>
            <p:nvPr/>
          </p:nvSpPr>
          <p:spPr bwMode="auto">
            <a:xfrm>
              <a:off x="4523328" y="4362865"/>
              <a:ext cx="367279" cy="174701"/>
            </a:xfrm>
            <a:custGeom>
              <a:avLst/>
              <a:gdLst>
                <a:gd name="T0" fmla="*/ 126 w 510"/>
                <a:gd name="T1" fmla="*/ 298 h 311"/>
                <a:gd name="T2" fmla="*/ 122 w 510"/>
                <a:gd name="T3" fmla="*/ 281 h 311"/>
                <a:gd name="T4" fmla="*/ 106 w 510"/>
                <a:gd name="T5" fmla="*/ 271 h 311"/>
                <a:gd name="T6" fmla="*/ 46 w 510"/>
                <a:gd name="T7" fmla="*/ 210 h 311"/>
                <a:gd name="T8" fmla="*/ 42 w 510"/>
                <a:gd name="T9" fmla="*/ 179 h 311"/>
                <a:gd name="T10" fmla="*/ 16 w 510"/>
                <a:gd name="T11" fmla="*/ 175 h 311"/>
                <a:gd name="T12" fmla="*/ 17 w 510"/>
                <a:gd name="T13" fmla="*/ 145 h 311"/>
                <a:gd name="T14" fmla="*/ 8 w 510"/>
                <a:gd name="T15" fmla="*/ 116 h 311"/>
                <a:gd name="T16" fmla="*/ 0 w 510"/>
                <a:gd name="T17" fmla="*/ 101 h 311"/>
                <a:gd name="T18" fmla="*/ 6 w 510"/>
                <a:gd name="T19" fmla="*/ 83 h 311"/>
                <a:gd name="T20" fmla="*/ 24 w 510"/>
                <a:gd name="T21" fmla="*/ 83 h 311"/>
                <a:gd name="T22" fmla="*/ 57 w 510"/>
                <a:gd name="T23" fmla="*/ 75 h 311"/>
                <a:gd name="T24" fmla="*/ 160 w 510"/>
                <a:gd name="T25" fmla="*/ 15 h 311"/>
                <a:gd name="T26" fmla="*/ 182 w 510"/>
                <a:gd name="T27" fmla="*/ 0 h 311"/>
                <a:gd name="T28" fmla="*/ 195 w 510"/>
                <a:gd name="T29" fmla="*/ 18 h 311"/>
                <a:gd name="T30" fmla="*/ 217 w 510"/>
                <a:gd name="T31" fmla="*/ 8 h 311"/>
                <a:gd name="T32" fmla="*/ 237 w 510"/>
                <a:gd name="T33" fmla="*/ 10 h 311"/>
                <a:gd name="T34" fmla="*/ 250 w 510"/>
                <a:gd name="T35" fmla="*/ 19 h 311"/>
                <a:gd name="T36" fmla="*/ 250 w 510"/>
                <a:gd name="T37" fmla="*/ 47 h 311"/>
                <a:gd name="T38" fmla="*/ 287 w 510"/>
                <a:gd name="T39" fmla="*/ 74 h 311"/>
                <a:gd name="T40" fmla="*/ 289 w 510"/>
                <a:gd name="T41" fmla="*/ 92 h 311"/>
                <a:gd name="T42" fmla="*/ 303 w 510"/>
                <a:gd name="T43" fmla="*/ 113 h 311"/>
                <a:gd name="T44" fmla="*/ 313 w 510"/>
                <a:gd name="T45" fmla="*/ 122 h 311"/>
                <a:gd name="T46" fmla="*/ 320 w 510"/>
                <a:gd name="T47" fmla="*/ 113 h 311"/>
                <a:gd name="T48" fmla="*/ 346 w 510"/>
                <a:gd name="T49" fmla="*/ 98 h 311"/>
                <a:gd name="T50" fmla="*/ 358 w 510"/>
                <a:gd name="T51" fmla="*/ 101 h 311"/>
                <a:gd name="T52" fmla="*/ 390 w 510"/>
                <a:gd name="T53" fmla="*/ 142 h 311"/>
                <a:gd name="T54" fmla="*/ 398 w 510"/>
                <a:gd name="T55" fmla="*/ 140 h 311"/>
                <a:gd name="T56" fmla="*/ 432 w 510"/>
                <a:gd name="T57" fmla="*/ 163 h 311"/>
                <a:gd name="T58" fmla="*/ 483 w 510"/>
                <a:gd name="T59" fmla="*/ 160 h 311"/>
                <a:gd name="T60" fmla="*/ 510 w 510"/>
                <a:gd name="T61" fmla="*/ 179 h 311"/>
                <a:gd name="T62" fmla="*/ 454 w 510"/>
                <a:gd name="T63" fmla="*/ 213 h 311"/>
                <a:gd name="T64" fmla="*/ 451 w 510"/>
                <a:gd name="T65" fmla="*/ 256 h 311"/>
                <a:gd name="T66" fmla="*/ 417 w 510"/>
                <a:gd name="T67" fmla="*/ 291 h 311"/>
                <a:gd name="T68" fmla="*/ 380 w 510"/>
                <a:gd name="T69" fmla="*/ 290 h 311"/>
                <a:gd name="T70" fmla="*/ 360 w 510"/>
                <a:gd name="T71" fmla="*/ 300 h 311"/>
                <a:gd name="T72" fmla="*/ 335 w 510"/>
                <a:gd name="T73" fmla="*/ 311 h 311"/>
                <a:gd name="T74" fmla="*/ 303 w 510"/>
                <a:gd name="T75" fmla="*/ 288 h 311"/>
                <a:gd name="T76" fmla="*/ 283 w 510"/>
                <a:gd name="T77" fmla="*/ 300 h 311"/>
                <a:gd name="T78" fmla="*/ 265 w 510"/>
                <a:gd name="T79" fmla="*/ 304 h 311"/>
                <a:gd name="T80" fmla="*/ 250 w 510"/>
                <a:gd name="T81" fmla="*/ 277 h 311"/>
                <a:gd name="T82" fmla="*/ 206 w 510"/>
                <a:gd name="T83" fmla="*/ 278 h 311"/>
                <a:gd name="T84" fmla="*/ 192 w 510"/>
                <a:gd name="T85" fmla="*/ 290 h 311"/>
                <a:gd name="T86" fmla="*/ 182 w 510"/>
                <a:gd name="T87" fmla="*/ 301 h 311"/>
                <a:gd name="T88" fmla="*/ 163 w 510"/>
                <a:gd name="T89" fmla="*/ 301 h 311"/>
                <a:gd name="T90" fmla="*/ 142 w 510"/>
                <a:gd name="T91" fmla="*/ 305 h 311"/>
                <a:gd name="T92" fmla="*/ 126 w 510"/>
                <a:gd name="T93" fmla="*/ 298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311">
                  <a:moveTo>
                    <a:pt x="126" y="298"/>
                  </a:moveTo>
                  <a:lnTo>
                    <a:pt x="122" y="281"/>
                  </a:lnTo>
                  <a:lnTo>
                    <a:pt x="106" y="271"/>
                  </a:lnTo>
                  <a:lnTo>
                    <a:pt x="46" y="210"/>
                  </a:lnTo>
                  <a:lnTo>
                    <a:pt x="42" y="179"/>
                  </a:lnTo>
                  <a:lnTo>
                    <a:pt x="16" y="175"/>
                  </a:lnTo>
                  <a:lnTo>
                    <a:pt x="17" y="145"/>
                  </a:lnTo>
                  <a:lnTo>
                    <a:pt x="8" y="116"/>
                  </a:lnTo>
                  <a:lnTo>
                    <a:pt x="0" y="101"/>
                  </a:lnTo>
                  <a:lnTo>
                    <a:pt x="6" y="83"/>
                  </a:lnTo>
                  <a:lnTo>
                    <a:pt x="24" y="83"/>
                  </a:lnTo>
                  <a:lnTo>
                    <a:pt x="57" y="75"/>
                  </a:lnTo>
                  <a:lnTo>
                    <a:pt x="160" y="15"/>
                  </a:lnTo>
                  <a:lnTo>
                    <a:pt x="182" y="0"/>
                  </a:lnTo>
                  <a:lnTo>
                    <a:pt x="195" y="18"/>
                  </a:lnTo>
                  <a:lnTo>
                    <a:pt x="217" y="8"/>
                  </a:lnTo>
                  <a:lnTo>
                    <a:pt x="237" y="10"/>
                  </a:lnTo>
                  <a:lnTo>
                    <a:pt x="250" y="19"/>
                  </a:lnTo>
                  <a:lnTo>
                    <a:pt x="250" y="47"/>
                  </a:lnTo>
                  <a:lnTo>
                    <a:pt x="287" y="74"/>
                  </a:lnTo>
                  <a:lnTo>
                    <a:pt x="289" y="92"/>
                  </a:lnTo>
                  <a:lnTo>
                    <a:pt x="303" y="113"/>
                  </a:lnTo>
                  <a:lnTo>
                    <a:pt x="313" y="122"/>
                  </a:lnTo>
                  <a:lnTo>
                    <a:pt x="320" y="113"/>
                  </a:lnTo>
                  <a:lnTo>
                    <a:pt x="346" y="98"/>
                  </a:lnTo>
                  <a:lnTo>
                    <a:pt x="358" y="101"/>
                  </a:lnTo>
                  <a:lnTo>
                    <a:pt x="390" y="142"/>
                  </a:lnTo>
                  <a:lnTo>
                    <a:pt x="398" y="140"/>
                  </a:lnTo>
                  <a:lnTo>
                    <a:pt x="432" y="163"/>
                  </a:lnTo>
                  <a:lnTo>
                    <a:pt x="483" y="160"/>
                  </a:lnTo>
                  <a:lnTo>
                    <a:pt x="510" y="179"/>
                  </a:lnTo>
                  <a:lnTo>
                    <a:pt x="454" y="213"/>
                  </a:lnTo>
                  <a:lnTo>
                    <a:pt x="451" y="256"/>
                  </a:lnTo>
                  <a:lnTo>
                    <a:pt x="417" y="291"/>
                  </a:lnTo>
                  <a:lnTo>
                    <a:pt x="380" y="290"/>
                  </a:lnTo>
                  <a:lnTo>
                    <a:pt x="360" y="300"/>
                  </a:lnTo>
                  <a:lnTo>
                    <a:pt x="335" y="311"/>
                  </a:lnTo>
                  <a:lnTo>
                    <a:pt x="303" y="288"/>
                  </a:lnTo>
                  <a:lnTo>
                    <a:pt x="283" y="300"/>
                  </a:lnTo>
                  <a:lnTo>
                    <a:pt x="265" y="304"/>
                  </a:lnTo>
                  <a:lnTo>
                    <a:pt x="250" y="277"/>
                  </a:lnTo>
                  <a:lnTo>
                    <a:pt x="206" y="278"/>
                  </a:lnTo>
                  <a:lnTo>
                    <a:pt x="192" y="290"/>
                  </a:lnTo>
                  <a:lnTo>
                    <a:pt x="182" y="301"/>
                  </a:lnTo>
                  <a:lnTo>
                    <a:pt x="163" y="301"/>
                  </a:lnTo>
                  <a:lnTo>
                    <a:pt x="142" y="305"/>
                  </a:lnTo>
                  <a:lnTo>
                    <a:pt x="126" y="298"/>
                  </a:lnTo>
                  <a:close/>
                </a:path>
              </a:pathLst>
            </a:custGeom>
            <a:solidFill>
              <a:srgbClr val="1F497D"/>
            </a:solidFill>
            <a:ln w="3175" cap="flat" cmpd="sng" algn="ctr">
              <a:solidFill>
                <a:sysClr val="window" lastClr="FFFFFF"/>
              </a:solidFill>
              <a:prstDash val="soli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spcBef>
                  <a:spcPct val="50000"/>
                </a:spcBef>
                <a:defRPr/>
              </a:pPr>
              <a:endParaRPr lang="de-CH" sz="1400" kern="0" dirty="0">
                <a:solidFill>
                  <a:prstClr val="white"/>
                </a:solidFill>
                <a:latin typeface="Arial"/>
              </a:endParaRPr>
            </a:p>
          </p:txBody>
        </p:sp>
        <p:sp>
          <p:nvSpPr>
            <p:cNvPr id="150" name="HR" descr="80%"/>
            <p:cNvSpPr>
              <a:spLocks noChangeAspect="1"/>
            </p:cNvSpPr>
            <p:nvPr/>
          </p:nvSpPr>
          <p:spPr bwMode="auto">
            <a:xfrm>
              <a:off x="4560899" y="4688936"/>
              <a:ext cx="329707" cy="287056"/>
            </a:xfrm>
            <a:custGeom>
              <a:avLst/>
              <a:gdLst>
                <a:gd name="T0" fmla="*/ 9 w 460"/>
                <a:gd name="T1" fmla="*/ 145 h 506"/>
                <a:gd name="T2" fmla="*/ 28 w 460"/>
                <a:gd name="T3" fmla="*/ 185 h 506"/>
                <a:gd name="T4" fmla="*/ 52 w 460"/>
                <a:gd name="T5" fmla="*/ 179 h 506"/>
                <a:gd name="T6" fmla="*/ 71 w 460"/>
                <a:gd name="T7" fmla="*/ 139 h 506"/>
                <a:gd name="T8" fmla="*/ 104 w 460"/>
                <a:gd name="T9" fmla="*/ 158 h 506"/>
                <a:gd name="T10" fmla="*/ 113 w 460"/>
                <a:gd name="T11" fmla="*/ 192 h 506"/>
                <a:gd name="T12" fmla="*/ 129 w 460"/>
                <a:gd name="T13" fmla="*/ 237 h 506"/>
                <a:gd name="T14" fmla="*/ 146 w 460"/>
                <a:gd name="T15" fmla="*/ 269 h 506"/>
                <a:gd name="T16" fmla="*/ 134 w 460"/>
                <a:gd name="T17" fmla="*/ 283 h 506"/>
                <a:gd name="T18" fmla="*/ 204 w 460"/>
                <a:gd name="T19" fmla="*/ 370 h 506"/>
                <a:gd name="T20" fmla="*/ 237 w 460"/>
                <a:gd name="T21" fmla="*/ 374 h 506"/>
                <a:gd name="T22" fmla="*/ 289 w 460"/>
                <a:gd name="T23" fmla="*/ 414 h 506"/>
                <a:gd name="T24" fmla="*/ 303 w 460"/>
                <a:gd name="T25" fmla="*/ 445 h 506"/>
                <a:gd name="T26" fmla="*/ 317 w 460"/>
                <a:gd name="T27" fmla="*/ 444 h 506"/>
                <a:gd name="T28" fmla="*/ 347 w 460"/>
                <a:gd name="T29" fmla="*/ 462 h 506"/>
                <a:gd name="T30" fmla="*/ 367 w 460"/>
                <a:gd name="T31" fmla="*/ 461 h 506"/>
                <a:gd name="T32" fmla="*/ 366 w 460"/>
                <a:gd name="T33" fmla="*/ 428 h 506"/>
                <a:gd name="T34" fmla="*/ 343 w 460"/>
                <a:gd name="T35" fmla="*/ 391 h 506"/>
                <a:gd name="T36" fmla="*/ 289 w 460"/>
                <a:gd name="T37" fmla="*/ 330 h 506"/>
                <a:gd name="T38" fmla="*/ 270 w 460"/>
                <a:gd name="T39" fmla="*/ 324 h 506"/>
                <a:gd name="T40" fmla="*/ 251 w 460"/>
                <a:gd name="T41" fmla="*/ 309 h 506"/>
                <a:gd name="T42" fmla="*/ 237 w 460"/>
                <a:gd name="T43" fmla="*/ 280 h 506"/>
                <a:gd name="T44" fmla="*/ 214 w 460"/>
                <a:gd name="T45" fmla="*/ 235 h 506"/>
                <a:gd name="T46" fmla="*/ 174 w 460"/>
                <a:gd name="T47" fmla="*/ 179 h 506"/>
                <a:gd name="T48" fmla="*/ 195 w 460"/>
                <a:gd name="T49" fmla="*/ 169 h 506"/>
                <a:gd name="T50" fmla="*/ 281 w 460"/>
                <a:gd name="T51" fmla="*/ 145 h 506"/>
                <a:gd name="T52" fmla="*/ 322 w 460"/>
                <a:gd name="T53" fmla="*/ 173 h 506"/>
                <a:gd name="T54" fmla="*/ 338 w 460"/>
                <a:gd name="T55" fmla="*/ 173 h 506"/>
                <a:gd name="T56" fmla="*/ 374 w 460"/>
                <a:gd name="T57" fmla="*/ 176 h 506"/>
                <a:gd name="T58" fmla="*/ 421 w 460"/>
                <a:gd name="T59" fmla="*/ 173 h 506"/>
                <a:gd name="T60" fmla="*/ 451 w 460"/>
                <a:gd name="T61" fmla="*/ 192 h 506"/>
                <a:gd name="T62" fmla="*/ 460 w 460"/>
                <a:gd name="T63" fmla="*/ 158 h 506"/>
                <a:gd name="T64" fmla="*/ 436 w 460"/>
                <a:gd name="T65" fmla="*/ 129 h 506"/>
                <a:gd name="T66" fmla="*/ 434 w 460"/>
                <a:gd name="T67" fmla="*/ 98 h 506"/>
                <a:gd name="T68" fmla="*/ 415 w 460"/>
                <a:gd name="T69" fmla="*/ 77 h 506"/>
                <a:gd name="T70" fmla="*/ 395 w 460"/>
                <a:gd name="T71" fmla="*/ 82 h 506"/>
                <a:gd name="T72" fmla="*/ 371 w 460"/>
                <a:gd name="T73" fmla="*/ 92 h 506"/>
                <a:gd name="T74" fmla="*/ 336 w 460"/>
                <a:gd name="T75" fmla="*/ 61 h 506"/>
                <a:gd name="T76" fmla="*/ 305 w 460"/>
                <a:gd name="T77" fmla="*/ 47 h 506"/>
                <a:gd name="T78" fmla="*/ 251 w 460"/>
                <a:gd name="T79" fmla="*/ 0 h 506"/>
                <a:gd name="T80" fmla="*/ 199 w 460"/>
                <a:gd name="T81" fmla="*/ 34 h 506"/>
                <a:gd name="T82" fmla="*/ 184 w 460"/>
                <a:gd name="T83" fmla="*/ 64 h 506"/>
                <a:gd name="T84" fmla="*/ 101 w 460"/>
                <a:gd name="T85" fmla="*/ 114 h 506"/>
                <a:gd name="T86" fmla="*/ 52 w 460"/>
                <a:gd name="T87" fmla="*/ 114 h 506"/>
                <a:gd name="T88" fmla="*/ 0 w 460"/>
                <a:gd name="T89" fmla="*/ 114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0" h="506">
                  <a:moveTo>
                    <a:pt x="0" y="114"/>
                  </a:moveTo>
                  <a:lnTo>
                    <a:pt x="9" y="145"/>
                  </a:lnTo>
                  <a:lnTo>
                    <a:pt x="19" y="169"/>
                  </a:lnTo>
                  <a:lnTo>
                    <a:pt x="28" y="185"/>
                  </a:lnTo>
                  <a:lnTo>
                    <a:pt x="39" y="188"/>
                  </a:lnTo>
                  <a:lnTo>
                    <a:pt x="52" y="179"/>
                  </a:lnTo>
                  <a:lnTo>
                    <a:pt x="58" y="163"/>
                  </a:lnTo>
                  <a:lnTo>
                    <a:pt x="71" y="139"/>
                  </a:lnTo>
                  <a:lnTo>
                    <a:pt x="87" y="154"/>
                  </a:lnTo>
                  <a:lnTo>
                    <a:pt x="104" y="158"/>
                  </a:lnTo>
                  <a:lnTo>
                    <a:pt x="115" y="166"/>
                  </a:lnTo>
                  <a:lnTo>
                    <a:pt x="113" y="192"/>
                  </a:lnTo>
                  <a:lnTo>
                    <a:pt x="113" y="209"/>
                  </a:lnTo>
                  <a:lnTo>
                    <a:pt x="129" y="237"/>
                  </a:lnTo>
                  <a:lnTo>
                    <a:pt x="148" y="262"/>
                  </a:lnTo>
                  <a:lnTo>
                    <a:pt x="146" y="269"/>
                  </a:lnTo>
                  <a:lnTo>
                    <a:pt x="124" y="269"/>
                  </a:lnTo>
                  <a:lnTo>
                    <a:pt x="134" y="283"/>
                  </a:lnTo>
                  <a:lnTo>
                    <a:pt x="198" y="364"/>
                  </a:lnTo>
                  <a:lnTo>
                    <a:pt x="204" y="370"/>
                  </a:lnTo>
                  <a:lnTo>
                    <a:pt x="223" y="370"/>
                  </a:lnTo>
                  <a:lnTo>
                    <a:pt x="237" y="374"/>
                  </a:lnTo>
                  <a:lnTo>
                    <a:pt x="265" y="388"/>
                  </a:lnTo>
                  <a:lnTo>
                    <a:pt x="289" y="414"/>
                  </a:lnTo>
                  <a:lnTo>
                    <a:pt x="294" y="425"/>
                  </a:lnTo>
                  <a:lnTo>
                    <a:pt x="303" y="445"/>
                  </a:lnTo>
                  <a:lnTo>
                    <a:pt x="310" y="444"/>
                  </a:lnTo>
                  <a:lnTo>
                    <a:pt x="317" y="444"/>
                  </a:lnTo>
                  <a:lnTo>
                    <a:pt x="336" y="452"/>
                  </a:lnTo>
                  <a:lnTo>
                    <a:pt x="347" y="462"/>
                  </a:lnTo>
                  <a:lnTo>
                    <a:pt x="383" y="506"/>
                  </a:lnTo>
                  <a:lnTo>
                    <a:pt x="367" y="461"/>
                  </a:lnTo>
                  <a:lnTo>
                    <a:pt x="358" y="444"/>
                  </a:lnTo>
                  <a:lnTo>
                    <a:pt x="366" y="428"/>
                  </a:lnTo>
                  <a:lnTo>
                    <a:pt x="361" y="414"/>
                  </a:lnTo>
                  <a:lnTo>
                    <a:pt x="343" y="391"/>
                  </a:lnTo>
                  <a:lnTo>
                    <a:pt x="310" y="348"/>
                  </a:lnTo>
                  <a:lnTo>
                    <a:pt x="289" y="330"/>
                  </a:lnTo>
                  <a:lnTo>
                    <a:pt x="281" y="321"/>
                  </a:lnTo>
                  <a:lnTo>
                    <a:pt x="270" y="324"/>
                  </a:lnTo>
                  <a:lnTo>
                    <a:pt x="253" y="309"/>
                  </a:lnTo>
                  <a:lnTo>
                    <a:pt x="251" y="309"/>
                  </a:lnTo>
                  <a:lnTo>
                    <a:pt x="242" y="299"/>
                  </a:lnTo>
                  <a:lnTo>
                    <a:pt x="237" y="280"/>
                  </a:lnTo>
                  <a:lnTo>
                    <a:pt x="232" y="262"/>
                  </a:lnTo>
                  <a:lnTo>
                    <a:pt x="214" y="235"/>
                  </a:lnTo>
                  <a:lnTo>
                    <a:pt x="176" y="191"/>
                  </a:lnTo>
                  <a:lnTo>
                    <a:pt x="174" y="179"/>
                  </a:lnTo>
                  <a:lnTo>
                    <a:pt x="176" y="173"/>
                  </a:lnTo>
                  <a:lnTo>
                    <a:pt x="195" y="169"/>
                  </a:lnTo>
                  <a:lnTo>
                    <a:pt x="247" y="188"/>
                  </a:lnTo>
                  <a:lnTo>
                    <a:pt x="281" y="145"/>
                  </a:lnTo>
                  <a:lnTo>
                    <a:pt x="310" y="172"/>
                  </a:lnTo>
                  <a:lnTo>
                    <a:pt x="322" y="173"/>
                  </a:lnTo>
                  <a:lnTo>
                    <a:pt x="328" y="185"/>
                  </a:lnTo>
                  <a:lnTo>
                    <a:pt x="338" y="173"/>
                  </a:lnTo>
                  <a:lnTo>
                    <a:pt x="357" y="173"/>
                  </a:lnTo>
                  <a:lnTo>
                    <a:pt x="374" y="176"/>
                  </a:lnTo>
                  <a:lnTo>
                    <a:pt x="396" y="163"/>
                  </a:lnTo>
                  <a:lnTo>
                    <a:pt x="421" y="173"/>
                  </a:lnTo>
                  <a:lnTo>
                    <a:pt x="434" y="188"/>
                  </a:lnTo>
                  <a:lnTo>
                    <a:pt x="451" y="192"/>
                  </a:lnTo>
                  <a:lnTo>
                    <a:pt x="452" y="179"/>
                  </a:lnTo>
                  <a:lnTo>
                    <a:pt x="460" y="158"/>
                  </a:lnTo>
                  <a:lnTo>
                    <a:pt x="451" y="148"/>
                  </a:lnTo>
                  <a:lnTo>
                    <a:pt x="436" y="129"/>
                  </a:lnTo>
                  <a:lnTo>
                    <a:pt x="434" y="111"/>
                  </a:lnTo>
                  <a:lnTo>
                    <a:pt x="434" y="98"/>
                  </a:lnTo>
                  <a:lnTo>
                    <a:pt x="436" y="82"/>
                  </a:lnTo>
                  <a:lnTo>
                    <a:pt x="415" y="77"/>
                  </a:lnTo>
                  <a:lnTo>
                    <a:pt x="405" y="74"/>
                  </a:lnTo>
                  <a:lnTo>
                    <a:pt x="395" y="82"/>
                  </a:lnTo>
                  <a:lnTo>
                    <a:pt x="383" y="92"/>
                  </a:lnTo>
                  <a:lnTo>
                    <a:pt x="371" y="92"/>
                  </a:lnTo>
                  <a:lnTo>
                    <a:pt x="352" y="71"/>
                  </a:lnTo>
                  <a:lnTo>
                    <a:pt x="336" y="61"/>
                  </a:lnTo>
                  <a:lnTo>
                    <a:pt x="319" y="64"/>
                  </a:lnTo>
                  <a:lnTo>
                    <a:pt x="305" y="47"/>
                  </a:lnTo>
                  <a:lnTo>
                    <a:pt x="267" y="3"/>
                  </a:lnTo>
                  <a:lnTo>
                    <a:pt x="251" y="0"/>
                  </a:lnTo>
                  <a:lnTo>
                    <a:pt x="226" y="37"/>
                  </a:lnTo>
                  <a:lnTo>
                    <a:pt x="199" y="34"/>
                  </a:lnTo>
                  <a:lnTo>
                    <a:pt x="188" y="47"/>
                  </a:lnTo>
                  <a:lnTo>
                    <a:pt x="184" y="64"/>
                  </a:lnTo>
                  <a:lnTo>
                    <a:pt x="134" y="124"/>
                  </a:lnTo>
                  <a:lnTo>
                    <a:pt x="101" y="114"/>
                  </a:lnTo>
                  <a:lnTo>
                    <a:pt x="68" y="105"/>
                  </a:lnTo>
                  <a:lnTo>
                    <a:pt x="52" y="114"/>
                  </a:lnTo>
                  <a:lnTo>
                    <a:pt x="30" y="124"/>
                  </a:lnTo>
                  <a:lnTo>
                    <a:pt x="0" y="114"/>
                  </a:lnTo>
                  <a:close/>
                </a:path>
              </a:pathLst>
            </a:custGeom>
            <a:solidFill>
              <a:schemeClr val="accent1">
                <a:lumMod val="75000"/>
              </a:schemeClr>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nvGrpSpPr>
            <p:cNvPr id="151" name="FR"/>
            <p:cNvGrpSpPr>
              <a:grpSpLocks/>
            </p:cNvGrpSpPr>
            <p:nvPr/>
          </p:nvGrpSpPr>
          <p:grpSpPr bwMode="auto">
            <a:xfrm>
              <a:off x="3630050" y="4275455"/>
              <a:ext cx="693921" cy="727059"/>
              <a:chOff x="1095378" y="3963090"/>
              <a:chExt cx="659" cy="793"/>
            </a:xfrm>
            <a:solidFill>
              <a:srgbClr val="1F497D"/>
            </a:solidFill>
            <a:effectLst/>
          </p:grpSpPr>
          <p:sp>
            <p:nvSpPr>
              <p:cNvPr id="227" name="Freeform 226"/>
              <p:cNvSpPr>
                <a:spLocks noChangeAspect="1"/>
              </p:cNvSpPr>
              <p:nvPr/>
            </p:nvSpPr>
            <p:spPr bwMode="auto">
              <a:xfrm>
                <a:off x="1095980" y="3963778"/>
                <a:ext cx="57" cy="105"/>
              </a:xfrm>
              <a:custGeom>
                <a:avLst/>
                <a:gdLst>
                  <a:gd name="T0" fmla="*/ 85 w 85"/>
                  <a:gd name="T1" fmla="*/ 0 h 172"/>
                  <a:gd name="T2" fmla="*/ 57 w 85"/>
                  <a:gd name="T3" fmla="*/ 37 h 172"/>
                  <a:gd name="T4" fmla="*/ 24 w 85"/>
                  <a:gd name="T5" fmla="*/ 37 h 172"/>
                  <a:gd name="T6" fmla="*/ 0 w 85"/>
                  <a:gd name="T7" fmla="*/ 58 h 172"/>
                  <a:gd name="T8" fmla="*/ 5 w 85"/>
                  <a:gd name="T9" fmla="*/ 86 h 172"/>
                  <a:gd name="T10" fmla="*/ 5 w 85"/>
                  <a:gd name="T11" fmla="*/ 135 h 172"/>
                  <a:gd name="T12" fmla="*/ 24 w 85"/>
                  <a:gd name="T13" fmla="*/ 172 h 172"/>
                  <a:gd name="T14" fmla="*/ 47 w 85"/>
                  <a:gd name="T15" fmla="*/ 162 h 172"/>
                  <a:gd name="T16" fmla="*/ 52 w 85"/>
                  <a:gd name="T17" fmla="*/ 141 h 172"/>
                  <a:gd name="T18" fmla="*/ 76 w 85"/>
                  <a:gd name="T19" fmla="*/ 92 h 172"/>
                  <a:gd name="T20" fmla="*/ 76 w 85"/>
                  <a:gd name="T21" fmla="*/ 67 h 172"/>
                  <a:gd name="T22" fmla="*/ 85 w 85"/>
                  <a:gd name="T23"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72">
                    <a:moveTo>
                      <a:pt x="85" y="0"/>
                    </a:moveTo>
                    <a:lnTo>
                      <a:pt x="57" y="37"/>
                    </a:lnTo>
                    <a:lnTo>
                      <a:pt x="24" y="37"/>
                    </a:lnTo>
                    <a:lnTo>
                      <a:pt x="0" y="58"/>
                    </a:lnTo>
                    <a:lnTo>
                      <a:pt x="5" y="86"/>
                    </a:lnTo>
                    <a:lnTo>
                      <a:pt x="5" y="135"/>
                    </a:lnTo>
                    <a:lnTo>
                      <a:pt x="24" y="172"/>
                    </a:lnTo>
                    <a:lnTo>
                      <a:pt x="47" y="162"/>
                    </a:lnTo>
                    <a:lnTo>
                      <a:pt x="52" y="141"/>
                    </a:lnTo>
                    <a:lnTo>
                      <a:pt x="76" y="92"/>
                    </a:lnTo>
                    <a:lnTo>
                      <a:pt x="76" y="67"/>
                    </a:lnTo>
                    <a:lnTo>
                      <a:pt x="85"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28" name="Freeform 227"/>
              <p:cNvSpPr>
                <a:spLocks noChangeAspect="1"/>
              </p:cNvSpPr>
              <p:nvPr/>
            </p:nvSpPr>
            <p:spPr bwMode="auto">
              <a:xfrm>
                <a:off x="1095378" y="3963090"/>
                <a:ext cx="657" cy="655"/>
              </a:xfrm>
              <a:custGeom>
                <a:avLst/>
                <a:gdLst>
                  <a:gd name="T0" fmla="*/ 14 w 965"/>
                  <a:gd name="T1" fmla="*/ 206 h 1060"/>
                  <a:gd name="T2" fmla="*/ 16 w 965"/>
                  <a:gd name="T3" fmla="*/ 247 h 1060"/>
                  <a:gd name="T4" fmla="*/ 94 w 965"/>
                  <a:gd name="T5" fmla="*/ 314 h 1060"/>
                  <a:gd name="T6" fmla="*/ 154 w 965"/>
                  <a:gd name="T7" fmla="*/ 356 h 1060"/>
                  <a:gd name="T8" fmla="*/ 148 w 965"/>
                  <a:gd name="T9" fmla="*/ 411 h 1060"/>
                  <a:gd name="T10" fmla="*/ 183 w 965"/>
                  <a:gd name="T11" fmla="*/ 495 h 1060"/>
                  <a:gd name="T12" fmla="*/ 200 w 965"/>
                  <a:gd name="T13" fmla="*/ 609 h 1060"/>
                  <a:gd name="T14" fmla="*/ 167 w 965"/>
                  <a:gd name="T15" fmla="*/ 609 h 1060"/>
                  <a:gd name="T16" fmla="*/ 146 w 965"/>
                  <a:gd name="T17" fmla="*/ 667 h 1060"/>
                  <a:gd name="T18" fmla="*/ 124 w 965"/>
                  <a:gd name="T19" fmla="*/ 725 h 1060"/>
                  <a:gd name="T20" fmla="*/ 72 w 965"/>
                  <a:gd name="T21" fmla="*/ 828 h 1060"/>
                  <a:gd name="T22" fmla="*/ 75 w 965"/>
                  <a:gd name="T23" fmla="*/ 878 h 1060"/>
                  <a:gd name="T24" fmla="*/ 204 w 965"/>
                  <a:gd name="T25" fmla="*/ 973 h 1060"/>
                  <a:gd name="T26" fmla="*/ 314 w 965"/>
                  <a:gd name="T27" fmla="*/ 1031 h 1060"/>
                  <a:gd name="T28" fmla="*/ 410 w 965"/>
                  <a:gd name="T29" fmla="*/ 1060 h 1060"/>
                  <a:gd name="T30" fmla="*/ 446 w 965"/>
                  <a:gd name="T31" fmla="*/ 979 h 1060"/>
                  <a:gd name="T32" fmla="*/ 533 w 965"/>
                  <a:gd name="T33" fmla="*/ 943 h 1060"/>
                  <a:gd name="T34" fmla="*/ 596 w 965"/>
                  <a:gd name="T35" fmla="*/ 980 h 1060"/>
                  <a:gd name="T36" fmla="*/ 684 w 965"/>
                  <a:gd name="T37" fmla="*/ 1031 h 1060"/>
                  <a:gd name="T38" fmla="*/ 764 w 965"/>
                  <a:gd name="T39" fmla="*/ 1010 h 1060"/>
                  <a:gd name="T40" fmla="*/ 822 w 965"/>
                  <a:gd name="T41" fmla="*/ 942 h 1060"/>
                  <a:gd name="T42" fmla="*/ 786 w 965"/>
                  <a:gd name="T43" fmla="*/ 912 h 1060"/>
                  <a:gd name="T44" fmla="*/ 780 w 965"/>
                  <a:gd name="T45" fmla="*/ 815 h 1060"/>
                  <a:gd name="T46" fmla="*/ 803 w 965"/>
                  <a:gd name="T47" fmla="*/ 725 h 1060"/>
                  <a:gd name="T48" fmla="*/ 803 w 965"/>
                  <a:gd name="T49" fmla="*/ 643 h 1060"/>
                  <a:gd name="T50" fmla="*/ 761 w 965"/>
                  <a:gd name="T51" fmla="*/ 646 h 1060"/>
                  <a:gd name="T52" fmla="*/ 742 w 965"/>
                  <a:gd name="T53" fmla="*/ 633 h 1060"/>
                  <a:gd name="T54" fmla="*/ 786 w 965"/>
                  <a:gd name="T55" fmla="*/ 575 h 1060"/>
                  <a:gd name="T56" fmla="*/ 855 w 965"/>
                  <a:gd name="T57" fmla="*/ 501 h 1060"/>
                  <a:gd name="T58" fmla="*/ 890 w 965"/>
                  <a:gd name="T59" fmla="*/ 464 h 1060"/>
                  <a:gd name="T60" fmla="*/ 918 w 965"/>
                  <a:gd name="T61" fmla="*/ 393 h 1060"/>
                  <a:gd name="T62" fmla="*/ 965 w 965"/>
                  <a:gd name="T63" fmla="*/ 333 h 1060"/>
                  <a:gd name="T64" fmla="*/ 909 w 965"/>
                  <a:gd name="T65" fmla="*/ 303 h 1060"/>
                  <a:gd name="T66" fmla="*/ 843 w 965"/>
                  <a:gd name="T67" fmla="*/ 277 h 1060"/>
                  <a:gd name="T68" fmla="*/ 798 w 965"/>
                  <a:gd name="T69" fmla="*/ 232 h 1060"/>
                  <a:gd name="T70" fmla="*/ 734 w 965"/>
                  <a:gd name="T71" fmla="*/ 169 h 1060"/>
                  <a:gd name="T72" fmla="*/ 681 w 965"/>
                  <a:gd name="T73" fmla="*/ 108 h 1060"/>
                  <a:gd name="T74" fmla="*/ 643 w 965"/>
                  <a:gd name="T75" fmla="*/ 43 h 1060"/>
                  <a:gd name="T76" fmla="*/ 561 w 965"/>
                  <a:gd name="T77" fmla="*/ 3 h 1060"/>
                  <a:gd name="T78" fmla="*/ 525 w 965"/>
                  <a:gd name="T79" fmla="*/ 50 h 1060"/>
                  <a:gd name="T80" fmla="*/ 401 w 965"/>
                  <a:gd name="T81" fmla="*/ 124 h 1060"/>
                  <a:gd name="T82" fmla="*/ 335 w 965"/>
                  <a:gd name="T83" fmla="*/ 148 h 1060"/>
                  <a:gd name="T84" fmla="*/ 277 w 965"/>
                  <a:gd name="T85" fmla="*/ 111 h 1060"/>
                  <a:gd name="T86" fmla="*/ 251 w 965"/>
                  <a:gd name="T87" fmla="*/ 80 h 1060"/>
                  <a:gd name="T88" fmla="*/ 258 w 965"/>
                  <a:gd name="T89" fmla="*/ 118 h 1060"/>
                  <a:gd name="T90" fmla="*/ 249 w 965"/>
                  <a:gd name="T91" fmla="*/ 161 h 1060"/>
                  <a:gd name="T92" fmla="*/ 230 w 965"/>
                  <a:gd name="T93" fmla="*/ 195 h 1060"/>
                  <a:gd name="T94" fmla="*/ 178 w 965"/>
                  <a:gd name="T95" fmla="*/ 179 h 1060"/>
                  <a:gd name="T96" fmla="*/ 118 w 965"/>
                  <a:gd name="T97" fmla="*/ 136 h 1060"/>
                  <a:gd name="T98" fmla="*/ 75 w 965"/>
                  <a:gd name="T99" fmla="*/ 154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5" h="1060">
                    <a:moveTo>
                      <a:pt x="16" y="151"/>
                    </a:moveTo>
                    <a:lnTo>
                      <a:pt x="25" y="176"/>
                    </a:lnTo>
                    <a:lnTo>
                      <a:pt x="16" y="198"/>
                    </a:lnTo>
                    <a:lnTo>
                      <a:pt x="14" y="206"/>
                    </a:lnTo>
                    <a:lnTo>
                      <a:pt x="0" y="201"/>
                    </a:lnTo>
                    <a:lnTo>
                      <a:pt x="5" y="213"/>
                    </a:lnTo>
                    <a:lnTo>
                      <a:pt x="5" y="226"/>
                    </a:lnTo>
                    <a:lnTo>
                      <a:pt x="16" y="247"/>
                    </a:lnTo>
                    <a:lnTo>
                      <a:pt x="38" y="240"/>
                    </a:lnTo>
                    <a:lnTo>
                      <a:pt x="66" y="274"/>
                    </a:lnTo>
                    <a:lnTo>
                      <a:pt x="77" y="297"/>
                    </a:lnTo>
                    <a:lnTo>
                      <a:pt x="94" y="314"/>
                    </a:lnTo>
                    <a:lnTo>
                      <a:pt x="115" y="314"/>
                    </a:lnTo>
                    <a:lnTo>
                      <a:pt x="124" y="334"/>
                    </a:lnTo>
                    <a:lnTo>
                      <a:pt x="143" y="353"/>
                    </a:lnTo>
                    <a:lnTo>
                      <a:pt x="154" y="356"/>
                    </a:lnTo>
                    <a:lnTo>
                      <a:pt x="157" y="363"/>
                    </a:lnTo>
                    <a:lnTo>
                      <a:pt x="151" y="380"/>
                    </a:lnTo>
                    <a:lnTo>
                      <a:pt x="151" y="395"/>
                    </a:lnTo>
                    <a:lnTo>
                      <a:pt x="148" y="411"/>
                    </a:lnTo>
                    <a:lnTo>
                      <a:pt x="143" y="438"/>
                    </a:lnTo>
                    <a:lnTo>
                      <a:pt x="162" y="464"/>
                    </a:lnTo>
                    <a:lnTo>
                      <a:pt x="183" y="482"/>
                    </a:lnTo>
                    <a:lnTo>
                      <a:pt x="183" y="495"/>
                    </a:lnTo>
                    <a:lnTo>
                      <a:pt x="181" y="540"/>
                    </a:lnTo>
                    <a:lnTo>
                      <a:pt x="176" y="577"/>
                    </a:lnTo>
                    <a:lnTo>
                      <a:pt x="181" y="593"/>
                    </a:lnTo>
                    <a:lnTo>
                      <a:pt x="200" y="609"/>
                    </a:lnTo>
                    <a:lnTo>
                      <a:pt x="200" y="640"/>
                    </a:lnTo>
                    <a:lnTo>
                      <a:pt x="200" y="661"/>
                    </a:lnTo>
                    <a:lnTo>
                      <a:pt x="178" y="630"/>
                    </a:lnTo>
                    <a:lnTo>
                      <a:pt x="167" y="609"/>
                    </a:lnTo>
                    <a:lnTo>
                      <a:pt x="159" y="614"/>
                    </a:lnTo>
                    <a:lnTo>
                      <a:pt x="165" y="630"/>
                    </a:lnTo>
                    <a:lnTo>
                      <a:pt x="157" y="649"/>
                    </a:lnTo>
                    <a:lnTo>
                      <a:pt x="146" y="667"/>
                    </a:lnTo>
                    <a:lnTo>
                      <a:pt x="138" y="680"/>
                    </a:lnTo>
                    <a:lnTo>
                      <a:pt x="148" y="693"/>
                    </a:lnTo>
                    <a:lnTo>
                      <a:pt x="140" y="707"/>
                    </a:lnTo>
                    <a:lnTo>
                      <a:pt x="124" y="725"/>
                    </a:lnTo>
                    <a:lnTo>
                      <a:pt x="121" y="741"/>
                    </a:lnTo>
                    <a:lnTo>
                      <a:pt x="113" y="760"/>
                    </a:lnTo>
                    <a:lnTo>
                      <a:pt x="87" y="794"/>
                    </a:lnTo>
                    <a:lnTo>
                      <a:pt x="72" y="828"/>
                    </a:lnTo>
                    <a:lnTo>
                      <a:pt x="72" y="833"/>
                    </a:lnTo>
                    <a:lnTo>
                      <a:pt x="80" y="843"/>
                    </a:lnTo>
                    <a:lnTo>
                      <a:pt x="71" y="859"/>
                    </a:lnTo>
                    <a:lnTo>
                      <a:pt x="75" y="878"/>
                    </a:lnTo>
                    <a:lnTo>
                      <a:pt x="89" y="902"/>
                    </a:lnTo>
                    <a:lnTo>
                      <a:pt x="148" y="939"/>
                    </a:lnTo>
                    <a:lnTo>
                      <a:pt x="190" y="979"/>
                    </a:lnTo>
                    <a:lnTo>
                      <a:pt x="204" y="973"/>
                    </a:lnTo>
                    <a:lnTo>
                      <a:pt x="225" y="964"/>
                    </a:lnTo>
                    <a:lnTo>
                      <a:pt x="297" y="998"/>
                    </a:lnTo>
                    <a:lnTo>
                      <a:pt x="308" y="1010"/>
                    </a:lnTo>
                    <a:lnTo>
                      <a:pt x="314" y="1031"/>
                    </a:lnTo>
                    <a:lnTo>
                      <a:pt x="327" y="1038"/>
                    </a:lnTo>
                    <a:lnTo>
                      <a:pt x="343" y="1041"/>
                    </a:lnTo>
                    <a:lnTo>
                      <a:pt x="368" y="1057"/>
                    </a:lnTo>
                    <a:lnTo>
                      <a:pt x="410" y="1060"/>
                    </a:lnTo>
                    <a:lnTo>
                      <a:pt x="423" y="1041"/>
                    </a:lnTo>
                    <a:lnTo>
                      <a:pt x="427" y="1020"/>
                    </a:lnTo>
                    <a:lnTo>
                      <a:pt x="427" y="997"/>
                    </a:lnTo>
                    <a:lnTo>
                      <a:pt x="446" y="979"/>
                    </a:lnTo>
                    <a:lnTo>
                      <a:pt x="481" y="957"/>
                    </a:lnTo>
                    <a:lnTo>
                      <a:pt x="498" y="954"/>
                    </a:lnTo>
                    <a:lnTo>
                      <a:pt x="517" y="943"/>
                    </a:lnTo>
                    <a:lnTo>
                      <a:pt x="533" y="943"/>
                    </a:lnTo>
                    <a:lnTo>
                      <a:pt x="552" y="957"/>
                    </a:lnTo>
                    <a:lnTo>
                      <a:pt x="566" y="976"/>
                    </a:lnTo>
                    <a:lnTo>
                      <a:pt x="582" y="976"/>
                    </a:lnTo>
                    <a:lnTo>
                      <a:pt x="596" y="980"/>
                    </a:lnTo>
                    <a:lnTo>
                      <a:pt x="624" y="983"/>
                    </a:lnTo>
                    <a:lnTo>
                      <a:pt x="643" y="1010"/>
                    </a:lnTo>
                    <a:lnTo>
                      <a:pt x="660" y="1023"/>
                    </a:lnTo>
                    <a:lnTo>
                      <a:pt x="684" y="1031"/>
                    </a:lnTo>
                    <a:lnTo>
                      <a:pt x="704" y="1044"/>
                    </a:lnTo>
                    <a:lnTo>
                      <a:pt x="715" y="1047"/>
                    </a:lnTo>
                    <a:lnTo>
                      <a:pt x="745" y="1014"/>
                    </a:lnTo>
                    <a:lnTo>
                      <a:pt x="764" y="1010"/>
                    </a:lnTo>
                    <a:lnTo>
                      <a:pt x="777" y="997"/>
                    </a:lnTo>
                    <a:lnTo>
                      <a:pt x="798" y="980"/>
                    </a:lnTo>
                    <a:lnTo>
                      <a:pt x="824" y="979"/>
                    </a:lnTo>
                    <a:lnTo>
                      <a:pt x="822" y="942"/>
                    </a:lnTo>
                    <a:lnTo>
                      <a:pt x="817" y="930"/>
                    </a:lnTo>
                    <a:lnTo>
                      <a:pt x="805" y="912"/>
                    </a:lnTo>
                    <a:lnTo>
                      <a:pt x="796" y="915"/>
                    </a:lnTo>
                    <a:lnTo>
                      <a:pt x="786" y="912"/>
                    </a:lnTo>
                    <a:lnTo>
                      <a:pt x="777" y="896"/>
                    </a:lnTo>
                    <a:lnTo>
                      <a:pt x="775" y="859"/>
                    </a:lnTo>
                    <a:lnTo>
                      <a:pt x="794" y="835"/>
                    </a:lnTo>
                    <a:lnTo>
                      <a:pt x="780" y="815"/>
                    </a:lnTo>
                    <a:lnTo>
                      <a:pt x="780" y="806"/>
                    </a:lnTo>
                    <a:lnTo>
                      <a:pt x="808" y="775"/>
                    </a:lnTo>
                    <a:lnTo>
                      <a:pt x="808" y="764"/>
                    </a:lnTo>
                    <a:lnTo>
                      <a:pt x="803" y="725"/>
                    </a:lnTo>
                    <a:lnTo>
                      <a:pt x="819" y="707"/>
                    </a:lnTo>
                    <a:lnTo>
                      <a:pt x="805" y="686"/>
                    </a:lnTo>
                    <a:lnTo>
                      <a:pt x="805" y="670"/>
                    </a:lnTo>
                    <a:lnTo>
                      <a:pt x="803" y="643"/>
                    </a:lnTo>
                    <a:lnTo>
                      <a:pt x="796" y="636"/>
                    </a:lnTo>
                    <a:lnTo>
                      <a:pt x="780" y="636"/>
                    </a:lnTo>
                    <a:lnTo>
                      <a:pt x="765" y="640"/>
                    </a:lnTo>
                    <a:lnTo>
                      <a:pt x="761" y="646"/>
                    </a:lnTo>
                    <a:lnTo>
                      <a:pt x="751" y="656"/>
                    </a:lnTo>
                    <a:lnTo>
                      <a:pt x="737" y="661"/>
                    </a:lnTo>
                    <a:lnTo>
                      <a:pt x="732" y="646"/>
                    </a:lnTo>
                    <a:lnTo>
                      <a:pt x="742" y="633"/>
                    </a:lnTo>
                    <a:lnTo>
                      <a:pt x="747" y="622"/>
                    </a:lnTo>
                    <a:lnTo>
                      <a:pt x="747" y="609"/>
                    </a:lnTo>
                    <a:lnTo>
                      <a:pt x="772" y="580"/>
                    </a:lnTo>
                    <a:lnTo>
                      <a:pt x="786" y="575"/>
                    </a:lnTo>
                    <a:lnTo>
                      <a:pt x="789" y="553"/>
                    </a:lnTo>
                    <a:lnTo>
                      <a:pt x="803" y="535"/>
                    </a:lnTo>
                    <a:lnTo>
                      <a:pt x="843" y="501"/>
                    </a:lnTo>
                    <a:lnTo>
                      <a:pt x="855" y="501"/>
                    </a:lnTo>
                    <a:lnTo>
                      <a:pt x="860" y="488"/>
                    </a:lnTo>
                    <a:lnTo>
                      <a:pt x="874" y="472"/>
                    </a:lnTo>
                    <a:lnTo>
                      <a:pt x="885" y="472"/>
                    </a:lnTo>
                    <a:lnTo>
                      <a:pt x="890" y="464"/>
                    </a:lnTo>
                    <a:lnTo>
                      <a:pt x="897" y="458"/>
                    </a:lnTo>
                    <a:lnTo>
                      <a:pt x="907" y="439"/>
                    </a:lnTo>
                    <a:lnTo>
                      <a:pt x="915" y="411"/>
                    </a:lnTo>
                    <a:lnTo>
                      <a:pt x="918" y="393"/>
                    </a:lnTo>
                    <a:lnTo>
                      <a:pt x="918" y="377"/>
                    </a:lnTo>
                    <a:lnTo>
                      <a:pt x="932" y="358"/>
                    </a:lnTo>
                    <a:lnTo>
                      <a:pt x="953" y="346"/>
                    </a:lnTo>
                    <a:lnTo>
                      <a:pt x="965" y="333"/>
                    </a:lnTo>
                    <a:lnTo>
                      <a:pt x="965" y="327"/>
                    </a:lnTo>
                    <a:lnTo>
                      <a:pt x="946" y="311"/>
                    </a:lnTo>
                    <a:lnTo>
                      <a:pt x="937" y="306"/>
                    </a:lnTo>
                    <a:lnTo>
                      <a:pt x="909" y="303"/>
                    </a:lnTo>
                    <a:lnTo>
                      <a:pt x="878" y="297"/>
                    </a:lnTo>
                    <a:lnTo>
                      <a:pt x="866" y="296"/>
                    </a:lnTo>
                    <a:lnTo>
                      <a:pt x="855" y="290"/>
                    </a:lnTo>
                    <a:lnTo>
                      <a:pt x="843" y="277"/>
                    </a:lnTo>
                    <a:lnTo>
                      <a:pt x="833" y="256"/>
                    </a:lnTo>
                    <a:lnTo>
                      <a:pt x="824" y="243"/>
                    </a:lnTo>
                    <a:lnTo>
                      <a:pt x="812" y="237"/>
                    </a:lnTo>
                    <a:lnTo>
                      <a:pt x="798" y="232"/>
                    </a:lnTo>
                    <a:lnTo>
                      <a:pt x="791" y="229"/>
                    </a:lnTo>
                    <a:lnTo>
                      <a:pt x="772" y="210"/>
                    </a:lnTo>
                    <a:lnTo>
                      <a:pt x="748" y="189"/>
                    </a:lnTo>
                    <a:lnTo>
                      <a:pt x="734" y="169"/>
                    </a:lnTo>
                    <a:lnTo>
                      <a:pt x="718" y="164"/>
                    </a:lnTo>
                    <a:lnTo>
                      <a:pt x="709" y="155"/>
                    </a:lnTo>
                    <a:lnTo>
                      <a:pt x="701" y="135"/>
                    </a:lnTo>
                    <a:lnTo>
                      <a:pt x="681" y="108"/>
                    </a:lnTo>
                    <a:lnTo>
                      <a:pt x="676" y="90"/>
                    </a:lnTo>
                    <a:lnTo>
                      <a:pt x="660" y="71"/>
                    </a:lnTo>
                    <a:lnTo>
                      <a:pt x="652" y="55"/>
                    </a:lnTo>
                    <a:lnTo>
                      <a:pt x="643" y="43"/>
                    </a:lnTo>
                    <a:lnTo>
                      <a:pt x="627" y="28"/>
                    </a:lnTo>
                    <a:lnTo>
                      <a:pt x="610" y="8"/>
                    </a:lnTo>
                    <a:lnTo>
                      <a:pt x="596" y="0"/>
                    </a:lnTo>
                    <a:lnTo>
                      <a:pt x="561" y="3"/>
                    </a:lnTo>
                    <a:lnTo>
                      <a:pt x="547" y="3"/>
                    </a:lnTo>
                    <a:lnTo>
                      <a:pt x="528" y="18"/>
                    </a:lnTo>
                    <a:lnTo>
                      <a:pt x="539" y="31"/>
                    </a:lnTo>
                    <a:lnTo>
                      <a:pt x="525" y="50"/>
                    </a:lnTo>
                    <a:lnTo>
                      <a:pt x="490" y="100"/>
                    </a:lnTo>
                    <a:lnTo>
                      <a:pt x="472" y="111"/>
                    </a:lnTo>
                    <a:lnTo>
                      <a:pt x="423" y="117"/>
                    </a:lnTo>
                    <a:lnTo>
                      <a:pt x="401" y="124"/>
                    </a:lnTo>
                    <a:lnTo>
                      <a:pt x="390" y="136"/>
                    </a:lnTo>
                    <a:lnTo>
                      <a:pt x="385" y="148"/>
                    </a:lnTo>
                    <a:lnTo>
                      <a:pt x="366" y="142"/>
                    </a:lnTo>
                    <a:lnTo>
                      <a:pt x="335" y="148"/>
                    </a:lnTo>
                    <a:lnTo>
                      <a:pt x="316" y="145"/>
                    </a:lnTo>
                    <a:lnTo>
                      <a:pt x="300" y="132"/>
                    </a:lnTo>
                    <a:lnTo>
                      <a:pt x="289" y="117"/>
                    </a:lnTo>
                    <a:lnTo>
                      <a:pt x="277" y="111"/>
                    </a:lnTo>
                    <a:lnTo>
                      <a:pt x="286" y="98"/>
                    </a:lnTo>
                    <a:lnTo>
                      <a:pt x="272" y="84"/>
                    </a:lnTo>
                    <a:lnTo>
                      <a:pt x="261" y="81"/>
                    </a:lnTo>
                    <a:lnTo>
                      <a:pt x="251" y="80"/>
                    </a:lnTo>
                    <a:lnTo>
                      <a:pt x="249" y="84"/>
                    </a:lnTo>
                    <a:lnTo>
                      <a:pt x="258" y="95"/>
                    </a:lnTo>
                    <a:lnTo>
                      <a:pt x="253" y="102"/>
                    </a:lnTo>
                    <a:lnTo>
                      <a:pt x="258" y="118"/>
                    </a:lnTo>
                    <a:lnTo>
                      <a:pt x="261" y="136"/>
                    </a:lnTo>
                    <a:lnTo>
                      <a:pt x="261" y="151"/>
                    </a:lnTo>
                    <a:lnTo>
                      <a:pt x="258" y="154"/>
                    </a:lnTo>
                    <a:lnTo>
                      <a:pt x="249" y="161"/>
                    </a:lnTo>
                    <a:lnTo>
                      <a:pt x="247" y="173"/>
                    </a:lnTo>
                    <a:lnTo>
                      <a:pt x="247" y="188"/>
                    </a:lnTo>
                    <a:lnTo>
                      <a:pt x="244" y="198"/>
                    </a:lnTo>
                    <a:lnTo>
                      <a:pt x="230" y="195"/>
                    </a:lnTo>
                    <a:lnTo>
                      <a:pt x="214" y="185"/>
                    </a:lnTo>
                    <a:lnTo>
                      <a:pt x="204" y="195"/>
                    </a:lnTo>
                    <a:lnTo>
                      <a:pt x="187" y="182"/>
                    </a:lnTo>
                    <a:lnTo>
                      <a:pt x="178" y="179"/>
                    </a:lnTo>
                    <a:lnTo>
                      <a:pt x="167" y="189"/>
                    </a:lnTo>
                    <a:lnTo>
                      <a:pt x="157" y="188"/>
                    </a:lnTo>
                    <a:lnTo>
                      <a:pt x="157" y="179"/>
                    </a:lnTo>
                    <a:lnTo>
                      <a:pt x="118" y="136"/>
                    </a:lnTo>
                    <a:lnTo>
                      <a:pt x="108" y="135"/>
                    </a:lnTo>
                    <a:lnTo>
                      <a:pt x="101" y="142"/>
                    </a:lnTo>
                    <a:lnTo>
                      <a:pt x="85" y="151"/>
                    </a:lnTo>
                    <a:lnTo>
                      <a:pt x="75" y="154"/>
                    </a:lnTo>
                    <a:lnTo>
                      <a:pt x="63" y="139"/>
                    </a:lnTo>
                    <a:lnTo>
                      <a:pt x="35" y="139"/>
                    </a:lnTo>
                    <a:lnTo>
                      <a:pt x="16" y="151"/>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grpSp>
          <p:nvGrpSpPr>
            <p:cNvPr id="152" name="GB"/>
            <p:cNvGrpSpPr/>
            <p:nvPr/>
          </p:nvGrpSpPr>
          <p:grpSpPr>
            <a:xfrm>
              <a:off x="3630815" y="3660507"/>
              <a:ext cx="410218" cy="606509"/>
              <a:chOff x="1096963" y="2672443"/>
              <a:chExt cx="849312" cy="1277938"/>
            </a:xfrm>
            <a:solidFill>
              <a:srgbClr val="1F497D"/>
            </a:solidFill>
            <a:effectLst/>
          </p:grpSpPr>
          <p:sp>
            <p:nvSpPr>
              <p:cNvPr id="222" name="Freeform 221"/>
              <p:cNvSpPr>
                <a:spLocks noChangeAspect="1"/>
              </p:cNvSpPr>
              <p:nvPr/>
            </p:nvSpPr>
            <p:spPr bwMode="auto">
              <a:xfrm>
                <a:off x="1096963" y="2689818"/>
                <a:ext cx="849312" cy="1260563"/>
              </a:xfrm>
              <a:custGeom>
                <a:avLst/>
                <a:gdLst>
                  <a:gd name="T0" fmla="*/ 186 w 571"/>
                  <a:gd name="T1" fmla="*/ 731 h 1058"/>
                  <a:gd name="T2" fmla="*/ 123 w 571"/>
                  <a:gd name="T3" fmla="*/ 779 h 1058"/>
                  <a:gd name="T4" fmla="*/ 106 w 571"/>
                  <a:gd name="T5" fmla="*/ 823 h 1058"/>
                  <a:gd name="T6" fmla="*/ 143 w 571"/>
                  <a:gd name="T7" fmla="*/ 847 h 1058"/>
                  <a:gd name="T8" fmla="*/ 173 w 571"/>
                  <a:gd name="T9" fmla="*/ 863 h 1058"/>
                  <a:gd name="T10" fmla="*/ 228 w 571"/>
                  <a:gd name="T11" fmla="*/ 876 h 1058"/>
                  <a:gd name="T12" fmla="*/ 192 w 571"/>
                  <a:gd name="T13" fmla="*/ 924 h 1058"/>
                  <a:gd name="T14" fmla="*/ 110 w 571"/>
                  <a:gd name="T15" fmla="*/ 897 h 1058"/>
                  <a:gd name="T16" fmla="*/ 52 w 571"/>
                  <a:gd name="T17" fmla="*/ 953 h 1058"/>
                  <a:gd name="T18" fmla="*/ 3 w 571"/>
                  <a:gd name="T19" fmla="*/ 981 h 1058"/>
                  <a:gd name="T20" fmla="*/ 28 w 571"/>
                  <a:gd name="T21" fmla="*/ 1005 h 1058"/>
                  <a:gd name="T22" fmla="*/ 75 w 571"/>
                  <a:gd name="T23" fmla="*/ 997 h 1058"/>
                  <a:gd name="T24" fmla="*/ 139 w 571"/>
                  <a:gd name="T25" fmla="*/ 1027 h 1058"/>
                  <a:gd name="T26" fmla="*/ 187 w 571"/>
                  <a:gd name="T27" fmla="*/ 978 h 1058"/>
                  <a:gd name="T28" fmla="*/ 230 w 571"/>
                  <a:gd name="T29" fmla="*/ 1008 h 1058"/>
                  <a:gd name="T30" fmla="*/ 291 w 571"/>
                  <a:gd name="T31" fmla="*/ 1018 h 1058"/>
                  <a:gd name="T32" fmla="*/ 336 w 571"/>
                  <a:gd name="T33" fmla="*/ 1014 h 1058"/>
                  <a:gd name="T34" fmla="*/ 398 w 571"/>
                  <a:gd name="T35" fmla="*/ 1042 h 1058"/>
                  <a:gd name="T36" fmla="*/ 451 w 571"/>
                  <a:gd name="T37" fmla="*/ 1048 h 1058"/>
                  <a:gd name="T38" fmla="*/ 503 w 571"/>
                  <a:gd name="T39" fmla="*/ 1027 h 1058"/>
                  <a:gd name="T40" fmla="*/ 481 w 571"/>
                  <a:gd name="T41" fmla="*/ 978 h 1058"/>
                  <a:gd name="T42" fmla="*/ 484 w 571"/>
                  <a:gd name="T43" fmla="*/ 947 h 1058"/>
                  <a:gd name="T44" fmla="*/ 552 w 571"/>
                  <a:gd name="T45" fmla="*/ 897 h 1058"/>
                  <a:gd name="T46" fmla="*/ 571 w 571"/>
                  <a:gd name="T47" fmla="*/ 829 h 1058"/>
                  <a:gd name="T48" fmla="*/ 522 w 571"/>
                  <a:gd name="T49" fmla="*/ 792 h 1058"/>
                  <a:gd name="T50" fmla="*/ 486 w 571"/>
                  <a:gd name="T51" fmla="*/ 789 h 1058"/>
                  <a:gd name="T52" fmla="*/ 498 w 571"/>
                  <a:gd name="T53" fmla="*/ 724 h 1058"/>
                  <a:gd name="T54" fmla="*/ 498 w 571"/>
                  <a:gd name="T55" fmla="*/ 634 h 1058"/>
                  <a:gd name="T56" fmla="*/ 447 w 571"/>
                  <a:gd name="T57" fmla="*/ 532 h 1058"/>
                  <a:gd name="T58" fmla="*/ 447 w 571"/>
                  <a:gd name="T59" fmla="*/ 451 h 1058"/>
                  <a:gd name="T60" fmla="*/ 431 w 571"/>
                  <a:gd name="T61" fmla="*/ 387 h 1058"/>
                  <a:gd name="T62" fmla="*/ 376 w 571"/>
                  <a:gd name="T63" fmla="*/ 352 h 1058"/>
                  <a:gd name="T64" fmla="*/ 371 w 571"/>
                  <a:gd name="T65" fmla="*/ 327 h 1058"/>
                  <a:gd name="T66" fmla="*/ 418 w 571"/>
                  <a:gd name="T67" fmla="*/ 334 h 1058"/>
                  <a:gd name="T68" fmla="*/ 491 w 571"/>
                  <a:gd name="T69" fmla="*/ 234 h 1058"/>
                  <a:gd name="T70" fmla="*/ 486 w 571"/>
                  <a:gd name="T71" fmla="*/ 170 h 1058"/>
                  <a:gd name="T72" fmla="*/ 418 w 571"/>
                  <a:gd name="T73" fmla="*/ 139 h 1058"/>
                  <a:gd name="T74" fmla="*/ 381 w 571"/>
                  <a:gd name="T75" fmla="*/ 142 h 1058"/>
                  <a:gd name="T76" fmla="*/ 401 w 571"/>
                  <a:gd name="T77" fmla="*/ 102 h 1058"/>
                  <a:gd name="T78" fmla="*/ 475 w 571"/>
                  <a:gd name="T79" fmla="*/ 52 h 1058"/>
                  <a:gd name="T80" fmla="*/ 428 w 571"/>
                  <a:gd name="T81" fmla="*/ 18 h 1058"/>
                  <a:gd name="T82" fmla="*/ 351 w 571"/>
                  <a:gd name="T83" fmla="*/ 31 h 1058"/>
                  <a:gd name="T84" fmla="*/ 315 w 571"/>
                  <a:gd name="T85" fmla="*/ 68 h 1058"/>
                  <a:gd name="T86" fmla="*/ 291 w 571"/>
                  <a:gd name="T87" fmla="*/ 118 h 1058"/>
                  <a:gd name="T88" fmla="*/ 230 w 571"/>
                  <a:gd name="T89" fmla="*/ 203 h 1058"/>
                  <a:gd name="T90" fmla="*/ 270 w 571"/>
                  <a:gd name="T91" fmla="*/ 220 h 1058"/>
                  <a:gd name="T92" fmla="*/ 214 w 571"/>
                  <a:gd name="T93" fmla="*/ 327 h 1058"/>
                  <a:gd name="T94" fmla="*/ 233 w 571"/>
                  <a:gd name="T95" fmla="*/ 343 h 1058"/>
                  <a:gd name="T96" fmla="*/ 268 w 571"/>
                  <a:gd name="T97" fmla="*/ 365 h 1058"/>
                  <a:gd name="T98" fmla="*/ 228 w 571"/>
                  <a:gd name="T99" fmla="*/ 429 h 1058"/>
                  <a:gd name="T100" fmla="*/ 285 w 571"/>
                  <a:gd name="T101" fmla="*/ 471 h 1058"/>
                  <a:gd name="T102" fmla="*/ 319 w 571"/>
                  <a:gd name="T103" fmla="*/ 485 h 1058"/>
                  <a:gd name="T104" fmla="*/ 308 w 571"/>
                  <a:gd name="T105" fmla="*/ 576 h 1058"/>
                  <a:gd name="T106" fmla="*/ 305 w 571"/>
                  <a:gd name="T107" fmla="*/ 637 h 1058"/>
                  <a:gd name="T108" fmla="*/ 280 w 571"/>
                  <a:gd name="T109" fmla="*/ 665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1" h="1058">
                    <a:moveTo>
                      <a:pt x="171" y="678"/>
                    </a:moveTo>
                    <a:lnTo>
                      <a:pt x="198" y="705"/>
                    </a:lnTo>
                    <a:lnTo>
                      <a:pt x="186" y="731"/>
                    </a:lnTo>
                    <a:lnTo>
                      <a:pt x="170" y="752"/>
                    </a:lnTo>
                    <a:lnTo>
                      <a:pt x="143" y="766"/>
                    </a:lnTo>
                    <a:lnTo>
                      <a:pt x="123" y="779"/>
                    </a:lnTo>
                    <a:lnTo>
                      <a:pt x="101" y="782"/>
                    </a:lnTo>
                    <a:lnTo>
                      <a:pt x="90" y="792"/>
                    </a:lnTo>
                    <a:lnTo>
                      <a:pt x="106" y="823"/>
                    </a:lnTo>
                    <a:lnTo>
                      <a:pt x="132" y="823"/>
                    </a:lnTo>
                    <a:lnTo>
                      <a:pt x="143" y="826"/>
                    </a:lnTo>
                    <a:lnTo>
                      <a:pt x="143" y="847"/>
                    </a:lnTo>
                    <a:lnTo>
                      <a:pt x="157" y="847"/>
                    </a:lnTo>
                    <a:lnTo>
                      <a:pt x="167" y="842"/>
                    </a:lnTo>
                    <a:lnTo>
                      <a:pt x="173" y="863"/>
                    </a:lnTo>
                    <a:lnTo>
                      <a:pt x="187" y="882"/>
                    </a:lnTo>
                    <a:lnTo>
                      <a:pt x="211" y="882"/>
                    </a:lnTo>
                    <a:lnTo>
                      <a:pt x="228" y="876"/>
                    </a:lnTo>
                    <a:lnTo>
                      <a:pt x="242" y="882"/>
                    </a:lnTo>
                    <a:lnTo>
                      <a:pt x="206" y="916"/>
                    </a:lnTo>
                    <a:lnTo>
                      <a:pt x="192" y="924"/>
                    </a:lnTo>
                    <a:lnTo>
                      <a:pt x="173" y="916"/>
                    </a:lnTo>
                    <a:lnTo>
                      <a:pt x="132" y="897"/>
                    </a:lnTo>
                    <a:lnTo>
                      <a:pt x="110" y="897"/>
                    </a:lnTo>
                    <a:lnTo>
                      <a:pt x="91" y="916"/>
                    </a:lnTo>
                    <a:lnTo>
                      <a:pt x="66" y="940"/>
                    </a:lnTo>
                    <a:lnTo>
                      <a:pt x="52" y="953"/>
                    </a:lnTo>
                    <a:lnTo>
                      <a:pt x="35" y="958"/>
                    </a:lnTo>
                    <a:lnTo>
                      <a:pt x="16" y="968"/>
                    </a:lnTo>
                    <a:lnTo>
                      <a:pt x="3" y="981"/>
                    </a:lnTo>
                    <a:lnTo>
                      <a:pt x="0" y="990"/>
                    </a:lnTo>
                    <a:lnTo>
                      <a:pt x="16" y="993"/>
                    </a:lnTo>
                    <a:lnTo>
                      <a:pt x="28" y="1005"/>
                    </a:lnTo>
                    <a:lnTo>
                      <a:pt x="44" y="1014"/>
                    </a:lnTo>
                    <a:lnTo>
                      <a:pt x="61" y="1005"/>
                    </a:lnTo>
                    <a:lnTo>
                      <a:pt x="75" y="997"/>
                    </a:lnTo>
                    <a:lnTo>
                      <a:pt x="91" y="1000"/>
                    </a:lnTo>
                    <a:lnTo>
                      <a:pt x="115" y="1015"/>
                    </a:lnTo>
                    <a:lnTo>
                      <a:pt x="139" y="1027"/>
                    </a:lnTo>
                    <a:lnTo>
                      <a:pt x="155" y="1015"/>
                    </a:lnTo>
                    <a:lnTo>
                      <a:pt x="162" y="995"/>
                    </a:lnTo>
                    <a:lnTo>
                      <a:pt x="187" y="978"/>
                    </a:lnTo>
                    <a:lnTo>
                      <a:pt x="204" y="978"/>
                    </a:lnTo>
                    <a:lnTo>
                      <a:pt x="219" y="997"/>
                    </a:lnTo>
                    <a:lnTo>
                      <a:pt x="230" y="1008"/>
                    </a:lnTo>
                    <a:lnTo>
                      <a:pt x="249" y="1008"/>
                    </a:lnTo>
                    <a:lnTo>
                      <a:pt x="275" y="1011"/>
                    </a:lnTo>
                    <a:lnTo>
                      <a:pt x="291" y="1018"/>
                    </a:lnTo>
                    <a:lnTo>
                      <a:pt x="308" y="1005"/>
                    </a:lnTo>
                    <a:lnTo>
                      <a:pt x="322" y="1005"/>
                    </a:lnTo>
                    <a:lnTo>
                      <a:pt x="336" y="1014"/>
                    </a:lnTo>
                    <a:lnTo>
                      <a:pt x="352" y="1034"/>
                    </a:lnTo>
                    <a:lnTo>
                      <a:pt x="374" y="1037"/>
                    </a:lnTo>
                    <a:lnTo>
                      <a:pt x="398" y="1042"/>
                    </a:lnTo>
                    <a:lnTo>
                      <a:pt x="414" y="1052"/>
                    </a:lnTo>
                    <a:lnTo>
                      <a:pt x="434" y="1058"/>
                    </a:lnTo>
                    <a:lnTo>
                      <a:pt x="451" y="1048"/>
                    </a:lnTo>
                    <a:lnTo>
                      <a:pt x="472" y="1034"/>
                    </a:lnTo>
                    <a:lnTo>
                      <a:pt x="486" y="1031"/>
                    </a:lnTo>
                    <a:lnTo>
                      <a:pt x="503" y="1027"/>
                    </a:lnTo>
                    <a:lnTo>
                      <a:pt x="519" y="1011"/>
                    </a:lnTo>
                    <a:lnTo>
                      <a:pt x="508" y="995"/>
                    </a:lnTo>
                    <a:lnTo>
                      <a:pt x="481" y="978"/>
                    </a:lnTo>
                    <a:lnTo>
                      <a:pt x="472" y="968"/>
                    </a:lnTo>
                    <a:lnTo>
                      <a:pt x="472" y="958"/>
                    </a:lnTo>
                    <a:lnTo>
                      <a:pt x="484" y="947"/>
                    </a:lnTo>
                    <a:lnTo>
                      <a:pt x="503" y="944"/>
                    </a:lnTo>
                    <a:lnTo>
                      <a:pt x="522" y="934"/>
                    </a:lnTo>
                    <a:lnTo>
                      <a:pt x="552" y="897"/>
                    </a:lnTo>
                    <a:lnTo>
                      <a:pt x="566" y="879"/>
                    </a:lnTo>
                    <a:lnTo>
                      <a:pt x="571" y="847"/>
                    </a:lnTo>
                    <a:lnTo>
                      <a:pt x="571" y="829"/>
                    </a:lnTo>
                    <a:lnTo>
                      <a:pt x="557" y="816"/>
                    </a:lnTo>
                    <a:lnTo>
                      <a:pt x="538" y="801"/>
                    </a:lnTo>
                    <a:lnTo>
                      <a:pt x="522" y="792"/>
                    </a:lnTo>
                    <a:lnTo>
                      <a:pt x="503" y="795"/>
                    </a:lnTo>
                    <a:lnTo>
                      <a:pt x="491" y="802"/>
                    </a:lnTo>
                    <a:lnTo>
                      <a:pt x="486" y="789"/>
                    </a:lnTo>
                    <a:lnTo>
                      <a:pt x="496" y="768"/>
                    </a:lnTo>
                    <a:lnTo>
                      <a:pt x="500" y="752"/>
                    </a:lnTo>
                    <a:lnTo>
                      <a:pt x="498" y="724"/>
                    </a:lnTo>
                    <a:lnTo>
                      <a:pt x="496" y="684"/>
                    </a:lnTo>
                    <a:lnTo>
                      <a:pt x="503" y="653"/>
                    </a:lnTo>
                    <a:lnTo>
                      <a:pt x="498" y="634"/>
                    </a:lnTo>
                    <a:lnTo>
                      <a:pt x="486" y="613"/>
                    </a:lnTo>
                    <a:lnTo>
                      <a:pt x="458" y="557"/>
                    </a:lnTo>
                    <a:lnTo>
                      <a:pt x="447" y="532"/>
                    </a:lnTo>
                    <a:lnTo>
                      <a:pt x="442" y="500"/>
                    </a:lnTo>
                    <a:lnTo>
                      <a:pt x="439" y="482"/>
                    </a:lnTo>
                    <a:lnTo>
                      <a:pt x="447" y="451"/>
                    </a:lnTo>
                    <a:lnTo>
                      <a:pt x="447" y="426"/>
                    </a:lnTo>
                    <a:lnTo>
                      <a:pt x="442" y="399"/>
                    </a:lnTo>
                    <a:lnTo>
                      <a:pt x="431" y="387"/>
                    </a:lnTo>
                    <a:lnTo>
                      <a:pt x="409" y="362"/>
                    </a:lnTo>
                    <a:lnTo>
                      <a:pt x="393" y="355"/>
                    </a:lnTo>
                    <a:lnTo>
                      <a:pt x="376" y="352"/>
                    </a:lnTo>
                    <a:lnTo>
                      <a:pt x="365" y="350"/>
                    </a:lnTo>
                    <a:lnTo>
                      <a:pt x="365" y="337"/>
                    </a:lnTo>
                    <a:lnTo>
                      <a:pt x="371" y="327"/>
                    </a:lnTo>
                    <a:lnTo>
                      <a:pt x="390" y="324"/>
                    </a:lnTo>
                    <a:lnTo>
                      <a:pt x="407" y="331"/>
                    </a:lnTo>
                    <a:lnTo>
                      <a:pt x="418" y="334"/>
                    </a:lnTo>
                    <a:lnTo>
                      <a:pt x="426" y="321"/>
                    </a:lnTo>
                    <a:lnTo>
                      <a:pt x="423" y="306"/>
                    </a:lnTo>
                    <a:lnTo>
                      <a:pt x="491" y="234"/>
                    </a:lnTo>
                    <a:lnTo>
                      <a:pt x="503" y="219"/>
                    </a:lnTo>
                    <a:lnTo>
                      <a:pt x="503" y="186"/>
                    </a:lnTo>
                    <a:lnTo>
                      <a:pt x="486" y="170"/>
                    </a:lnTo>
                    <a:lnTo>
                      <a:pt x="467" y="168"/>
                    </a:lnTo>
                    <a:lnTo>
                      <a:pt x="451" y="139"/>
                    </a:lnTo>
                    <a:lnTo>
                      <a:pt x="418" y="139"/>
                    </a:lnTo>
                    <a:lnTo>
                      <a:pt x="418" y="139"/>
                    </a:lnTo>
                    <a:lnTo>
                      <a:pt x="388" y="145"/>
                    </a:lnTo>
                    <a:lnTo>
                      <a:pt x="381" y="142"/>
                    </a:lnTo>
                    <a:lnTo>
                      <a:pt x="374" y="129"/>
                    </a:lnTo>
                    <a:lnTo>
                      <a:pt x="388" y="118"/>
                    </a:lnTo>
                    <a:lnTo>
                      <a:pt x="401" y="102"/>
                    </a:lnTo>
                    <a:lnTo>
                      <a:pt x="431" y="74"/>
                    </a:lnTo>
                    <a:lnTo>
                      <a:pt x="453" y="71"/>
                    </a:lnTo>
                    <a:lnTo>
                      <a:pt x="475" y="52"/>
                    </a:lnTo>
                    <a:lnTo>
                      <a:pt x="496" y="34"/>
                    </a:lnTo>
                    <a:lnTo>
                      <a:pt x="448" y="21"/>
                    </a:lnTo>
                    <a:lnTo>
                      <a:pt x="428" y="18"/>
                    </a:lnTo>
                    <a:lnTo>
                      <a:pt x="404" y="15"/>
                    </a:lnTo>
                    <a:lnTo>
                      <a:pt x="376" y="0"/>
                    </a:lnTo>
                    <a:lnTo>
                      <a:pt x="351" y="31"/>
                    </a:lnTo>
                    <a:lnTo>
                      <a:pt x="352" y="47"/>
                    </a:lnTo>
                    <a:lnTo>
                      <a:pt x="338" y="52"/>
                    </a:lnTo>
                    <a:lnTo>
                      <a:pt x="315" y="68"/>
                    </a:lnTo>
                    <a:lnTo>
                      <a:pt x="294" y="77"/>
                    </a:lnTo>
                    <a:lnTo>
                      <a:pt x="294" y="99"/>
                    </a:lnTo>
                    <a:lnTo>
                      <a:pt x="291" y="118"/>
                    </a:lnTo>
                    <a:lnTo>
                      <a:pt x="272" y="148"/>
                    </a:lnTo>
                    <a:lnTo>
                      <a:pt x="242" y="185"/>
                    </a:lnTo>
                    <a:lnTo>
                      <a:pt x="230" y="203"/>
                    </a:lnTo>
                    <a:lnTo>
                      <a:pt x="237" y="216"/>
                    </a:lnTo>
                    <a:lnTo>
                      <a:pt x="268" y="213"/>
                    </a:lnTo>
                    <a:lnTo>
                      <a:pt x="270" y="220"/>
                    </a:lnTo>
                    <a:lnTo>
                      <a:pt x="270" y="234"/>
                    </a:lnTo>
                    <a:lnTo>
                      <a:pt x="228" y="294"/>
                    </a:lnTo>
                    <a:lnTo>
                      <a:pt x="214" y="327"/>
                    </a:lnTo>
                    <a:lnTo>
                      <a:pt x="204" y="355"/>
                    </a:lnTo>
                    <a:lnTo>
                      <a:pt x="214" y="368"/>
                    </a:lnTo>
                    <a:lnTo>
                      <a:pt x="233" y="343"/>
                    </a:lnTo>
                    <a:lnTo>
                      <a:pt x="252" y="313"/>
                    </a:lnTo>
                    <a:lnTo>
                      <a:pt x="266" y="321"/>
                    </a:lnTo>
                    <a:lnTo>
                      <a:pt x="268" y="365"/>
                    </a:lnTo>
                    <a:lnTo>
                      <a:pt x="270" y="395"/>
                    </a:lnTo>
                    <a:lnTo>
                      <a:pt x="244" y="411"/>
                    </a:lnTo>
                    <a:lnTo>
                      <a:pt x="228" y="429"/>
                    </a:lnTo>
                    <a:lnTo>
                      <a:pt x="223" y="445"/>
                    </a:lnTo>
                    <a:lnTo>
                      <a:pt x="256" y="476"/>
                    </a:lnTo>
                    <a:lnTo>
                      <a:pt x="285" y="471"/>
                    </a:lnTo>
                    <a:lnTo>
                      <a:pt x="291" y="489"/>
                    </a:lnTo>
                    <a:lnTo>
                      <a:pt x="322" y="468"/>
                    </a:lnTo>
                    <a:lnTo>
                      <a:pt x="319" y="485"/>
                    </a:lnTo>
                    <a:lnTo>
                      <a:pt x="294" y="519"/>
                    </a:lnTo>
                    <a:lnTo>
                      <a:pt x="305" y="556"/>
                    </a:lnTo>
                    <a:lnTo>
                      <a:pt x="308" y="576"/>
                    </a:lnTo>
                    <a:lnTo>
                      <a:pt x="334" y="579"/>
                    </a:lnTo>
                    <a:lnTo>
                      <a:pt x="336" y="597"/>
                    </a:lnTo>
                    <a:lnTo>
                      <a:pt x="305" y="637"/>
                    </a:lnTo>
                    <a:lnTo>
                      <a:pt x="294" y="631"/>
                    </a:lnTo>
                    <a:lnTo>
                      <a:pt x="282" y="644"/>
                    </a:lnTo>
                    <a:lnTo>
                      <a:pt x="280" y="665"/>
                    </a:lnTo>
                    <a:lnTo>
                      <a:pt x="249" y="647"/>
                    </a:lnTo>
                    <a:lnTo>
                      <a:pt x="171" y="678"/>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23" name="Freeform 222"/>
              <p:cNvSpPr>
                <a:spLocks noChangeAspect="1"/>
              </p:cNvSpPr>
              <p:nvPr/>
            </p:nvSpPr>
            <p:spPr bwMode="auto">
              <a:xfrm>
                <a:off x="1406996" y="3301761"/>
                <a:ext cx="67683" cy="42469"/>
              </a:xfrm>
              <a:custGeom>
                <a:avLst/>
                <a:gdLst>
                  <a:gd name="T0" fmla="*/ 24 w 47"/>
                  <a:gd name="T1" fmla="*/ 0 h 39"/>
                  <a:gd name="T2" fmla="*/ 45 w 47"/>
                  <a:gd name="T3" fmla="*/ 3 h 39"/>
                  <a:gd name="T4" fmla="*/ 47 w 47"/>
                  <a:gd name="T5" fmla="*/ 17 h 39"/>
                  <a:gd name="T6" fmla="*/ 26 w 47"/>
                  <a:gd name="T7" fmla="*/ 33 h 39"/>
                  <a:gd name="T8" fmla="*/ 3 w 47"/>
                  <a:gd name="T9" fmla="*/ 39 h 39"/>
                  <a:gd name="T10" fmla="*/ 0 w 47"/>
                  <a:gd name="T11" fmla="*/ 22 h 39"/>
                  <a:gd name="T12" fmla="*/ 24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4" y="0"/>
                    </a:moveTo>
                    <a:lnTo>
                      <a:pt x="45" y="3"/>
                    </a:lnTo>
                    <a:lnTo>
                      <a:pt x="47" y="17"/>
                    </a:lnTo>
                    <a:lnTo>
                      <a:pt x="26" y="33"/>
                    </a:lnTo>
                    <a:lnTo>
                      <a:pt x="3" y="39"/>
                    </a:lnTo>
                    <a:lnTo>
                      <a:pt x="0" y="22"/>
                    </a:lnTo>
                    <a:lnTo>
                      <a:pt x="24"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24" name="Freeform 223"/>
              <p:cNvSpPr>
                <a:spLocks noChangeAspect="1"/>
              </p:cNvSpPr>
              <p:nvPr/>
            </p:nvSpPr>
            <p:spPr bwMode="auto">
              <a:xfrm>
                <a:off x="1358963" y="3006407"/>
                <a:ext cx="67683" cy="42469"/>
              </a:xfrm>
              <a:custGeom>
                <a:avLst/>
                <a:gdLst>
                  <a:gd name="T0" fmla="*/ 40 w 47"/>
                  <a:gd name="T1" fmla="*/ 0 h 39"/>
                  <a:gd name="T2" fmla="*/ 47 w 47"/>
                  <a:gd name="T3" fmla="*/ 19 h 39"/>
                  <a:gd name="T4" fmla="*/ 25 w 47"/>
                  <a:gd name="T5" fmla="*/ 33 h 39"/>
                  <a:gd name="T6" fmla="*/ 6 w 47"/>
                  <a:gd name="T7" fmla="*/ 39 h 39"/>
                  <a:gd name="T8" fmla="*/ 0 w 47"/>
                  <a:gd name="T9" fmla="*/ 20 h 39"/>
                  <a:gd name="T10" fmla="*/ 9 w 47"/>
                  <a:gd name="T11" fmla="*/ 7 h 39"/>
                  <a:gd name="T12" fmla="*/ 40 w 4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40" y="0"/>
                    </a:moveTo>
                    <a:lnTo>
                      <a:pt x="47" y="19"/>
                    </a:lnTo>
                    <a:lnTo>
                      <a:pt x="25" y="33"/>
                    </a:lnTo>
                    <a:lnTo>
                      <a:pt x="6" y="39"/>
                    </a:lnTo>
                    <a:lnTo>
                      <a:pt x="0" y="20"/>
                    </a:lnTo>
                    <a:lnTo>
                      <a:pt x="9" y="7"/>
                    </a:lnTo>
                    <a:lnTo>
                      <a:pt x="40"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25" name="Freeform 224"/>
              <p:cNvSpPr>
                <a:spLocks noChangeAspect="1"/>
              </p:cNvSpPr>
              <p:nvPr/>
            </p:nvSpPr>
            <p:spPr bwMode="auto">
              <a:xfrm>
                <a:off x="1459393" y="2772824"/>
                <a:ext cx="37116" cy="88799"/>
              </a:xfrm>
              <a:custGeom>
                <a:avLst/>
                <a:gdLst>
                  <a:gd name="T0" fmla="*/ 11 w 25"/>
                  <a:gd name="T1" fmla="*/ 74 h 74"/>
                  <a:gd name="T2" fmla="*/ 25 w 25"/>
                  <a:gd name="T3" fmla="*/ 55 h 74"/>
                  <a:gd name="T4" fmla="*/ 20 w 25"/>
                  <a:gd name="T5" fmla="*/ 31 h 74"/>
                  <a:gd name="T6" fmla="*/ 16 w 25"/>
                  <a:gd name="T7" fmla="*/ 18 h 74"/>
                  <a:gd name="T8" fmla="*/ 11 w 25"/>
                  <a:gd name="T9" fmla="*/ 0 h 74"/>
                  <a:gd name="T10" fmla="*/ 0 w 25"/>
                  <a:gd name="T11" fmla="*/ 8 h 74"/>
                  <a:gd name="T12" fmla="*/ 6 w 25"/>
                  <a:gd name="T13" fmla="*/ 34 h 74"/>
                  <a:gd name="T14" fmla="*/ 11 w 25"/>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74">
                    <a:moveTo>
                      <a:pt x="11" y="74"/>
                    </a:moveTo>
                    <a:lnTo>
                      <a:pt x="25" y="55"/>
                    </a:lnTo>
                    <a:lnTo>
                      <a:pt x="20" y="31"/>
                    </a:lnTo>
                    <a:lnTo>
                      <a:pt x="16" y="18"/>
                    </a:lnTo>
                    <a:lnTo>
                      <a:pt x="11" y="0"/>
                    </a:lnTo>
                    <a:lnTo>
                      <a:pt x="0" y="8"/>
                    </a:lnTo>
                    <a:lnTo>
                      <a:pt x="6" y="34"/>
                    </a:lnTo>
                    <a:lnTo>
                      <a:pt x="11" y="74"/>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26" name="Freeform 225"/>
              <p:cNvSpPr>
                <a:spLocks noChangeAspect="1"/>
              </p:cNvSpPr>
              <p:nvPr/>
            </p:nvSpPr>
            <p:spPr bwMode="auto">
              <a:xfrm>
                <a:off x="1452845" y="2672443"/>
                <a:ext cx="96066" cy="63704"/>
              </a:xfrm>
              <a:custGeom>
                <a:avLst/>
                <a:gdLst>
                  <a:gd name="T0" fmla="*/ 56 w 63"/>
                  <a:gd name="T1" fmla="*/ 0 h 53"/>
                  <a:gd name="T2" fmla="*/ 63 w 63"/>
                  <a:gd name="T3" fmla="*/ 13 h 53"/>
                  <a:gd name="T4" fmla="*/ 39 w 63"/>
                  <a:gd name="T5" fmla="*/ 28 h 53"/>
                  <a:gd name="T6" fmla="*/ 16 w 63"/>
                  <a:gd name="T7" fmla="*/ 53 h 53"/>
                  <a:gd name="T8" fmla="*/ 2 w 63"/>
                  <a:gd name="T9" fmla="*/ 47 h 53"/>
                  <a:gd name="T10" fmla="*/ 0 w 63"/>
                  <a:gd name="T11" fmla="*/ 18 h 53"/>
                  <a:gd name="T12" fmla="*/ 0 w 63"/>
                  <a:gd name="T13" fmla="*/ 8 h 53"/>
                  <a:gd name="T14" fmla="*/ 38 w 63"/>
                  <a:gd name="T15" fmla="*/ 0 h 53"/>
                  <a:gd name="T16" fmla="*/ 56 w 6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53">
                    <a:moveTo>
                      <a:pt x="56" y="0"/>
                    </a:moveTo>
                    <a:lnTo>
                      <a:pt x="63" y="13"/>
                    </a:lnTo>
                    <a:lnTo>
                      <a:pt x="39" y="28"/>
                    </a:lnTo>
                    <a:lnTo>
                      <a:pt x="16" y="53"/>
                    </a:lnTo>
                    <a:lnTo>
                      <a:pt x="2" y="47"/>
                    </a:lnTo>
                    <a:lnTo>
                      <a:pt x="0" y="18"/>
                    </a:lnTo>
                    <a:lnTo>
                      <a:pt x="0" y="8"/>
                    </a:lnTo>
                    <a:lnTo>
                      <a:pt x="38" y="0"/>
                    </a:lnTo>
                    <a:lnTo>
                      <a:pt x="56"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sp>
          <p:nvSpPr>
            <p:cNvPr id="153" name="PL"/>
            <p:cNvSpPr>
              <a:spLocks noChangeAspect="1"/>
            </p:cNvSpPr>
            <p:nvPr/>
          </p:nvSpPr>
          <p:spPr bwMode="auto">
            <a:xfrm>
              <a:off x="4646776" y="4089961"/>
              <a:ext cx="496862" cy="415892"/>
            </a:xfrm>
            <a:custGeom>
              <a:avLst/>
              <a:gdLst>
                <a:gd name="T0" fmla="*/ 14 w 697"/>
                <a:gd name="T1" fmla="*/ 185 h 735"/>
                <a:gd name="T2" fmla="*/ 0 w 697"/>
                <a:gd name="T3" fmla="*/ 235 h 735"/>
                <a:gd name="T4" fmla="*/ 31 w 697"/>
                <a:gd name="T5" fmla="*/ 282 h 735"/>
                <a:gd name="T6" fmla="*/ 25 w 697"/>
                <a:gd name="T7" fmla="*/ 322 h 735"/>
                <a:gd name="T8" fmla="*/ 38 w 697"/>
                <a:gd name="T9" fmla="*/ 356 h 735"/>
                <a:gd name="T10" fmla="*/ 47 w 697"/>
                <a:gd name="T11" fmla="*/ 423 h 735"/>
                <a:gd name="T12" fmla="*/ 50 w 697"/>
                <a:gd name="T13" fmla="*/ 448 h 735"/>
                <a:gd name="T14" fmla="*/ 42 w 697"/>
                <a:gd name="T15" fmla="*/ 472 h 735"/>
                <a:gd name="T16" fmla="*/ 61 w 697"/>
                <a:gd name="T17" fmla="*/ 485 h 735"/>
                <a:gd name="T18" fmla="*/ 80 w 697"/>
                <a:gd name="T19" fmla="*/ 501 h 735"/>
                <a:gd name="T20" fmla="*/ 99 w 697"/>
                <a:gd name="T21" fmla="*/ 541 h 735"/>
                <a:gd name="T22" fmla="*/ 119 w 697"/>
                <a:gd name="T23" fmla="*/ 568 h 735"/>
                <a:gd name="T24" fmla="*/ 160 w 697"/>
                <a:gd name="T25" fmla="*/ 580 h 735"/>
                <a:gd name="T26" fmla="*/ 188 w 697"/>
                <a:gd name="T27" fmla="*/ 578 h 735"/>
                <a:gd name="T28" fmla="*/ 228 w 697"/>
                <a:gd name="T29" fmla="*/ 620 h 735"/>
                <a:gd name="T30" fmla="*/ 276 w 697"/>
                <a:gd name="T31" fmla="*/ 643 h 735"/>
                <a:gd name="T32" fmla="*/ 312 w 697"/>
                <a:gd name="T33" fmla="*/ 636 h 735"/>
                <a:gd name="T34" fmla="*/ 350 w 697"/>
                <a:gd name="T35" fmla="*/ 664 h 735"/>
                <a:gd name="T36" fmla="*/ 369 w 697"/>
                <a:gd name="T37" fmla="*/ 667 h 735"/>
                <a:gd name="T38" fmla="*/ 397 w 697"/>
                <a:gd name="T39" fmla="*/ 680 h 735"/>
                <a:gd name="T40" fmla="*/ 429 w 697"/>
                <a:gd name="T41" fmla="*/ 707 h 735"/>
                <a:gd name="T42" fmla="*/ 457 w 697"/>
                <a:gd name="T43" fmla="*/ 711 h 735"/>
                <a:gd name="T44" fmla="*/ 479 w 697"/>
                <a:gd name="T45" fmla="*/ 696 h 735"/>
                <a:gd name="T46" fmla="*/ 609 w 697"/>
                <a:gd name="T47" fmla="*/ 735 h 735"/>
                <a:gd name="T48" fmla="*/ 614 w 697"/>
                <a:gd name="T49" fmla="*/ 696 h 735"/>
                <a:gd name="T50" fmla="*/ 678 w 697"/>
                <a:gd name="T51" fmla="*/ 580 h 735"/>
                <a:gd name="T52" fmla="*/ 697 w 697"/>
                <a:gd name="T53" fmla="*/ 532 h 735"/>
                <a:gd name="T54" fmla="*/ 673 w 697"/>
                <a:gd name="T55" fmla="*/ 461 h 735"/>
                <a:gd name="T56" fmla="*/ 638 w 697"/>
                <a:gd name="T57" fmla="*/ 408 h 735"/>
                <a:gd name="T58" fmla="*/ 638 w 697"/>
                <a:gd name="T59" fmla="*/ 361 h 735"/>
                <a:gd name="T60" fmla="*/ 636 w 697"/>
                <a:gd name="T61" fmla="*/ 322 h 735"/>
                <a:gd name="T62" fmla="*/ 636 w 697"/>
                <a:gd name="T63" fmla="*/ 296 h 735"/>
                <a:gd name="T64" fmla="*/ 661 w 697"/>
                <a:gd name="T65" fmla="*/ 259 h 735"/>
                <a:gd name="T66" fmla="*/ 650 w 697"/>
                <a:gd name="T67" fmla="*/ 182 h 735"/>
                <a:gd name="T68" fmla="*/ 642 w 697"/>
                <a:gd name="T69" fmla="*/ 129 h 735"/>
                <a:gd name="T70" fmla="*/ 609 w 697"/>
                <a:gd name="T71" fmla="*/ 84 h 735"/>
                <a:gd name="T72" fmla="*/ 528 w 697"/>
                <a:gd name="T73" fmla="*/ 80 h 735"/>
                <a:gd name="T74" fmla="*/ 435 w 697"/>
                <a:gd name="T75" fmla="*/ 71 h 735"/>
                <a:gd name="T76" fmla="*/ 385 w 697"/>
                <a:gd name="T77" fmla="*/ 56 h 735"/>
                <a:gd name="T78" fmla="*/ 355 w 697"/>
                <a:gd name="T79" fmla="*/ 74 h 735"/>
                <a:gd name="T80" fmla="*/ 326 w 697"/>
                <a:gd name="T81" fmla="*/ 53 h 735"/>
                <a:gd name="T82" fmla="*/ 303 w 697"/>
                <a:gd name="T83" fmla="*/ 46 h 735"/>
                <a:gd name="T84" fmla="*/ 276 w 697"/>
                <a:gd name="T85" fmla="*/ 3 h 735"/>
                <a:gd name="T86" fmla="*/ 232 w 697"/>
                <a:gd name="T87" fmla="*/ 9 h 735"/>
                <a:gd name="T88" fmla="*/ 190 w 697"/>
                <a:gd name="T89" fmla="*/ 28 h 735"/>
                <a:gd name="T90" fmla="*/ 124 w 697"/>
                <a:gd name="T91" fmla="*/ 61 h 735"/>
                <a:gd name="T92" fmla="*/ 66 w 697"/>
                <a:gd name="T93" fmla="*/ 90 h 735"/>
                <a:gd name="T94" fmla="*/ 31 w 697"/>
                <a:gd name="T95" fmla="*/ 129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7" h="735">
                  <a:moveTo>
                    <a:pt x="17" y="139"/>
                  </a:moveTo>
                  <a:lnTo>
                    <a:pt x="14" y="185"/>
                  </a:lnTo>
                  <a:lnTo>
                    <a:pt x="14" y="213"/>
                  </a:lnTo>
                  <a:lnTo>
                    <a:pt x="0" y="235"/>
                  </a:lnTo>
                  <a:lnTo>
                    <a:pt x="28" y="272"/>
                  </a:lnTo>
                  <a:lnTo>
                    <a:pt x="31" y="282"/>
                  </a:lnTo>
                  <a:lnTo>
                    <a:pt x="24" y="306"/>
                  </a:lnTo>
                  <a:lnTo>
                    <a:pt x="25" y="322"/>
                  </a:lnTo>
                  <a:lnTo>
                    <a:pt x="39" y="343"/>
                  </a:lnTo>
                  <a:lnTo>
                    <a:pt x="38" y="356"/>
                  </a:lnTo>
                  <a:lnTo>
                    <a:pt x="36" y="395"/>
                  </a:lnTo>
                  <a:lnTo>
                    <a:pt x="47" y="423"/>
                  </a:lnTo>
                  <a:lnTo>
                    <a:pt x="56" y="438"/>
                  </a:lnTo>
                  <a:lnTo>
                    <a:pt x="50" y="448"/>
                  </a:lnTo>
                  <a:lnTo>
                    <a:pt x="50" y="464"/>
                  </a:lnTo>
                  <a:lnTo>
                    <a:pt x="42" y="472"/>
                  </a:lnTo>
                  <a:lnTo>
                    <a:pt x="42" y="482"/>
                  </a:lnTo>
                  <a:lnTo>
                    <a:pt x="61" y="485"/>
                  </a:lnTo>
                  <a:lnTo>
                    <a:pt x="75" y="491"/>
                  </a:lnTo>
                  <a:lnTo>
                    <a:pt x="80" y="501"/>
                  </a:lnTo>
                  <a:lnTo>
                    <a:pt x="80" y="519"/>
                  </a:lnTo>
                  <a:lnTo>
                    <a:pt x="99" y="541"/>
                  </a:lnTo>
                  <a:lnTo>
                    <a:pt x="115" y="549"/>
                  </a:lnTo>
                  <a:lnTo>
                    <a:pt x="119" y="568"/>
                  </a:lnTo>
                  <a:lnTo>
                    <a:pt x="141" y="599"/>
                  </a:lnTo>
                  <a:lnTo>
                    <a:pt x="160" y="580"/>
                  </a:lnTo>
                  <a:lnTo>
                    <a:pt x="176" y="575"/>
                  </a:lnTo>
                  <a:lnTo>
                    <a:pt x="188" y="578"/>
                  </a:lnTo>
                  <a:lnTo>
                    <a:pt x="220" y="617"/>
                  </a:lnTo>
                  <a:lnTo>
                    <a:pt x="228" y="620"/>
                  </a:lnTo>
                  <a:lnTo>
                    <a:pt x="267" y="640"/>
                  </a:lnTo>
                  <a:lnTo>
                    <a:pt x="276" y="643"/>
                  </a:lnTo>
                  <a:lnTo>
                    <a:pt x="293" y="639"/>
                  </a:lnTo>
                  <a:lnTo>
                    <a:pt x="312" y="636"/>
                  </a:lnTo>
                  <a:lnTo>
                    <a:pt x="328" y="643"/>
                  </a:lnTo>
                  <a:lnTo>
                    <a:pt x="350" y="664"/>
                  </a:lnTo>
                  <a:lnTo>
                    <a:pt x="359" y="676"/>
                  </a:lnTo>
                  <a:lnTo>
                    <a:pt x="369" y="667"/>
                  </a:lnTo>
                  <a:lnTo>
                    <a:pt x="380" y="664"/>
                  </a:lnTo>
                  <a:lnTo>
                    <a:pt x="397" y="680"/>
                  </a:lnTo>
                  <a:lnTo>
                    <a:pt x="416" y="696"/>
                  </a:lnTo>
                  <a:lnTo>
                    <a:pt x="429" y="707"/>
                  </a:lnTo>
                  <a:lnTo>
                    <a:pt x="448" y="714"/>
                  </a:lnTo>
                  <a:lnTo>
                    <a:pt x="457" y="711"/>
                  </a:lnTo>
                  <a:lnTo>
                    <a:pt x="466" y="701"/>
                  </a:lnTo>
                  <a:lnTo>
                    <a:pt x="479" y="696"/>
                  </a:lnTo>
                  <a:lnTo>
                    <a:pt x="502" y="704"/>
                  </a:lnTo>
                  <a:lnTo>
                    <a:pt x="609" y="735"/>
                  </a:lnTo>
                  <a:lnTo>
                    <a:pt x="626" y="720"/>
                  </a:lnTo>
                  <a:lnTo>
                    <a:pt x="614" y="696"/>
                  </a:lnTo>
                  <a:lnTo>
                    <a:pt x="603" y="657"/>
                  </a:lnTo>
                  <a:lnTo>
                    <a:pt x="678" y="580"/>
                  </a:lnTo>
                  <a:lnTo>
                    <a:pt x="692" y="562"/>
                  </a:lnTo>
                  <a:lnTo>
                    <a:pt x="697" y="532"/>
                  </a:lnTo>
                  <a:lnTo>
                    <a:pt x="685" y="494"/>
                  </a:lnTo>
                  <a:lnTo>
                    <a:pt x="673" y="461"/>
                  </a:lnTo>
                  <a:lnTo>
                    <a:pt x="652" y="424"/>
                  </a:lnTo>
                  <a:lnTo>
                    <a:pt x="638" y="408"/>
                  </a:lnTo>
                  <a:lnTo>
                    <a:pt x="636" y="386"/>
                  </a:lnTo>
                  <a:lnTo>
                    <a:pt x="638" y="361"/>
                  </a:lnTo>
                  <a:lnTo>
                    <a:pt x="645" y="337"/>
                  </a:lnTo>
                  <a:lnTo>
                    <a:pt x="636" y="322"/>
                  </a:lnTo>
                  <a:lnTo>
                    <a:pt x="624" y="312"/>
                  </a:lnTo>
                  <a:lnTo>
                    <a:pt x="636" y="296"/>
                  </a:lnTo>
                  <a:lnTo>
                    <a:pt x="655" y="266"/>
                  </a:lnTo>
                  <a:lnTo>
                    <a:pt x="661" y="259"/>
                  </a:lnTo>
                  <a:lnTo>
                    <a:pt x="657" y="208"/>
                  </a:lnTo>
                  <a:lnTo>
                    <a:pt x="650" y="182"/>
                  </a:lnTo>
                  <a:lnTo>
                    <a:pt x="642" y="155"/>
                  </a:lnTo>
                  <a:lnTo>
                    <a:pt x="642" y="129"/>
                  </a:lnTo>
                  <a:lnTo>
                    <a:pt x="628" y="105"/>
                  </a:lnTo>
                  <a:lnTo>
                    <a:pt x="609" y="84"/>
                  </a:lnTo>
                  <a:lnTo>
                    <a:pt x="589" y="81"/>
                  </a:lnTo>
                  <a:lnTo>
                    <a:pt x="528" y="80"/>
                  </a:lnTo>
                  <a:lnTo>
                    <a:pt x="495" y="77"/>
                  </a:lnTo>
                  <a:lnTo>
                    <a:pt x="435" y="71"/>
                  </a:lnTo>
                  <a:lnTo>
                    <a:pt x="410" y="58"/>
                  </a:lnTo>
                  <a:lnTo>
                    <a:pt x="385" y="56"/>
                  </a:lnTo>
                  <a:lnTo>
                    <a:pt x="371" y="61"/>
                  </a:lnTo>
                  <a:lnTo>
                    <a:pt x="355" y="74"/>
                  </a:lnTo>
                  <a:lnTo>
                    <a:pt x="340" y="68"/>
                  </a:lnTo>
                  <a:lnTo>
                    <a:pt x="326" y="53"/>
                  </a:lnTo>
                  <a:lnTo>
                    <a:pt x="309" y="53"/>
                  </a:lnTo>
                  <a:lnTo>
                    <a:pt x="303" y="46"/>
                  </a:lnTo>
                  <a:lnTo>
                    <a:pt x="298" y="21"/>
                  </a:lnTo>
                  <a:lnTo>
                    <a:pt x="276" y="3"/>
                  </a:lnTo>
                  <a:lnTo>
                    <a:pt x="261" y="0"/>
                  </a:lnTo>
                  <a:lnTo>
                    <a:pt x="232" y="9"/>
                  </a:lnTo>
                  <a:lnTo>
                    <a:pt x="209" y="16"/>
                  </a:lnTo>
                  <a:lnTo>
                    <a:pt x="190" y="28"/>
                  </a:lnTo>
                  <a:lnTo>
                    <a:pt x="157" y="50"/>
                  </a:lnTo>
                  <a:lnTo>
                    <a:pt x="124" y="61"/>
                  </a:lnTo>
                  <a:lnTo>
                    <a:pt x="96" y="74"/>
                  </a:lnTo>
                  <a:lnTo>
                    <a:pt x="66" y="90"/>
                  </a:lnTo>
                  <a:lnTo>
                    <a:pt x="50" y="111"/>
                  </a:lnTo>
                  <a:lnTo>
                    <a:pt x="31" y="129"/>
                  </a:lnTo>
                  <a:lnTo>
                    <a:pt x="17" y="139"/>
                  </a:lnTo>
                  <a:close/>
                </a:path>
              </a:pathLst>
            </a:custGeom>
            <a:solidFill>
              <a:srgbClr val="1F497D"/>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nvGrpSpPr>
            <p:cNvPr id="154" name="FI"/>
            <p:cNvGrpSpPr>
              <a:grpSpLocks/>
            </p:cNvGrpSpPr>
            <p:nvPr/>
          </p:nvGrpSpPr>
          <p:grpSpPr bwMode="auto">
            <a:xfrm>
              <a:off x="4909077" y="3011477"/>
              <a:ext cx="434340" cy="727055"/>
              <a:chOff x="3757282" y="1308773"/>
              <a:chExt cx="413" cy="793"/>
            </a:xfrm>
            <a:solidFill>
              <a:srgbClr val="1F497D"/>
            </a:solidFill>
            <a:effectLst/>
          </p:grpSpPr>
          <p:sp>
            <p:nvSpPr>
              <p:cNvPr id="220" name="Freeform 219"/>
              <p:cNvSpPr>
                <a:spLocks noChangeAspect="1"/>
              </p:cNvSpPr>
              <p:nvPr/>
            </p:nvSpPr>
            <p:spPr bwMode="auto">
              <a:xfrm>
                <a:off x="3757282" y="1309520"/>
                <a:ext cx="24" cy="22"/>
              </a:xfrm>
              <a:custGeom>
                <a:avLst/>
                <a:gdLst>
                  <a:gd name="T0" fmla="*/ 30 w 35"/>
                  <a:gd name="T1" fmla="*/ 0 h 37"/>
                  <a:gd name="T2" fmla="*/ 16 w 35"/>
                  <a:gd name="T3" fmla="*/ 9 h 37"/>
                  <a:gd name="T4" fmla="*/ 0 w 35"/>
                  <a:gd name="T5" fmla="*/ 24 h 37"/>
                  <a:gd name="T6" fmla="*/ 2 w 35"/>
                  <a:gd name="T7" fmla="*/ 37 h 37"/>
                  <a:gd name="T8" fmla="*/ 11 w 35"/>
                  <a:gd name="T9" fmla="*/ 37 h 37"/>
                  <a:gd name="T10" fmla="*/ 35 w 35"/>
                  <a:gd name="T11" fmla="*/ 19 h 37"/>
                  <a:gd name="T12" fmla="*/ 30 w 3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30" y="0"/>
                    </a:moveTo>
                    <a:lnTo>
                      <a:pt x="16" y="9"/>
                    </a:lnTo>
                    <a:lnTo>
                      <a:pt x="0" y="24"/>
                    </a:lnTo>
                    <a:lnTo>
                      <a:pt x="2" y="37"/>
                    </a:lnTo>
                    <a:lnTo>
                      <a:pt x="11" y="37"/>
                    </a:lnTo>
                    <a:lnTo>
                      <a:pt x="35" y="19"/>
                    </a:lnTo>
                    <a:lnTo>
                      <a:pt x="30"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21" name="Freeform 220"/>
              <p:cNvSpPr>
                <a:spLocks noChangeAspect="1"/>
              </p:cNvSpPr>
              <p:nvPr/>
            </p:nvSpPr>
            <p:spPr bwMode="auto">
              <a:xfrm>
                <a:off x="3757318" y="1308773"/>
                <a:ext cx="377" cy="793"/>
              </a:xfrm>
              <a:custGeom>
                <a:avLst/>
                <a:gdLst>
                  <a:gd name="T0" fmla="*/ 151 w 553"/>
                  <a:gd name="T1" fmla="*/ 1239 h 1281"/>
                  <a:gd name="T2" fmla="*/ 118 w 553"/>
                  <a:gd name="T3" fmla="*/ 1207 h 1281"/>
                  <a:gd name="T4" fmla="*/ 75 w 553"/>
                  <a:gd name="T5" fmla="*/ 1197 h 1281"/>
                  <a:gd name="T6" fmla="*/ 75 w 553"/>
                  <a:gd name="T7" fmla="*/ 1096 h 1281"/>
                  <a:gd name="T8" fmla="*/ 56 w 553"/>
                  <a:gd name="T9" fmla="*/ 1028 h 1281"/>
                  <a:gd name="T10" fmla="*/ 52 w 553"/>
                  <a:gd name="T11" fmla="*/ 975 h 1281"/>
                  <a:gd name="T12" fmla="*/ 38 w 553"/>
                  <a:gd name="T13" fmla="*/ 930 h 1281"/>
                  <a:gd name="T14" fmla="*/ 66 w 553"/>
                  <a:gd name="T15" fmla="*/ 883 h 1281"/>
                  <a:gd name="T16" fmla="*/ 80 w 553"/>
                  <a:gd name="T17" fmla="*/ 840 h 1281"/>
                  <a:gd name="T18" fmla="*/ 136 w 553"/>
                  <a:gd name="T19" fmla="*/ 788 h 1281"/>
                  <a:gd name="T20" fmla="*/ 174 w 553"/>
                  <a:gd name="T21" fmla="*/ 725 h 1281"/>
                  <a:gd name="T22" fmla="*/ 201 w 553"/>
                  <a:gd name="T23" fmla="*/ 672 h 1281"/>
                  <a:gd name="T24" fmla="*/ 225 w 553"/>
                  <a:gd name="T25" fmla="*/ 636 h 1281"/>
                  <a:gd name="T26" fmla="*/ 229 w 553"/>
                  <a:gd name="T27" fmla="*/ 599 h 1281"/>
                  <a:gd name="T28" fmla="*/ 220 w 553"/>
                  <a:gd name="T29" fmla="*/ 562 h 1281"/>
                  <a:gd name="T30" fmla="*/ 193 w 553"/>
                  <a:gd name="T31" fmla="*/ 546 h 1281"/>
                  <a:gd name="T32" fmla="*/ 151 w 553"/>
                  <a:gd name="T33" fmla="*/ 445 h 1281"/>
                  <a:gd name="T34" fmla="*/ 155 w 553"/>
                  <a:gd name="T35" fmla="*/ 361 h 1281"/>
                  <a:gd name="T36" fmla="*/ 136 w 553"/>
                  <a:gd name="T37" fmla="*/ 277 h 1281"/>
                  <a:gd name="T38" fmla="*/ 103 w 553"/>
                  <a:gd name="T39" fmla="*/ 223 h 1281"/>
                  <a:gd name="T40" fmla="*/ 38 w 553"/>
                  <a:gd name="T41" fmla="*/ 182 h 1281"/>
                  <a:gd name="T42" fmla="*/ 14 w 553"/>
                  <a:gd name="T43" fmla="*/ 139 h 1281"/>
                  <a:gd name="T44" fmla="*/ 19 w 553"/>
                  <a:gd name="T45" fmla="*/ 111 h 1281"/>
                  <a:gd name="T46" fmla="*/ 61 w 553"/>
                  <a:gd name="T47" fmla="*/ 135 h 1281"/>
                  <a:gd name="T48" fmla="*/ 136 w 553"/>
                  <a:gd name="T49" fmla="*/ 155 h 1281"/>
                  <a:gd name="T50" fmla="*/ 165 w 553"/>
                  <a:gd name="T51" fmla="*/ 176 h 1281"/>
                  <a:gd name="T52" fmla="*/ 201 w 553"/>
                  <a:gd name="T53" fmla="*/ 139 h 1281"/>
                  <a:gd name="T54" fmla="*/ 225 w 553"/>
                  <a:gd name="T55" fmla="*/ 111 h 1281"/>
                  <a:gd name="T56" fmla="*/ 220 w 553"/>
                  <a:gd name="T57" fmla="*/ 52 h 1281"/>
                  <a:gd name="T58" fmla="*/ 258 w 553"/>
                  <a:gd name="T59" fmla="*/ 27 h 1281"/>
                  <a:gd name="T60" fmla="*/ 309 w 553"/>
                  <a:gd name="T61" fmla="*/ 37 h 1281"/>
                  <a:gd name="T62" fmla="*/ 309 w 553"/>
                  <a:gd name="T63" fmla="*/ 84 h 1281"/>
                  <a:gd name="T64" fmla="*/ 267 w 553"/>
                  <a:gd name="T65" fmla="*/ 131 h 1281"/>
                  <a:gd name="T66" fmla="*/ 314 w 553"/>
                  <a:gd name="T67" fmla="*/ 121 h 1281"/>
                  <a:gd name="T68" fmla="*/ 319 w 553"/>
                  <a:gd name="T69" fmla="*/ 42 h 1281"/>
                  <a:gd name="T70" fmla="*/ 347 w 553"/>
                  <a:gd name="T71" fmla="*/ 89 h 1281"/>
                  <a:gd name="T72" fmla="*/ 338 w 553"/>
                  <a:gd name="T73" fmla="*/ 160 h 1281"/>
                  <a:gd name="T74" fmla="*/ 375 w 553"/>
                  <a:gd name="T75" fmla="*/ 223 h 1281"/>
                  <a:gd name="T76" fmla="*/ 399 w 553"/>
                  <a:gd name="T77" fmla="*/ 281 h 1281"/>
                  <a:gd name="T78" fmla="*/ 403 w 553"/>
                  <a:gd name="T79" fmla="*/ 371 h 1281"/>
                  <a:gd name="T80" fmla="*/ 441 w 553"/>
                  <a:gd name="T81" fmla="*/ 498 h 1281"/>
                  <a:gd name="T82" fmla="*/ 455 w 553"/>
                  <a:gd name="T83" fmla="*/ 636 h 1281"/>
                  <a:gd name="T84" fmla="*/ 474 w 553"/>
                  <a:gd name="T85" fmla="*/ 735 h 1281"/>
                  <a:gd name="T86" fmla="*/ 529 w 553"/>
                  <a:gd name="T87" fmla="*/ 803 h 1281"/>
                  <a:gd name="T88" fmla="*/ 553 w 553"/>
                  <a:gd name="T89" fmla="*/ 857 h 1281"/>
                  <a:gd name="T90" fmla="*/ 526 w 553"/>
                  <a:gd name="T91" fmla="*/ 964 h 1281"/>
                  <a:gd name="T92" fmla="*/ 512 w 553"/>
                  <a:gd name="T93" fmla="*/ 1022 h 1281"/>
                  <a:gd name="T94" fmla="*/ 483 w 553"/>
                  <a:gd name="T95" fmla="*/ 1055 h 1281"/>
                  <a:gd name="T96" fmla="*/ 413 w 553"/>
                  <a:gd name="T97" fmla="*/ 1133 h 1281"/>
                  <a:gd name="T98" fmla="*/ 380 w 553"/>
                  <a:gd name="T99" fmla="*/ 1170 h 1281"/>
                  <a:gd name="T100" fmla="*/ 338 w 553"/>
                  <a:gd name="T101" fmla="*/ 1192 h 1281"/>
                  <a:gd name="T102" fmla="*/ 272 w 553"/>
                  <a:gd name="T103" fmla="*/ 1213 h 1281"/>
                  <a:gd name="T104" fmla="*/ 206 w 553"/>
                  <a:gd name="T105" fmla="*/ 1244 h 1281"/>
                  <a:gd name="T106" fmla="*/ 155 w 553"/>
                  <a:gd name="T107" fmla="*/ 1281 h 1281"/>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4828 w 10000"/>
                  <a:gd name="connsiteY65" fmla="*/ 1023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172 w 10000"/>
                  <a:gd name="connsiteY64" fmla="*/ 820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678 w 10000"/>
                  <a:gd name="connsiteY68" fmla="*/ 695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 name="connsiteX0" fmla="*/ 2803 w 10000"/>
                  <a:gd name="connsiteY0" fmla="*/ 10000 h 10000"/>
                  <a:gd name="connsiteX1" fmla="*/ 2731 w 10000"/>
                  <a:gd name="connsiteY1" fmla="*/ 9672 h 10000"/>
                  <a:gd name="connsiteX2" fmla="*/ 2387 w 10000"/>
                  <a:gd name="connsiteY2" fmla="*/ 9500 h 10000"/>
                  <a:gd name="connsiteX3" fmla="*/ 2134 w 10000"/>
                  <a:gd name="connsiteY3" fmla="*/ 9422 h 10000"/>
                  <a:gd name="connsiteX4" fmla="*/ 1700 w 10000"/>
                  <a:gd name="connsiteY4" fmla="*/ 9344 h 10000"/>
                  <a:gd name="connsiteX5" fmla="*/ 1356 w 10000"/>
                  <a:gd name="connsiteY5" fmla="*/ 9344 h 10000"/>
                  <a:gd name="connsiteX6" fmla="*/ 1193 w 10000"/>
                  <a:gd name="connsiteY6" fmla="*/ 9180 h 10000"/>
                  <a:gd name="connsiteX7" fmla="*/ 1356 w 10000"/>
                  <a:gd name="connsiteY7" fmla="*/ 8556 h 10000"/>
                  <a:gd name="connsiteX8" fmla="*/ 1284 w 10000"/>
                  <a:gd name="connsiteY8" fmla="*/ 8189 h 10000"/>
                  <a:gd name="connsiteX9" fmla="*/ 1013 w 10000"/>
                  <a:gd name="connsiteY9" fmla="*/ 8025 h 10000"/>
                  <a:gd name="connsiteX10" fmla="*/ 850 w 10000"/>
                  <a:gd name="connsiteY10" fmla="*/ 7947 h 10000"/>
                  <a:gd name="connsiteX11" fmla="*/ 940 w 10000"/>
                  <a:gd name="connsiteY11" fmla="*/ 7611 h 10000"/>
                  <a:gd name="connsiteX12" fmla="*/ 850 w 10000"/>
                  <a:gd name="connsiteY12" fmla="*/ 7416 h 10000"/>
                  <a:gd name="connsiteX13" fmla="*/ 687 w 10000"/>
                  <a:gd name="connsiteY13" fmla="*/ 7260 h 10000"/>
                  <a:gd name="connsiteX14" fmla="*/ 940 w 10000"/>
                  <a:gd name="connsiteY14" fmla="*/ 6893 h 10000"/>
                  <a:gd name="connsiteX15" fmla="*/ 1193 w 10000"/>
                  <a:gd name="connsiteY15" fmla="*/ 6893 h 10000"/>
                  <a:gd name="connsiteX16" fmla="*/ 1356 w 10000"/>
                  <a:gd name="connsiteY16" fmla="*/ 6815 h 10000"/>
                  <a:gd name="connsiteX17" fmla="*/ 1447 w 10000"/>
                  <a:gd name="connsiteY17" fmla="*/ 6557 h 10000"/>
                  <a:gd name="connsiteX18" fmla="*/ 1953 w 10000"/>
                  <a:gd name="connsiteY18" fmla="*/ 6362 h 10000"/>
                  <a:gd name="connsiteX19" fmla="*/ 2459 w 10000"/>
                  <a:gd name="connsiteY19" fmla="*/ 6151 h 10000"/>
                  <a:gd name="connsiteX20" fmla="*/ 2550 w 10000"/>
                  <a:gd name="connsiteY20" fmla="*/ 5902 h 10000"/>
                  <a:gd name="connsiteX21" fmla="*/ 3146 w 10000"/>
                  <a:gd name="connsiteY21" fmla="*/ 5660 h 10000"/>
                  <a:gd name="connsiteX22" fmla="*/ 3725 w 10000"/>
                  <a:gd name="connsiteY22" fmla="*/ 5371 h 10000"/>
                  <a:gd name="connsiteX23" fmla="*/ 3635 w 10000"/>
                  <a:gd name="connsiteY23" fmla="*/ 5246 h 10000"/>
                  <a:gd name="connsiteX24" fmla="*/ 3635 w 10000"/>
                  <a:gd name="connsiteY24" fmla="*/ 5082 h 10000"/>
                  <a:gd name="connsiteX25" fmla="*/ 4069 w 10000"/>
                  <a:gd name="connsiteY25" fmla="*/ 4965 h 10000"/>
                  <a:gd name="connsiteX26" fmla="*/ 4231 w 10000"/>
                  <a:gd name="connsiteY26" fmla="*/ 4918 h 10000"/>
                  <a:gd name="connsiteX27" fmla="*/ 4141 w 10000"/>
                  <a:gd name="connsiteY27" fmla="*/ 4676 h 10000"/>
                  <a:gd name="connsiteX28" fmla="*/ 4141 w 10000"/>
                  <a:gd name="connsiteY28" fmla="*/ 4426 h 10000"/>
                  <a:gd name="connsiteX29" fmla="*/ 3978 w 10000"/>
                  <a:gd name="connsiteY29" fmla="*/ 4387 h 10000"/>
                  <a:gd name="connsiteX30" fmla="*/ 3725 w 10000"/>
                  <a:gd name="connsiteY30" fmla="*/ 4426 h 10000"/>
                  <a:gd name="connsiteX31" fmla="*/ 3490 w 10000"/>
                  <a:gd name="connsiteY31" fmla="*/ 4262 h 10000"/>
                  <a:gd name="connsiteX32" fmla="*/ 3237 w 10000"/>
                  <a:gd name="connsiteY32" fmla="*/ 3810 h 10000"/>
                  <a:gd name="connsiteX33" fmla="*/ 2731 w 10000"/>
                  <a:gd name="connsiteY33" fmla="*/ 3474 h 10000"/>
                  <a:gd name="connsiteX34" fmla="*/ 2893 w 10000"/>
                  <a:gd name="connsiteY34" fmla="*/ 3021 h 10000"/>
                  <a:gd name="connsiteX35" fmla="*/ 2803 w 10000"/>
                  <a:gd name="connsiteY35" fmla="*/ 2818 h 10000"/>
                  <a:gd name="connsiteX36" fmla="*/ 2206 w 10000"/>
                  <a:gd name="connsiteY36" fmla="*/ 2529 h 10000"/>
                  <a:gd name="connsiteX37" fmla="*/ 2459 w 10000"/>
                  <a:gd name="connsiteY37" fmla="*/ 2162 h 10000"/>
                  <a:gd name="connsiteX38" fmla="*/ 2297 w 10000"/>
                  <a:gd name="connsiteY38" fmla="*/ 1952 h 10000"/>
                  <a:gd name="connsiteX39" fmla="*/ 1863 w 10000"/>
                  <a:gd name="connsiteY39" fmla="*/ 1741 h 10000"/>
                  <a:gd name="connsiteX40" fmla="*/ 1609 w 10000"/>
                  <a:gd name="connsiteY40" fmla="*/ 1874 h 10000"/>
                  <a:gd name="connsiteX41" fmla="*/ 687 w 10000"/>
                  <a:gd name="connsiteY41" fmla="*/ 1421 h 10000"/>
                  <a:gd name="connsiteX42" fmla="*/ 434 w 10000"/>
                  <a:gd name="connsiteY42" fmla="*/ 1249 h 10000"/>
                  <a:gd name="connsiteX43" fmla="*/ 253 w 10000"/>
                  <a:gd name="connsiteY43" fmla="*/ 1085 h 10000"/>
                  <a:gd name="connsiteX44" fmla="*/ 0 w 10000"/>
                  <a:gd name="connsiteY44" fmla="*/ 1023 h 10000"/>
                  <a:gd name="connsiteX45" fmla="*/ 344 w 10000"/>
                  <a:gd name="connsiteY45" fmla="*/ 867 h 10000"/>
                  <a:gd name="connsiteX46" fmla="*/ 850 w 10000"/>
                  <a:gd name="connsiteY46" fmla="*/ 867 h 10000"/>
                  <a:gd name="connsiteX47" fmla="*/ 1103 w 10000"/>
                  <a:gd name="connsiteY47" fmla="*/ 1054 h 10000"/>
                  <a:gd name="connsiteX48" fmla="*/ 1790 w 10000"/>
                  <a:gd name="connsiteY48" fmla="*/ 1421 h 10000"/>
                  <a:gd name="connsiteX49" fmla="*/ 2459 w 10000"/>
                  <a:gd name="connsiteY49" fmla="*/ 1210 h 10000"/>
                  <a:gd name="connsiteX50" fmla="*/ 2893 w 10000"/>
                  <a:gd name="connsiteY50" fmla="*/ 1249 h 10000"/>
                  <a:gd name="connsiteX51" fmla="*/ 2984 w 10000"/>
                  <a:gd name="connsiteY51" fmla="*/ 1374 h 10000"/>
                  <a:gd name="connsiteX52" fmla="*/ 3490 w 10000"/>
                  <a:gd name="connsiteY52" fmla="*/ 1421 h 10000"/>
                  <a:gd name="connsiteX53" fmla="*/ 3635 w 10000"/>
                  <a:gd name="connsiteY53" fmla="*/ 1085 h 10000"/>
                  <a:gd name="connsiteX54" fmla="*/ 3888 w 10000"/>
                  <a:gd name="connsiteY54" fmla="*/ 984 h 10000"/>
                  <a:gd name="connsiteX55" fmla="*/ 4069 w 10000"/>
                  <a:gd name="connsiteY55" fmla="*/ 867 h 10000"/>
                  <a:gd name="connsiteX56" fmla="*/ 4069 w 10000"/>
                  <a:gd name="connsiteY56" fmla="*/ 742 h 10000"/>
                  <a:gd name="connsiteX57" fmla="*/ 3978 w 10000"/>
                  <a:gd name="connsiteY57" fmla="*/ 406 h 10000"/>
                  <a:gd name="connsiteX58" fmla="*/ 4412 w 10000"/>
                  <a:gd name="connsiteY58" fmla="*/ 211 h 10000"/>
                  <a:gd name="connsiteX59" fmla="*/ 4665 w 10000"/>
                  <a:gd name="connsiteY59" fmla="*/ 211 h 10000"/>
                  <a:gd name="connsiteX60" fmla="*/ 5081 w 10000"/>
                  <a:gd name="connsiteY60" fmla="*/ 0 h 10000"/>
                  <a:gd name="connsiteX61" fmla="*/ 5588 w 10000"/>
                  <a:gd name="connsiteY61" fmla="*/ 289 h 10000"/>
                  <a:gd name="connsiteX62" fmla="*/ 5769 w 10000"/>
                  <a:gd name="connsiteY62" fmla="*/ 406 h 10000"/>
                  <a:gd name="connsiteX63" fmla="*/ 5588 w 10000"/>
                  <a:gd name="connsiteY63" fmla="*/ 656 h 10000"/>
                  <a:gd name="connsiteX64" fmla="*/ 5572 w 10000"/>
                  <a:gd name="connsiteY64" fmla="*/ 577 h 10000"/>
                  <a:gd name="connsiteX65" fmla="*/ 5741 w 10000"/>
                  <a:gd name="connsiteY65" fmla="*/ 659 h 10000"/>
                  <a:gd name="connsiteX66" fmla="*/ 5604 w 10000"/>
                  <a:gd name="connsiteY66" fmla="*/ 755 h 10000"/>
                  <a:gd name="connsiteX67" fmla="*/ 5678 w 10000"/>
                  <a:gd name="connsiteY67" fmla="*/ 945 h 10000"/>
                  <a:gd name="connsiteX68" fmla="*/ 5792 w 10000"/>
                  <a:gd name="connsiteY68" fmla="*/ 574 h 10000"/>
                  <a:gd name="connsiteX69" fmla="*/ 5769 w 10000"/>
                  <a:gd name="connsiteY69" fmla="*/ 328 h 10000"/>
                  <a:gd name="connsiteX70" fmla="*/ 6022 w 10000"/>
                  <a:gd name="connsiteY70" fmla="*/ 242 h 10000"/>
                  <a:gd name="connsiteX71" fmla="*/ 6275 w 10000"/>
                  <a:gd name="connsiteY71" fmla="*/ 695 h 10000"/>
                  <a:gd name="connsiteX72" fmla="*/ 6275 w 10000"/>
                  <a:gd name="connsiteY72" fmla="*/ 1085 h 10000"/>
                  <a:gd name="connsiteX73" fmla="*/ 6112 w 10000"/>
                  <a:gd name="connsiteY73" fmla="*/ 1249 h 10000"/>
                  <a:gd name="connsiteX74" fmla="*/ 6112 w 10000"/>
                  <a:gd name="connsiteY74" fmla="*/ 1499 h 10000"/>
                  <a:gd name="connsiteX75" fmla="*/ 6781 w 10000"/>
                  <a:gd name="connsiteY75" fmla="*/ 1741 h 10000"/>
                  <a:gd name="connsiteX76" fmla="*/ 6781 w 10000"/>
                  <a:gd name="connsiteY76" fmla="*/ 1905 h 10000"/>
                  <a:gd name="connsiteX77" fmla="*/ 7215 w 10000"/>
                  <a:gd name="connsiteY77" fmla="*/ 2194 h 10000"/>
                  <a:gd name="connsiteX78" fmla="*/ 7378 w 10000"/>
                  <a:gd name="connsiteY78" fmla="*/ 2404 h 10000"/>
                  <a:gd name="connsiteX79" fmla="*/ 7288 w 10000"/>
                  <a:gd name="connsiteY79" fmla="*/ 2896 h 10000"/>
                  <a:gd name="connsiteX80" fmla="*/ 7559 w 10000"/>
                  <a:gd name="connsiteY80" fmla="*/ 3443 h 10000"/>
                  <a:gd name="connsiteX81" fmla="*/ 7975 w 10000"/>
                  <a:gd name="connsiteY81" fmla="*/ 3888 h 10000"/>
                  <a:gd name="connsiteX82" fmla="*/ 7884 w 10000"/>
                  <a:gd name="connsiteY82" fmla="*/ 4551 h 10000"/>
                  <a:gd name="connsiteX83" fmla="*/ 8228 w 10000"/>
                  <a:gd name="connsiteY83" fmla="*/ 4965 h 10000"/>
                  <a:gd name="connsiteX84" fmla="*/ 8409 w 10000"/>
                  <a:gd name="connsiteY84" fmla="*/ 5129 h 10000"/>
                  <a:gd name="connsiteX85" fmla="*/ 8571 w 10000"/>
                  <a:gd name="connsiteY85" fmla="*/ 5738 h 10000"/>
                  <a:gd name="connsiteX86" fmla="*/ 8734 w 10000"/>
                  <a:gd name="connsiteY86" fmla="*/ 5995 h 10000"/>
                  <a:gd name="connsiteX87" fmla="*/ 9566 w 10000"/>
                  <a:gd name="connsiteY87" fmla="*/ 6269 h 10000"/>
                  <a:gd name="connsiteX88" fmla="*/ 10000 w 10000"/>
                  <a:gd name="connsiteY88" fmla="*/ 6526 h 10000"/>
                  <a:gd name="connsiteX89" fmla="*/ 10000 w 10000"/>
                  <a:gd name="connsiteY89" fmla="*/ 6690 h 10000"/>
                  <a:gd name="connsiteX90" fmla="*/ 9656 w 10000"/>
                  <a:gd name="connsiteY90" fmla="*/ 7447 h 10000"/>
                  <a:gd name="connsiteX91" fmla="*/ 9512 w 10000"/>
                  <a:gd name="connsiteY91" fmla="*/ 7525 h 10000"/>
                  <a:gd name="connsiteX92" fmla="*/ 9656 w 10000"/>
                  <a:gd name="connsiteY92" fmla="*/ 7689 h 10000"/>
                  <a:gd name="connsiteX93" fmla="*/ 9259 w 10000"/>
                  <a:gd name="connsiteY93" fmla="*/ 7978 h 10000"/>
                  <a:gd name="connsiteX94" fmla="*/ 8734 w 10000"/>
                  <a:gd name="connsiteY94" fmla="*/ 8103 h 10000"/>
                  <a:gd name="connsiteX95" fmla="*/ 8734 w 10000"/>
                  <a:gd name="connsiteY95" fmla="*/ 8236 h 10000"/>
                  <a:gd name="connsiteX96" fmla="*/ 7975 w 10000"/>
                  <a:gd name="connsiteY96" fmla="*/ 8728 h 10000"/>
                  <a:gd name="connsiteX97" fmla="*/ 7468 w 10000"/>
                  <a:gd name="connsiteY97" fmla="*/ 8845 h 10000"/>
                  <a:gd name="connsiteX98" fmla="*/ 7378 w 10000"/>
                  <a:gd name="connsiteY98" fmla="*/ 9133 h 10000"/>
                  <a:gd name="connsiteX99" fmla="*/ 6872 w 10000"/>
                  <a:gd name="connsiteY99" fmla="*/ 9133 h 10000"/>
                  <a:gd name="connsiteX100" fmla="*/ 6618 w 10000"/>
                  <a:gd name="connsiteY100" fmla="*/ 9227 h 10000"/>
                  <a:gd name="connsiteX101" fmla="*/ 6112 w 10000"/>
                  <a:gd name="connsiteY101" fmla="*/ 9305 h 10000"/>
                  <a:gd name="connsiteX102" fmla="*/ 5425 w 10000"/>
                  <a:gd name="connsiteY102" fmla="*/ 9258 h 10000"/>
                  <a:gd name="connsiteX103" fmla="*/ 4919 w 10000"/>
                  <a:gd name="connsiteY103" fmla="*/ 9469 h 10000"/>
                  <a:gd name="connsiteX104" fmla="*/ 4322 w 10000"/>
                  <a:gd name="connsiteY104" fmla="*/ 9633 h 10000"/>
                  <a:gd name="connsiteX105" fmla="*/ 3725 w 10000"/>
                  <a:gd name="connsiteY105" fmla="*/ 9711 h 10000"/>
                  <a:gd name="connsiteX106" fmla="*/ 3291 w 10000"/>
                  <a:gd name="connsiteY106" fmla="*/ 9883 h 10000"/>
                  <a:gd name="connsiteX107" fmla="*/ 2803 w 10000"/>
                  <a:gd name="connsiteY107"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0000" h="10000">
                    <a:moveTo>
                      <a:pt x="2803" y="10000"/>
                    </a:moveTo>
                    <a:cubicBezTo>
                      <a:pt x="2779" y="9891"/>
                      <a:pt x="2755" y="9781"/>
                      <a:pt x="2731" y="9672"/>
                    </a:cubicBezTo>
                    <a:lnTo>
                      <a:pt x="2387" y="9500"/>
                    </a:lnTo>
                    <a:lnTo>
                      <a:pt x="2134" y="9422"/>
                    </a:lnTo>
                    <a:lnTo>
                      <a:pt x="1700" y="9344"/>
                    </a:lnTo>
                    <a:lnTo>
                      <a:pt x="1356" y="9344"/>
                    </a:lnTo>
                    <a:cubicBezTo>
                      <a:pt x="1302" y="9289"/>
                      <a:pt x="1247" y="9235"/>
                      <a:pt x="1193" y="9180"/>
                    </a:cubicBezTo>
                    <a:cubicBezTo>
                      <a:pt x="1247" y="8972"/>
                      <a:pt x="1302" y="8764"/>
                      <a:pt x="1356" y="8556"/>
                    </a:cubicBezTo>
                    <a:cubicBezTo>
                      <a:pt x="1332" y="8434"/>
                      <a:pt x="1308" y="8311"/>
                      <a:pt x="1284" y="8189"/>
                    </a:cubicBezTo>
                    <a:lnTo>
                      <a:pt x="1013" y="8025"/>
                    </a:lnTo>
                    <a:lnTo>
                      <a:pt x="850" y="7947"/>
                    </a:lnTo>
                    <a:lnTo>
                      <a:pt x="940" y="7611"/>
                    </a:lnTo>
                    <a:lnTo>
                      <a:pt x="850" y="7416"/>
                    </a:lnTo>
                    <a:lnTo>
                      <a:pt x="687" y="7260"/>
                    </a:lnTo>
                    <a:lnTo>
                      <a:pt x="940" y="6893"/>
                    </a:lnTo>
                    <a:lnTo>
                      <a:pt x="1193" y="6893"/>
                    </a:lnTo>
                    <a:lnTo>
                      <a:pt x="1356" y="6815"/>
                    </a:lnTo>
                    <a:cubicBezTo>
                      <a:pt x="1386" y="6729"/>
                      <a:pt x="1417" y="6643"/>
                      <a:pt x="1447" y="6557"/>
                    </a:cubicBezTo>
                    <a:lnTo>
                      <a:pt x="1953" y="6362"/>
                    </a:lnTo>
                    <a:lnTo>
                      <a:pt x="2459" y="6151"/>
                    </a:lnTo>
                    <a:cubicBezTo>
                      <a:pt x="2489" y="6068"/>
                      <a:pt x="2520" y="5985"/>
                      <a:pt x="2550" y="5902"/>
                    </a:cubicBezTo>
                    <a:lnTo>
                      <a:pt x="3146" y="5660"/>
                    </a:lnTo>
                    <a:lnTo>
                      <a:pt x="3725" y="5371"/>
                    </a:lnTo>
                    <a:cubicBezTo>
                      <a:pt x="3695" y="5329"/>
                      <a:pt x="3665" y="5288"/>
                      <a:pt x="3635" y="5246"/>
                    </a:cubicBezTo>
                    <a:lnTo>
                      <a:pt x="3635" y="5082"/>
                    </a:lnTo>
                    <a:lnTo>
                      <a:pt x="4069" y="4965"/>
                    </a:lnTo>
                    <a:lnTo>
                      <a:pt x="4231" y="4918"/>
                    </a:lnTo>
                    <a:cubicBezTo>
                      <a:pt x="4201" y="4837"/>
                      <a:pt x="4171" y="4757"/>
                      <a:pt x="4141" y="4676"/>
                    </a:cubicBezTo>
                    <a:lnTo>
                      <a:pt x="4141" y="4426"/>
                    </a:lnTo>
                    <a:lnTo>
                      <a:pt x="3978" y="4387"/>
                    </a:lnTo>
                    <a:lnTo>
                      <a:pt x="3725" y="4426"/>
                    </a:lnTo>
                    <a:lnTo>
                      <a:pt x="3490" y="4262"/>
                    </a:lnTo>
                    <a:cubicBezTo>
                      <a:pt x="3406" y="4111"/>
                      <a:pt x="3321" y="3961"/>
                      <a:pt x="3237" y="3810"/>
                    </a:cubicBezTo>
                    <a:lnTo>
                      <a:pt x="2731" y="3474"/>
                    </a:lnTo>
                    <a:lnTo>
                      <a:pt x="2893" y="3021"/>
                    </a:lnTo>
                    <a:cubicBezTo>
                      <a:pt x="2863" y="2953"/>
                      <a:pt x="2833" y="2886"/>
                      <a:pt x="2803" y="2818"/>
                    </a:cubicBezTo>
                    <a:lnTo>
                      <a:pt x="2206" y="2529"/>
                    </a:lnTo>
                    <a:lnTo>
                      <a:pt x="2459" y="2162"/>
                    </a:lnTo>
                    <a:lnTo>
                      <a:pt x="2297" y="1952"/>
                    </a:lnTo>
                    <a:lnTo>
                      <a:pt x="1863" y="1741"/>
                    </a:lnTo>
                    <a:lnTo>
                      <a:pt x="1609" y="1874"/>
                    </a:lnTo>
                    <a:lnTo>
                      <a:pt x="687" y="1421"/>
                    </a:lnTo>
                    <a:lnTo>
                      <a:pt x="434" y="1249"/>
                    </a:lnTo>
                    <a:cubicBezTo>
                      <a:pt x="374" y="1194"/>
                      <a:pt x="313" y="1140"/>
                      <a:pt x="253" y="1085"/>
                    </a:cubicBezTo>
                    <a:lnTo>
                      <a:pt x="0" y="1023"/>
                    </a:lnTo>
                    <a:lnTo>
                      <a:pt x="344" y="867"/>
                    </a:lnTo>
                    <a:lnTo>
                      <a:pt x="850" y="867"/>
                    </a:lnTo>
                    <a:lnTo>
                      <a:pt x="1103" y="1054"/>
                    </a:lnTo>
                    <a:lnTo>
                      <a:pt x="1790" y="1421"/>
                    </a:lnTo>
                    <a:lnTo>
                      <a:pt x="2459" y="1210"/>
                    </a:lnTo>
                    <a:lnTo>
                      <a:pt x="2893" y="1249"/>
                    </a:lnTo>
                    <a:cubicBezTo>
                      <a:pt x="2923" y="1291"/>
                      <a:pt x="2954" y="1332"/>
                      <a:pt x="2984" y="1374"/>
                    </a:cubicBezTo>
                    <a:lnTo>
                      <a:pt x="3490" y="1421"/>
                    </a:lnTo>
                    <a:cubicBezTo>
                      <a:pt x="3538" y="1309"/>
                      <a:pt x="3587" y="1197"/>
                      <a:pt x="3635" y="1085"/>
                    </a:cubicBezTo>
                    <a:lnTo>
                      <a:pt x="3888" y="984"/>
                    </a:lnTo>
                    <a:lnTo>
                      <a:pt x="4069" y="867"/>
                    </a:lnTo>
                    <a:lnTo>
                      <a:pt x="4069" y="742"/>
                    </a:lnTo>
                    <a:cubicBezTo>
                      <a:pt x="4039" y="630"/>
                      <a:pt x="4008" y="518"/>
                      <a:pt x="3978" y="406"/>
                    </a:cubicBezTo>
                    <a:lnTo>
                      <a:pt x="4412" y="211"/>
                    </a:lnTo>
                    <a:lnTo>
                      <a:pt x="4665" y="211"/>
                    </a:lnTo>
                    <a:lnTo>
                      <a:pt x="5081" y="0"/>
                    </a:lnTo>
                    <a:lnTo>
                      <a:pt x="5588" y="289"/>
                    </a:lnTo>
                    <a:lnTo>
                      <a:pt x="5769" y="406"/>
                    </a:lnTo>
                    <a:lnTo>
                      <a:pt x="5588" y="656"/>
                    </a:lnTo>
                    <a:cubicBezTo>
                      <a:pt x="5583" y="630"/>
                      <a:pt x="5577" y="603"/>
                      <a:pt x="5572" y="577"/>
                    </a:cubicBezTo>
                    <a:lnTo>
                      <a:pt x="5741" y="659"/>
                    </a:lnTo>
                    <a:lnTo>
                      <a:pt x="5604" y="755"/>
                    </a:lnTo>
                    <a:cubicBezTo>
                      <a:pt x="5629" y="818"/>
                      <a:pt x="5653" y="882"/>
                      <a:pt x="5678" y="945"/>
                    </a:cubicBezTo>
                    <a:lnTo>
                      <a:pt x="5792" y="574"/>
                    </a:lnTo>
                    <a:cubicBezTo>
                      <a:pt x="5822" y="452"/>
                      <a:pt x="5739" y="450"/>
                      <a:pt x="5769" y="328"/>
                    </a:cubicBezTo>
                    <a:lnTo>
                      <a:pt x="6022" y="242"/>
                    </a:lnTo>
                    <a:lnTo>
                      <a:pt x="6275" y="695"/>
                    </a:lnTo>
                    <a:lnTo>
                      <a:pt x="6275" y="1085"/>
                    </a:lnTo>
                    <a:cubicBezTo>
                      <a:pt x="6221" y="1140"/>
                      <a:pt x="6166" y="1194"/>
                      <a:pt x="6112" y="1249"/>
                    </a:cubicBezTo>
                    <a:lnTo>
                      <a:pt x="6112" y="1499"/>
                    </a:lnTo>
                    <a:lnTo>
                      <a:pt x="6781" y="1741"/>
                    </a:lnTo>
                    <a:lnTo>
                      <a:pt x="6781" y="1905"/>
                    </a:lnTo>
                    <a:lnTo>
                      <a:pt x="7215" y="2194"/>
                    </a:lnTo>
                    <a:lnTo>
                      <a:pt x="7378" y="2404"/>
                    </a:lnTo>
                    <a:lnTo>
                      <a:pt x="7288" y="2896"/>
                    </a:lnTo>
                    <a:lnTo>
                      <a:pt x="7559" y="3443"/>
                    </a:lnTo>
                    <a:lnTo>
                      <a:pt x="7975" y="3888"/>
                    </a:lnTo>
                    <a:cubicBezTo>
                      <a:pt x="7945" y="4109"/>
                      <a:pt x="7914" y="4330"/>
                      <a:pt x="7884" y="4551"/>
                    </a:cubicBezTo>
                    <a:lnTo>
                      <a:pt x="8228" y="4965"/>
                    </a:lnTo>
                    <a:cubicBezTo>
                      <a:pt x="8288" y="5020"/>
                      <a:pt x="8349" y="5074"/>
                      <a:pt x="8409" y="5129"/>
                    </a:cubicBezTo>
                    <a:lnTo>
                      <a:pt x="8571" y="5738"/>
                    </a:lnTo>
                    <a:cubicBezTo>
                      <a:pt x="8625" y="5824"/>
                      <a:pt x="8680" y="5909"/>
                      <a:pt x="8734" y="5995"/>
                    </a:cubicBezTo>
                    <a:lnTo>
                      <a:pt x="9566" y="6269"/>
                    </a:lnTo>
                    <a:lnTo>
                      <a:pt x="10000" y="6526"/>
                    </a:lnTo>
                    <a:lnTo>
                      <a:pt x="10000" y="6690"/>
                    </a:lnTo>
                    <a:lnTo>
                      <a:pt x="9656" y="7447"/>
                    </a:lnTo>
                    <a:lnTo>
                      <a:pt x="9512" y="7525"/>
                    </a:lnTo>
                    <a:lnTo>
                      <a:pt x="9656" y="7689"/>
                    </a:lnTo>
                    <a:lnTo>
                      <a:pt x="9259" y="7978"/>
                    </a:lnTo>
                    <a:lnTo>
                      <a:pt x="8734" y="8103"/>
                    </a:lnTo>
                    <a:lnTo>
                      <a:pt x="8734" y="8236"/>
                    </a:lnTo>
                    <a:lnTo>
                      <a:pt x="7975" y="8728"/>
                    </a:lnTo>
                    <a:lnTo>
                      <a:pt x="7468" y="8845"/>
                    </a:lnTo>
                    <a:lnTo>
                      <a:pt x="7378" y="9133"/>
                    </a:lnTo>
                    <a:lnTo>
                      <a:pt x="6872" y="9133"/>
                    </a:lnTo>
                    <a:lnTo>
                      <a:pt x="6618" y="9227"/>
                    </a:lnTo>
                    <a:lnTo>
                      <a:pt x="6112" y="9305"/>
                    </a:lnTo>
                    <a:lnTo>
                      <a:pt x="5425" y="9258"/>
                    </a:lnTo>
                    <a:lnTo>
                      <a:pt x="4919" y="9469"/>
                    </a:lnTo>
                    <a:lnTo>
                      <a:pt x="4322" y="9633"/>
                    </a:lnTo>
                    <a:lnTo>
                      <a:pt x="3725" y="9711"/>
                    </a:lnTo>
                    <a:lnTo>
                      <a:pt x="3291" y="9883"/>
                    </a:lnTo>
                    <a:lnTo>
                      <a:pt x="2803" y="10000"/>
                    </a:lnTo>
                    <a:close/>
                  </a:path>
                </a:pathLst>
              </a:custGeom>
              <a:solidFill>
                <a:srgbClr val="1F497D"/>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grpSp>
          <p:nvGrpSpPr>
            <p:cNvPr id="155" name="SE"/>
            <p:cNvGrpSpPr>
              <a:grpSpLocks/>
            </p:cNvGrpSpPr>
            <p:nvPr/>
          </p:nvGrpSpPr>
          <p:grpSpPr bwMode="auto">
            <a:xfrm>
              <a:off x="4573973" y="3092420"/>
              <a:ext cx="499931" cy="953836"/>
              <a:chOff x="3043262" y="1475462"/>
              <a:chExt cx="475" cy="1041"/>
            </a:xfrm>
            <a:solidFill>
              <a:srgbClr val="1F497D"/>
            </a:solidFill>
            <a:effectLst/>
          </p:grpSpPr>
          <p:sp>
            <p:nvSpPr>
              <p:cNvPr id="217" name="Freeform 216"/>
              <p:cNvSpPr>
                <a:spLocks noChangeAspect="1"/>
              </p:cNvSpPr>
              <p:nvPr/>
            </p:nvSpPr>
            <p:spPr bwMode="auto">
              <a:xfrm>
                <a:off x="3043451" y="1476363"/>
                <a:ext cx="32" cy="81"/>
              </a:xfrm>
              <a:custGeom>
                <a:avLst/>
                <a:gdLst>
                  <a:gd name="T0" fmla="*/ 46 w 46"/>
                  <a:gd name="T1" fmla="*/ 0 h 131"/>
                  <a:gd name="T2" fmla="*/ 44 w 46"/>
                  <a:gd name="T3" fmla="*/ 44 h 131"/>
                  <a:gd name="T4" fmla="*/ 30 w 46"/>
                  <a:gd name="T5" fmla="*/ 78 h 131"/>
                  <a:gd name="T6" fmla="*/ 9 w 46"/>
                  <a:gd name="T7" fmla="*/ 99 h 131"/>
                  <a:gd name="T8" fmla="*/ 14 w 46"/>
                  <a:gd name="T9" fmla="*/ 122 h 131"/>
                  <a:gd name="T10" fmla="*/ 5 w 46"/>
                  <a:gd name="T11" fmla="*/ 131 h 131"/>
                  <a:gd name="T12" fmla="*/ 0 w 46"/>
                  <a:gd name="T13" fmla="*/ 102 h 131"/>
                  <a:gd name="T14" fmla="*/ 7 w 46"/>
                  <a:gd name="T15" fmla="*/ 81 h 131"/>
                  <a:gd name="T16" fmla="*/ 14 w 46"/>
                  <a:gd name="T17" fmla="*/ 57 h 131"/>
                  <a:gd name="T18" fmla="*/ 46 w 46"/>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31">
                    <a:moveTo>
                      <a:pt x="46" y="0"/>
                    </a:moveTo>
                    <a:lnTo>
                      <a:pt x="44" y="44"/>
                    </a:lnTo>
                    <a:lnTo>
                      <a:pt x="30" y="78"/>
                    </a:lnTo>
                    <a:lnTo>
                      <a:pt x="9" y="99"/>
                    </a:lnTo>
                    <a:lnTo>
                      <a:pt x="14" y="122"/>
                    </a:lnTo>
                    <a:lnTo>
                      <a:pt x="5" y="131"/>
                    </a:lnTo>
                    <a:lnTo>
                      <a:pt x="0" y="102"/>
                    </a:lnTo>
                    <a:lnTo>
                      <a:pt x="7" y="81"/>
                    </a:lnTo>
                    <a:lnTo>
                      <a:pt x="14" y="57"/>
                    </a:lnTo>
                    <a:lnTo>
                      <a:pt x="46"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8" name="Freeform 217"/>
              <p:cNvSpPr>
                <a:spLocks noChangeAspect="1"/>
              </p:cNvSpPr>
              <p:nvPr/>
            </p:nvSpPr>
            <p:spPr bwMode="auto">
              <a:xfrm>
                <a:off x="3043522" y="1476325"/>
                <a:ext cx="42" cy="64"/>
              </a:xfrm>
              <a:custGeom>
                <a:avLst/>
                <a:gdLst>
                  <a:gd name="T0" fmla="*/ 50 w 64"/>
                  <a:gd name="T1" fmla="*/ 0 h 104"/>
                  <a:gd name="T2" fmla="*/ 64 w 64"/>
                  <a:gd name="T3" fmla="*/ 0 h 104"/>
                  <a:gd name="T4" fmla="*/ 47 w 64"/>
                  <a:gd name="T5" fmla="*/ 22 h 104"/>
                  <a:gd name="T6" fmla="*/ 45 w 64"/>
                  <a:gd name="T7" fmla="*/ 37 h 104"/>
                  <a:gd name="T8" fmla="*/ 50 w 64"/>
                  <a:gd name="T9" fmla="*/ 59 h 104"/>
                  <a:gd name="T10" fmla="*/ 33 w 64"/>
                  <a:gd name="T11" fmla="*/ 80 h 104"/>
                  <a:gd name="T12" fmla="*/ 12 w 64"/>
                  <a:gd name="T13" fmla="*/ 104 h 104"/>
                  <a:gd name="T14" fmla="*/ 8 w 64"/>
                  <a:gd name="T15" fmla="*/ 80 h 104"/>
                  <a:gd name="T16" fmla="*/ 0 w 64"/>
                  <a:gd name="T17" fmla="*/ 70 h 104"/>
                  <a:gd name="T18" fmla="*/ 0 w 64"/>
                  <a:gd name="T19" fmla="*/ 52 h 104"/>
                  <a:gd name="T20" fmla="*/ 19 w 64"/>
                  <a:gd name="T21" fmla="*/ 32 h 104"/>
                  <a:gd name="T22" fmla="*/ 50 w 64"/>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04">
                    <a:moveTo>
                      <a:pt x="50" y="0"/>
                    </a:moveTo>
                    <a:lnTo>
                      <a:pt x="64" y="0"/>
                    </a:lnTo>
                    <a:lnTo>
                      <a:pt x="47" y="22"/>
                    </a:lnTo>
                    <a:lnTo>
                      <a:pt x="45" y="37"/>
                    </a:lnTo>
                    <a:lnTo>
                      <a:pt x="50" y="59"/>
                    </a:lnTo>
                    <a:lnTo>
                      <a:pt x="33" y="80"/>
                    </a:lnTo>
                    <a:lnTo>
                      <a:pt x="12" y="104"/>
                    </a:lnTo>
                    <a:lnTo>
                      <a:pt x="8" y="80"/>
                    </a:lnTo>
                    <a:lnTo>
                      <a:pt x="0" y="70"/>
                    </a:lnTo>
                    <a:lnTo>
                      <a:pt x="0" y="52"/>
                    </a:lnTo>
                    <a:lnTo>
                      <a:pt x="19" y="32"/>
                    </a:lnTo>
                    <a:lnTo>
                      <a:pt x="50"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9" name="Freeform 218"/>
              <p:cNvSpPr>
                <a:spLocks noChangeAspect="1"/>
              </p:cNvSpPr>
              <p:nvPr/>
            </p:nvSpPr>
            <p:spPr bwMode="auto">
              <a:xfrm>
                <a:off x="3043262" y="1475462"/>
                <a:ext cx="475" cy="1041"/>
              </a:xfrm>
              <a:custGeom>
                <a:avLst/>
                <a:gdLst>
                  <a:gd name="T0" fmla="*/ 551 w 701"/>
                  <a:gd name="T1" fmla="*/ 30 h 1686"/>
                  <a:gd name="T2" fmla="*/ 646 w 701"/>
                  <a:gd name="T3" fmla="*/ 104 h 1686"/>
                  <a:gd name="T4" fmla="*/ 655 w 701"/>
                  <a:gd name="T5" fmla="*/ 168 h 1686"/>
                  <a:gd name="T6" fmla="*/ 677 w 701"/>
                  <a:gd name="T7" fmla="*/ 225 h 1686"/>
                  <a:gd name="T8" fmla="*/ 674 w 701"/>
                  <a:gd name="T9" fmla="*/ 299 h 1686"/>
                  <a:gd name="T10" fmla="*/ 692 w 701"/>
                  <a:gd name="T11" fmla="*/ 352 h 1686"/>
                  <a:gd name="T12" fmla="*/ 687 w 701"/>
                  <a:gd name="T13" fmla="*/ 394 h 1686"/>
                  <a:gd name="T14" fmla="*/ 603 w 701"/>
                  <a:gd name="T15" fmla="*/ 404 h 1686"/>
                  <a:gd name="T16" fmla="*/ 566 w 701"/>
                  <a:gd name="T17" fmla="*/ 468 h 1686"/>
                  <a:gd name="T18" fmla="*/ 556 w 701"/>
                  <a:gd name="T19" fmla="*/ 515 h 1686"/>
                  <a:gd name="T20" fmla="*/ 561 w 701"/>
                  <a:gd name="T21" fmla="*/ 583 h 1686"/>
                  <a:gd name="T22" fmla="*/ 533 w 701"/>
                  <a:gd name="T23" fmla="*/ 647 h 1686"/>
                  <a:gd name="T24" fmla="*/ 453 w 701"/>
                  <a:gd name="T25" fmla="*/ 700 h 1686"/>
                  <a:gd name="T26" fmla="*/ 424 w 701"/>
                  <a:gd name="T27" fmla="*/ 731 h 1686"/>
                  <a:gd name="T28" fmla="*/ 387 w 701"/>
                  <a:gd name="T29" fmla="*/ 811 h 1686"/>
                  <a:gd name="T30" fmla="*/ 376 w 701"/>
                  <a:gd name="T31" fmla="*/ 871 h 1686"/>
                  <a:gd name="T32" fmla="*/ 343 w 701"/>
                  <a:gd name="T33" fmla="*/ 956 h 1686"/>
                  <a:gd name="T34" fmla="*/ 391 w 701"/>
                  <a:gd name="T35" fmla="*/ 1067 h 1686"/>
                  <a:gd name="T36" fmla="*/ 429 w 701"/>
                  <a:gd name="T37" fmla="*/ 1151 h 1686"/>
                  <a:gd name="T38" fmla="*/ 387 w 701"/>
                  <a:gd name="T39" fmla="*/ 1182 h 1686"/>
                  <a:gd name="T40" fmla="*/ 352 w 701"/>
                  <a:gd name="T41" fmla="*/ 1188 h 1686"/>
                  <a:gd name="T42" fmla="*/ 272 w 701"/>
                  <a:gd name="T43" fmla="*/ 1194 h 1686"/>
                  <a:gd name="T44" fmla="*/ 347 w 701"/>
                  <a:gd name="T45" fmla="*/ 1214 h 1686"/>
                  <a:gd name="T46" fmla="*/ 387 w 701"/>
                  <a:gd name="T47" fmla="*/ 1241 h 1686"/>
                  <a:gd name="T48" fmla="*/ 361 w 701"/>
                  <a:gd name="T49" fmla="*/ 1262 h 1686"/>
                  <a:gd name="T50" fmla="*/ 314 w 701"/>
                  <a:gd name="T51" fmla="*/ 1309 h 1686"/>
                  <a:gd name="T52" fmla="*/ 300 w 701"/>
                  <a:gd name="T53" fmla="*/ 1356 h 1686"/>
                  <a:gd name="T54" fmla="*/ 281 w 701"/>
                  <a:gd name="T55" fmla="*/ 1467 h 1686"/>
                  <a:gd name="T56" fmla="*/ 258 w 701"/>
                  <a:gd name="T57" fmla="*/ 1541 h 1686"/>
                  <a:gd name="T58" fmla="*/ 201 w 701"/>
                  <a:gd name="T59" fmla="*/ 1599 h 1686"/>
                  <a:gd name="T60" fmla="*/ 145 w 701"/>
                  <a:gd name="T61" fmla="*/ 1620 h 1686"/>
                  <a:gd name="T62" fmla="*/ 135 w 701"/>
                  <a:gd name="T63" fmla="*/ 1670 h 1686"/>
                  <a:gd name="T64" fmla="*/ 80 w 701"/>
                  <a:gd name="T65" fmla="*/ 1686 h 1686"/>
                  <a:gd name="T66" fmla="*/ 55 w 701"/>
                  <a:gd name="T67" fmla="*/ 1659 h 1686"/>
                  <a:gd name="T68" fmla="*/ 33 w 701"/>
                  <a:gd name="T69" fmla="*/ 1568 h 1686"/>
                  <a:gd name="T70" fmla="*/ 52 w 701"/>
                  <a:gd name="T71" fmla="*/ 1546 h 1686"/>
                  <a:gd name="T72" fmla="*/ 55 w 701"/>
                  <a:gd name="T73" fmla="*/ 1515 h 1686"/>
                  <a:gd name="T74" fmla="*/ 33 w 701"/>
                  <a:gd name="T75" fmla="*/ 1430 h 1686"/>
                  <a:gd name="T76" fmla="*/ 14 w 701"/>
                  <a:gd name="T77" fmla="*/ 1362 h 1686"/>
                  <a:gd name="T78" fmla="*/ 0 w 701"/>
                  <a:gd name="T79" fmla="*/ 1256 h 1686"/>
                  <a:gd name="T80" fmla="*/ 24 w 701"/>
                  <a:gd name="T81" fmla="*/ 1214 h 1686"/>
                  <a:gd name="T82" fmla="*/ 42 w 701"/>
                  <a:gd name="T83" fmla="*/ 1108 h 1686"/>
                  <a:gd name="T84" fmla="*/ 88 w 701"/>
                  <a:gd name="T85" fmla="*/ 1046 h 1686"/>
                  <a:gd name="T86" fmla="*/ 74 w 701"/>
                  <a:gd name="T87" fmla="*/ 935 h 1686"/>
                  <a:gd name="T88" fmla="*/ 93 w 701"/>
                  <a:gd name="T89" fmla="*/ 882 h 1686"/>
                  <a:gd name="T90" fmla="*/ 85 w 701"/>
                  <a:gd name="T91" fmla="*/ 790 h 1686"/>
                  <a:gd name="T92" fmla="*/ 104 w 701"/>
                  <a:gd name="T93" fmla="*/ 679 h 1686"/>
                  <a:gd name="T94" fmla="*/ 164 w 701"/>
                  <a:gd name="T95" fmla="*/ 605 h 1686"/>
                  <a:gd name="T96" fmla="*/ 220 w 701"/>
                  <a:gd name="T97" fmla="*/ 583 h 1686"/>
                  <a:gd name="T98" fmla="*/ 197 w 701"/>
                  <a:gd name="T99" fmla="*/ 515 h 1686"/>
                  <a:gd name="T100" fmla="*/ 220 w 701"/>
                  <a:gd name="T101" fmla="*/ 458 h 1686"/>
                  <a:gd name="T102" fmla="*/ 234 w 701"/>
                  <a:gd name="T103" fmla="*/ 373 h 1686"/>
                  <a:gd name="T104" fmla="*/ 296 w 701"/>
                  <a:gd name="T105" fmla="*/ 320 h 1686"/>
                  <a:gd name="T106" fmla="*/ 324 w 701"/>
                  <a:gd name="T107" fmla="*/ 252 h 1686"/>
                  <a:gd name="T108" fmla="*/ 368 w 701"/>
                  <a:gd name="T109" fmla="*/ 147 h 1686"/>
                  <a:gd name="T110" fmla="*/ 418 w 701"/>
                  <a:gd name="T111" fmla="*/ 98 h 1686"/>
                  <a:gd name="T112" fmla="*/ 465 w 701"/>
                  <a:gd name="T113" fmla="*/ 60 h 1686"/>
                  <a:gd name="T114" fmla="*/ 523 w 701"/>
                  <a:gd name="T115" fmla="*/ 0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1" h="1686">
                    <a:moveTo>
                      <a:pt x="528" y="0"/>
                    </a:moveTo>
                    <a:lnTo>
                      <a:pt x="537" y="5"/>
                    </a:lnTo>
                    <a:lnTo>
                      <a:pt x="551" y="30"/>
                    </a:lnTo>
                    <a:lnTo>
                      <a:pt x="613" y="98"/>
                    </a:lnTo>
                    <a:lnTo>
                      <a:pt x="622" y="83"/>
                    </a:lnTo>
                    <a:lnTo>
                      <a:pt x="646" y="104"/>
                    </a:lnTo>
                    <a:lnTo>
                      <a:pt x="655" y="125"/>
                    </a:lnTo>
                    <a:lnTo>
                      <a:pt x="655" y="141"/>
                    </a:lnTo>
                    <a:lnTo>
                      <a:pt x="655" y="168"/>
                    </a:lnTo>
                    <a:lnTo>
                      <a:pt x="646" y="184"/>
                    </a:lnTo>
                    <a:lnTo>
                      <a:pt x="663" y="205"/>
                    </a:lnTo>
                    <a:lnTo>
                      <a:pt x="677" y="225"/>
                    </a:lnTo>
                    <a:lnTo>
                      <a:pt x="677" y="242"/>
                    </a:lnTo>
                    <a:lnTo>
                      <a:pt x="677" y="268"/>
                    </a:lnTo>
                    <a:lnTo>
                      <a:pt x="674" y="299"/>
                    </a:lnTo>
                    <a:lnTo>
                      <a:pt x="663" y="310"/>
                    </a:lnTo>
                    <a:lnTo>
                      <a:pt x="677" y="326"/>
                    </a:lnTo>
                    <a:lnTo>
                      <a:pt x="692" y="352"/>
                    </a:lnTo>
                    <a:lnTo>
                      <a:pt x="701" y="379"/>
                    </a:lnTo>
                    <a:lnTo>
                      <a:pt x="701" y="389"/>
                    </a:lnTo>
                    <a:lnTo>
                      <a:pt x="687" y="394"/>
                    </a:lnTo>
                    <a:lnTo>
                      <a:pt x="627" y="394"/>
                    </a:lnTo>
                    <a:lnTo>
                      <a:pt x="613" y="394"/>
                    </a:lnTo>
                    <a:lnTo>
                      <a:pt x="603" y="404"/>
                    </a:lnTo>
                    <a:lnTo>
                      <a:pt x="603" y="426"/>
                    </a:lnTo>
                    <a:lnTo>
                      <a:pt x="594" y="441"/>
                    </a:lnTo>
                    <a:lnTo>
                      <a:pt x="566" y="468"/>
                    </a:lnTo>
                    <a:lnTo>
                      <a:pt x="570" y="490"/>
                    </a:lnTo>
                    <a:lnTo>
                      <a:pt x="566" y="505"/>
                    </a:lnTo>
                    <a:lnTo>
                      <a:pt x="556" y="515"/>
                    </a:lnTo>
                    <a:lnTo>
                      <a:pt x="566" y="548"/>
                    </a:lnTo>
                    <a:lnTo>
                      <a:pt x="570" y="568"/>
                    </a:lnTo>
                    <a:lnTo>
                      <a:pt x="561" y="583"/>
                    </a:lnTo>
                    <a:lnTo>
                      <a:pt x="542" y="601"/>
                    </a:lnTo>
                    <a:lnTo>
                      <a:pt x="537" y="620"/>
                    </a:lnTo>
                    <a:lnTo>
                      <a:pt x="533" y="647"/>
                    </a:lnTo>
                    <a:lnTo>
                      <a:pt x="500" y="663"/>
                    </a:lnTo>
                    <a:lnTo>
                      <a:pt x="481" y="679"/>
                    </a:lnTo>
                    <a:lnTo>
                      <a:pt x="453" y="700"/>
                    </a:lnTo>
                    <a:lnTo>
                      <a:pt x="457" y="716"/>
                    </a:lnTo>
                    <a:lnTo>
                      <a:pt x="434" y="721"/>
                    </a:lnTo>
                    <a:lnTo>
                      <a:pt x="424" y="731"/>
                    </a:lnTo>
                    <a:lnTo>
                      <a:pt x="401" y="768"/>
                    </a:lnTo>
                    <a:lnTo>
                      <a:pt x="382" y="784"/>
                    </a:lnTo>
                    <a:lnTo>
                      <a:pt x="387" y="811"/>
                    </a:lnTo>
                    <a:lnTo>
                      <a:pt x="376" y="818"/>
                    </a:lnTo>
                    <a:lnTo>
                      <a:pt x="366" y="830"/>
                    </a:lnTo>
                    <a:lnTo>
                      <a:pt x="376" y="871"/>
                    </a:lnTo>
                    <a:lnTo>
                      <a:pt x="371" y="898"/>
                    </a:lnTo>
                    <a:lnTo>
                      <a:pt x="347" y="913"/>
                    </a:lnTo>
                    <a:lnTo>
                      <a:pt x="343" y="956"/>
                    </a:lnTo>
                    <a:lnTo>
                      <a:pt x="347" y="1009"/>
                    </a:lnTo>
                    <a:lnTo>
                      <a:pt x="357" y="1034"/>
                    </a:lnTo>
                    <a:lnTo>
                      <a:pt x="391" y="1067"/>
                    </a:lnTo>
                    <a:lnTo>
                      <a:pt x="405" y="1098"/>
                    </a:lnTo>
                    <a:lnTo>
                      <a:pt x="420" y="1130"/>
                    </a:lnTo>
                    <a:lnTo>
                      <a:pt x="429" y="1151"/>
                    </a:lnTo>
                    <a:lnTo>
                      <a:pt x="420" y="1172"/>
                    </a:lnTo>
                    <a:lnTo>
                      <a:pt x="401" y="1188"/>
                    </a:lnTo>
                    <a:lnTo>
                      <a:pt x="387" y="1182"/>
                    </a:lnTo>
                    <a:lnTo>
                      <a:pt x="376" y="1167"/>
                    </a:lnTo>
                    <a:lnTo>
                      <a:pt x="357" y="1172"/>
                    </a:lnTo>
                    <a:lnTo>
                      <a:pt x="352" y="1188"/>
                    </a:lnTo>
                    <a:lnTo>
                      <a:pt x="324" y="1188"/>
                    </a:lnTo>
                    <a:lnTo>
                      <a:pt x="281" y="1182"/>
                    </a:lnTo>
                    <a:lnTo>
                      <a:pt x="272" y="1194"/>
                    </a:lnTo>
                    <a:lnTo>
                      <a:pt x="300" y="1209"/>
                    </a:lnTo>
                    <a:lnTo>
                      <a:pt x="338" y="1194"/>
                    </a:lnTo>
                    <a:lnTo>
                      <a:pt x="347" y="1214"/>
                    </a:lnTo>
                    <a:lnTo>
                      <a:pt x="376" y="1219"/>
                    </a:lnTo>
                    <a:lnTo>
                      <a:pt x="396" y="1229"/>
                    </a:lnTo>
                    <a:lnTo>
                      <a:pt x="387" y="1241"/>
                    </a:lnTo>
                    <a:lnTo>
                      <a:pt x="361" y="1235"/>
                    </a:lnTo>
                    <a:lnTo>
                      <a:pt x="357" y="1246"/>
                    </a:lnTo>
                    <a:lnTo>
                      <a:pt x="361" y="1262"/>
                    </a:lnTo>
                    <a:lnTo>
                      <a:pt x="347" y="1283"/>
                    </a:lnTo>
                    <a:lnTo>
                      <a:pt x="324" y="1303"/>
                    </a:lnTo>
                    <a:lnTo>
                      <a:pt x="314" y="1309"/>
                    </a:lnTo>
                    <a:lnTo>
                      <a:pt x="305" y="1315"/>
                    </a:lnTo>
                    <a:lnTo>
                      <a:pt x="310" y="1340"/>
                    </a:lnTo>
                    <a:lnTo>
                      <a:pt x="300" y="1356"/>
                    </a:lnTo>
                    <a:lnTo>
                      <a:pt x="286" y="1389"/>
                    </a:lnTo>
                    <a:lnTo>
                      <a:pt x="291" y="1420"/>
                    </a:lnTo>
                    <a:lnTo>
                      <a:pt x="281" y="1467"/>
                    </a:lnTo>
                    <a:lnTo>
                      <a:pt x="272" y="1488"/>
                    </a:lnTo>
                    <a:lnTo>
                      <a:pt x="272" y="1519"/>
                    </a:lnTo>
                    <a:lnTo>
                      <a:pt x="258" y="1541"/>
                    </a:lnTo>
                    <a:lnTo>
                      <a:pt x="239" y="1578"/>
                    </a:lnTo>
                    <a:lnTo>
                      <a:pt x="234" y="1605"/>
                    </a:lnTo>
                    <a:lnTo>
                      <a:pt x="201" y="1599"/>
                    </a:lnTo>
                    <a:lnTo>
                      <a:pt x="168" y="1599"/>
                    </a:lnTo>
                    <a:lnTo>
                      <a:pt x="164" y="1615"/>
                    </a:lnTo>
                    <a:lnTo>
                      <a:pt x="145" y="1620"/>
                    </a:lnTo>
                    <a:lnTo>
                      <a:pt x="135" y="1626"/>
                    </a:lnTo>
                    <a:lnTo>
                      <a:pt x="140" y="1643"/>
                    </a:lnTo>
                    <a:lnTo>
                      <a:pt x="135" y="1670"/>
                    </a:lnTo>
                    <a:lnTo>
                      <a:pt x="112" y="1686"/>
                    </a:lnTo>
                    <a:lnTo>
                      <a:pt x="99" y="1670"/>
                    </a:lnTo>
                    <a:lnTo>
                      <a:pt x="80" y="1686"/>
                    </a:lnTo>
                    <a:lnTo>
                      <a:pt x="55" y="1686"/>
                    </a:lnTo>
                    <a:lnTo>
                      <a:pt x="47" y="1670"/>
                    </a:lnTo>
                    <a:lnTo>
                      <a:pt x="55" y="1659"/>
                    </a:lnTo>
                    <a:lnTo>
                      <a:pt x="61" y="1630"/>
                    </a:lnTo>
                    <a:lnTo>
                      <a:pt x="42" y="1589"/>
                    </a:lnTo>
                    <a:lnTo>
                      <a:pt x="33" y="1568"/>
                    </a:lnTo>
                    <a:lnTo>
                      <a:pt x="38" y="1556"/>
                    </a:lnTo>
                    <a:lnTo>
                      <a:pt x="47" y="1556"/>
                    </a:lnTo>
                    <a:lnTo>
                      <a:pt x="52" y="1546"/>
                    </a:lnTo>
                    <a:lnTo>
                      <a:pt x="55" y="1535"/>
                    </a:lnTo>
                    <a:lnTo>
                      <a:pt x="61" y="1525"/>
                    </a:lnTo>
                    <a:lnTo>
                      <a:pt x="55" y="1515"/>
                    </a:lnTo>
                    <a:lnTo>
                      <a:pt x="47" y="1494"/>
                    </a:lnTo>
                    <a:lnTo>
                      <a:pt x="28" y="1462"/>
                    </a:lnTo>
                    <a:lnTo>
                      <a:pt x="33" y="1430"/>
                    </a:lnTo>
                    <a:lnTo>
                      <a:pt x="19" y="1404"/>
                    </a:lnTo>
                    <a:lnTo>
                      <a:pt x="5" y="1389"/>
                    </a:lnTo>
                    <a:lnTo>
                      <a:pt x="14" y="1362"/>
                    </a:lnTo>
                    <a:lnTo>
                      <a:pt x="24" y="1309"/>
                    </a:lnTo>
                    <a:lnTo>
                      <a:pt x="5" y="1283"/>
                    </a:lnTo>
                    <a:lnTo>
                      <a:pt x="0" y="1256"/>
                    </a:lnTo>
                    <a:lnTo>
                      <a:pt x="0" y="1241"/>
                    </a:lnTo>
                    <a:lnTo>
                      <a:pt x="9" y="1209"/>
                    </a:lnTo>
                    <a:lnTo>
                      <a:pt x="24" y="1214"/>
                    </a:lnTo>
                    <a:lnTo>
                      <a:pt x="38" y="1172"/>
                    </a:lnTo>
                    <a:lnTo>
                      <a:pt x="38" y="1124"/>
                    </a:lnTo>
                    <a:lnTo>
                      <a:pt x="42" y="1108"/>
                    </a:lnTo>
                    <a:lnTo>
                      <a:pt x="61" y="1093"/>
                    </a:lnTo>
                    <a:lnTo>
                      <a:pt x="88" y="1071"/>
                    </a:lnTo>
                    <a:lnTo>
                      <a:pt x="88" y="1046"/>
                    </a:lnTo>
                    <a:lnTo>
                      <a:pt x="85" y="966"/>
                    </a:lnTo>
                    <a:lnTo>
                      <a:pt x="74" y="956"/>
                    </a:lnTo>
                    <a:lnTo>
                      <a:pt x="74" y="935"/>
                    </a:lnTo>
                    <a:lnTo>
                      <a:pt x="99" y="923"/>
                    </a:lnTo>
                    <a:lnTo>
                      <a:pt x="107" y="913"/>
                    </a:lnTo>
                    <a:lnTo>
                      <a:pt x="93" y="882"/>
                    </a:lnTo>
                    <a:lnTo>
                      <a:pt x="74" y="851"/>
                    </a:lnTo>
                    <a:lnTo>
                      <a:pt x="80" y="815"/>
                    </a:lnTo>
                    <a:lnTo>
                      <a:pt x="85" y="790"/>
                    </a:lnTo>
                    <a:lnTo>
                      <a:pt x="104" y="743"/>
                    </a:lnTo>
                    <a:lnTo>
                      <a:pt x="104" y="721"/>
                    </a:lnTo>
                    <a:lnTo>
                      <a:pt x="104" y="679"/>
                    </a:lnTo>
                    <a:lnTo>
                      <a:pt x="118" y="642"/>
                    </a:lnTo>
                    <a:lnTo>
                      <a:pt x="140" y="620"/>
                    </a:lnTo>
                    <a:lnTo>
                      <a:pt x="164" y="605"/>
                    </a:lnTo>
                    <a:lnTo>
                      <a:pt x="187" y="610"/>
                    </a:lnTo>
                    <a:lnTo>
                      <a:pt x="211" y="620"/>
                    </a:lnTo>
                    <a:lnTo>
                      <a:pt x="220" y="583"/>
                    </a:lnTo>
                    <a:lnTo>
                      <a:pt x="211" y="552"/>
                    </a:lnTo>
                    <a:lnTo>
                      <a:pt x="201" y="531"/>
                    </a:lnTo>
                    <a:lnTo>
                      <a:pt x="197" y="515"/>
                    </a:lnTo>
                    <a:lnTo>
                      <a:pt x="201" y="500"/>
                    </a:lnTo>
                    <a:lnTo>
                      <a:pt x="216" y="494"/>
                    </a:lnTo>
                    <a:lnTo>
                      <a:pt x="220" y="458"/>
                    </a:lnTo>
                    <a:lnTo>
                      <a:pt x="230" y="426"/>
                    </a:lnTo>
                    <a:lnTo>
                      <a:pt x="234" y="400"/>
                    </a:lnTo>
                    <a:lnTo>
                      <a:pt x="234" y="373"/>
                    </a:lnTo>
                    <a:lnTo>
                      <a:pt x="248" y="347"/>
                    </a:lnTo>
                    <a:lnTo>
                      <a:pt x="277" y="326"/>
                    </a:lnTo>
                    <a:lnTo>
                      <a:pt x="296" y="320"/>
                    </a:lnTo>
                    <a:lnTo>
                      <a:pt x="296" y="295"/>
                    </a:lnTo>
                    <a:lnTo>
                      <a:pt x="305" y="278"/>
                    </a:lnTo>
                    <a:lnTo>
                      <a:pt x="324" y="252"/>
                    </a:lnTo>
                    <a:lnTo>
                      <a:pt x="343" y="236"/>
                    </a:lnTo>
                    <a:lnTo>
                      <a:pt x="333" y="191"/>
                    </a:lnTo>
                    <a:lnTo>
                      <a:pt x="368" y="147"/>
                    </a:lnTo>
                    <a:lnTo>
                      <a:pt x="376" y="128"/>
                    </a:lnTo>
                    <a:lnTo>
                      <a:pt x="401" y="123"/>
                    </a:lnTo>
                    <a:lnTo>
                      <a:pt x="418" y="98"/>
                    </a:lnTo>
                    <a:lnTo>
                      <a:pt x="418" y="83"/>
                    </a:lnTo>
                    <a:lnTo>
                      <a:pt x="434" y="64"/>
                    </a:lnTo>
                    <a:lnTo>
                      <a:pt x="465" y="60"/>
                    </a:lnTo>
                    <a:lnTo>
                      <a:pt x="500" y="60"/>
                    </a:lnTo>
                    <a:lnTo>
                      <a:pt x="528" y="30"/>
                    </a:lnTo>
                    <a:lnTo>
                      <a:pt x="523" y="0"/>
                    </a:lnTo>
                    <a:lnTo>
                      <a:pt x="528"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grpSp>
          <p:nvGrpSpPr>
            <p:cNvPr id="156" name="NO"/>
            <p:cNvGrpSpPr>
              <a:grpSpLocks/>
            </p:cNvGrpSpPr>
            <p:nvPr/>
          </p:nvGrpSpPr>
          <p:grpSpPr bwMode="auto">
            <a:xfrm>
              <a:off x="4326270" y="2937217"/>
              <a:ext cx="913981" cy="894319"/>
              <a:chOff x="2536825" y="1148443"/>
              <a:chExt cx="1192" cy="1187"/>
            </a:xfrm>
            <a:solidFill>
              <a:srgbClr val="1F497D"/>
            </a:solidFill>
            <a:effectLst/>
          </p:grpSpPr>
          <p:sp>
            <p:nvSpPr>
              <p:cNvPr id="206" name="Freeform 205"/>
              <p:cNvSpPr>
                <a:spLocks noChangeAspect="1"/>
              </p:cNvSpPr>
              <p:nvPr/>
            </p:nvSpPr>
            <p:spPr bwMode="auto">
              <a:xfrm>
                <a:off x="2536825" y="1148443"/>
                <a:ext cx="1192" cy="1187"/>
              </a:xfrm>
              <a:custGeom>
                <a:avLst/>
                <a:gdLst>
                  <a:gd name="T0" fmla="*/ 376 w 1279"/>
                  <a:gd name="T1" fmla="*/ 1439 h 1576"/>
                  <a:gd name="T2" fmla="*/ 427 w 1279"/>
                  <a:gd name="T3" fmla="*/ 1349 h 1576"/>
                  <a:gd name="T4" fmla="*/ 413 w 1279"/>
                  <a:gd name="T5" fmla="*/ 1227 h 1576"/>
                  <a:gd name="T6" fmla="*/ 423 w 1279"/>
                  <a:gd name="T7" fmla="*/ 1122 h 1576"/>
                  <a:gd name="T8" fmla="*/ 446 w 1279"/>
                  <a:gd name="T9" fmla="*/ 977 h 1576"/>
                  <a:gd name="T10" fmla="*/ 511 w 1279"/>
                  <a:gd name="T11" fmla="*/ 877 h 1576"/>
                  <a:gd name="T12" fmla="*/ 544 w 1279"/>
                  <a:gd name="T13" fmla="*/ 798 h 1576"/>
                  <a:gd name="T14" fmla="*/ 568 w 1279"/>
                  <a:gd name="T15" fmla="*/ 719 h 1576"/>
                  <a:gd name="T16" fmla="*/ 638 w 1279"/>
                  <a:gd name="T17" fmla="*/ 587 h 1576"/>
                  <a:gd name="T18" fmla="*/ 676 w 1279"/>
                  <a:gd name="T19" fmla="*/ 482 h 1576"/>
                  <a:gd name="T20" fmla="*/ 762 w 1279"/>
                  <a:gd name="T21" fmla="*/ 376 h 1576"/>
                  <a:gd name="T22" fmla="*/ 833 w 1279"/>
                  <a:gd name="T23" fmla="*/ 340 h 1576"/>
                  <a:gd name="T24" fmla="*/ 880 w 1279"/>
                  <a:gd name="T25" fmla="*/ 247 h 1576"/>
                  <a:gd name="T26" fmla="*/ 993 w 1279"/>
                  <a:gd name="T27" fmla="*/ 297 h 1576"/>
                  <a:gd name="T28" fmla="*/ 1053 w 1279"/>
                  <a:gd name="T29" fmla="*/ 312 h 1576"/>
                  <a:gd name="T30" fmla="*/ 1086 w 1279"/>
                  <a:gd name="T31" fmla="*/ 189 h 1576"/>
                  <a:gd name="T32" fmla="*/ 1180 w 1279"/>
                  <a:gd name="T33" fmla="*/ 179 h 1576"/>
                  <a:gd name="T34" fmla="*/ 1213 w 1279"/>
                  <a:gd name="T35" fmla="*/ 226 h 1576"/>
                  <a:gd name="T36" fmla="*/ 1241 w 1279"/>
                  <a:gd name="T37" fmla="*/ 163 h 1576"/>
                  <a:gd name="T38" fmla="*/ 1274 w 1279"/>
                  <a:gd name="T39" fmla="*/ 89 h 1576"/>
                  <a:gd name="T40" fmla="*/ 1213 w 1279"/>
                  <a:gd name="T41" fmla="*/ 27 h 1576"/>
                  <a:gd name="T42" fmla="*/ 1157 w 1279"/>
                  <a:gd name="T43" fmla="*/ 31 h 1576"/>
                  <a:gd name="T44" fmla="*/ 1124 w 1279"/>
                  <a:gd name="T45" fmla="*/ 27 h 1576"/>
                  <a:gd name="T46" fmla="*/ 1078 w 1279"/>
                  <a:gd name="T47" fmla="*/ 62 h 1576"/>
                  <a:gd name="T48" fmla="*/ 1059 w 1279"/>
                  <a:gd name="T49" fmla="*/ 42 h 1576"/>
                  <a:gd name="T50" fmla="*/ 988 w 1279"/>
                  <a:gd name="T51" fmla="*/ 136 h 1576"/>
                  <a:gd name="T52" fmla="*/ 918 w 1279"/>
                  <a:gd name="T53" fmla="*/ 163 h 1576"/>
                  <a:gd name="T54" fmla="*/ 842 w 1279"/>
                  <a:gd name="T55" fmla="*/ 189 h 1576"/>
                  <a:gd name="T56" fmla="*/ 753 w 1279"/>
                  <a:gd name="T57" fmla="*/ 210 h 1576"/>
                  <a:gd name="T58" fmla="*/ 743 w 1279"/>
                  <a:gd name="T59" fmla="*/ 287 h 1576"/>
                  <a:gd name="T60" fmla="*/ 734 w 1279"/>
                  <a:gd name="T61" fmla="*/ 355 h 1576"/>
                  <a:gd name="T62" fmla="*/ 662 w 1279"/>
                  <a:gd name="T63" fmla="*/ 371 h 1576"/>
                  <a:gd name="T64" fmla="*/ 638 w 1279"/>
                  <a:gd name="T65" fmla="*/ 429 h 1576"/>
                  <a:gd name="T66" fmla="*/ 582 w 1279"/>
                  <a:gd name="T67" fmla="*/ 513 h 1576"/>
                  <a:gd name="T68" fmla="*/ 525 w 1279"/>
                  <a:gd name="T69" fmla="*/ 618 h 1576"/>
                  <a:gd name="T70" fmla="*/ 479 w 1279"/>
                  <a:gd name="T71" fmla="*/ 725 h 1576"/>
                  <a:gd name="T72" fmla="*/ 451 w 1279"/>
                  <a:gd name="T73" fmla="*/ 788 h 1576"/>
                  <a:gd name="T74" fmla="*/ 361 w 1279"/>
                  <a:gd name="T75" fmla="*/ 877 h 1576"/>
                  <a:gd name="T76" fmla="*/ 413 w 1279"/>
                  <a:gd name="T77" fmla="*/ 887 h 1576"/>
                  <a:gd name="T78" fmla="*/ 333 w 1279"/>
                  <a:gd name="T79" fmla="*/ 904 h 1576"/>
                  <a:gd name="T80" fmla="*/ 258 w 1279"/>
                  <a:gd name="T81" fmla="*/ 957 h 1576"/>
                  <a:gd name="T82" fmla="*/ 195 w 1279"/>
                  <a:gd name="T83" fmla="*/ 961 h 1576"/>
                  <a:gd name="T84" fmla="*/ 143 w 1279"/>
                  <a:gd name="T85" fmla="*/ 1001 h 1576"/>
                  <a:gd name="T86" fmla="*/ 110 w 1279"/>
                  <a:gd name="T87" fmla="*/ 1041 h 1576"/>
                  <a:gd name="T88" fmla="*/ 44 w 1279"/>
                  <a:gd name="T89" fmla="*/ 1088 h 1576"/>
                  <a:gd name="T90" fmla="*/ 25 w 1279"/>
                  <a:gd name="T91" fmla="*/ 1261 h 1576"/>
                  <a:gd name="T92" fmla="*/ 52 w 1279"/>
                  <a:gd name="T93" fmla="*/ 1301 h 1576"/>
                  <a:gd name="T94" fmla="*/ 25 w 1279"/>
                  <a:gd name="T95" fmla="*/ 1378 h 1576"/>
                  <a:gd name="T96" fmla="*/ 42 w 1279"/>
                  <a:gd name="T97" fmla="*/ 1423 h 1576"/>
                  <a:gd name="T98" fmla="*/ 0 w 1279"/>
                  <a:gd name="T99" fmla="*/ 1462 h 1576"/>
                  <a:gd name="T100" fmla="*/ 107 w 1279"/>
                  <a:gd name="T101" fmla="*/ 1576 h 1576"/>
                  <a:gd name="T102" fmla="*/ 265 w 1279"/>
                  <a:gd name="T103" fmla="*/ 1446 h 1576"/>
                  <a:gd name="T104" fmla="*/ 321 w 1279"/>
                  <a:gd name="T105" fmla="*/ 1372 h 1576"/>
                  <a:gd name="T106" fmla="*/ 333 w 1279"/>
                  <a:gd name="T107" fmla="*/ 1483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79" h="1576">
                    <a:moveTo>
                      <a:pt x="343" y="1483"/>
                    </a:moveTo>
                    <a:lnTo>
                      <a:pt x="347" y="1480"/>
                    </a:lnTo>
                    <a:lnTo>
                      <a:pt x="361" y="1476"/>
                    </a:lnTo>
                    <a:lnTo>
                      <a:pt x="371" y="1459"/>
                    </a:lnTo>
                    <a:lnTo>
                      <a:pt x="376" y="1439"/>
                    </a:lnTo>
                    <a:lnTo>
                      <a:pt x="380" y="1428"/>
                    </a:lnTo>
                    <a:lnTo>
                      <a:pt x="376" y="1396"/>
                    </a:lnTo>
                    <a:lnTo>
                      <a:pt x="380" y="1375"/>
                    </a:lnTo>
                    <a:lnTo>
                      <a:pt x="394" y="1365"/>
                    </a:lnTo>
                    <a:lnTo>
                      <a:pt x="427" y="1349"/>
                    </a:lnTo>
                    <a:lnTo>
                      <a:pt x="432" y="1332"/>
                    </a:lnTo>
                    <a:lnTo>
                      <a:pt x="427" y="1280"/>
                    </a:lnTo>
                    <a:lnTo>
                      <a:pt x="423" y="1270"/>
                    </a:lnTo>
                    <a:lnTo>
                      <a:pt x="423" y="1238"/>
                    </a:lnTo>
                    <a:lnTo>
                      <a:pt x="413" y="1227"/>
                    </a:lnTo>
                    <a:lnTo>
                      <a:pt x="418" y="1202"/>
                    </a:lnTo>
                    <a:lnTo>
                      <a:pt x="427" y="1202"/>
                    </a:lnTo>
                    <a:lnTo>
                      <a:pt x="451" y="1186"/>
                    </a:lnTo>
                    <a:lnTo>
                      <a:pt x="432" y="1137"/>
                    </a:lnTo>
                    <a:lnTo>
                      <a:pt x="423" y="1122"/>
                    </a:lnTo>
                    <a:lnTo>
                      <a:pt x="423" y="1118"/>
                    </a:lnTo>
                    <a:lnTo>
                      <a:pt x="423" y="1078"/>
                    </a:lnTo>
                    <a:lnTo>
                      <a:pt x="437" y="1046"/>
                    </a:lnTo>
                    <a:lnTo>
                      <a:pt x="441" y="1014"/>
                    </a:lnTo>
                    <a:lnTo>
                      <a:pt x="446" y="977"/>
                    </a:lnTo>
                    <a:lnTo>
                      <a:pt x="441" y="945"/>
                    </a:lnTo>
                    <a:lnTo>
                      <a:pt x="451" y="924"/>
                    </a:lnTo>
                    <a:lnTo>
                      <a:pt x="456" y="908"/>
                    </a:lnTo>
                    <a:lnTo>
                      <a:pt x="484" y="887"/>
                    </a:lnTo>
                    <a:lnTo>
                      <a:pt x="511" y="877"/>
                    </a:lnTo>
                    <a:lnTo>
                      <a:pt x="536" y="887"/>
                    </a:lnTo>
                    <a:lnTo>
                      <a:pt x="544" y="893"/>
                    </a:lnTo>
                    <a:lnTo>
                      <a:pt x="558" y="872"/>
                    </a:lnTo>
                    <a:lnTo>
                      <a:pt x="558" y="846"/>
                    </a:lnTo>
                    <a:lnTo>
                      <a:pt x="544" y="798"/>
                    </a:lnTo>
                    <a:lnTo>
                      <a:pt x="539" y="778"/>
                    </a:lnTo>
                    <a:lnTo>
                      <a:pt x="544" y="766"/>
                    </a:lnTo>
                    <a:lnTo>
                      <a:pt x="553" y="766"/>
                    </a:lnTo>
                    <a:lnTo>
                      <a:pt x="563" y="751"/>
                    </a:lnTo>
                    <a:lnTo>
                      <a:pt x="568" y="719"/>
                    </a:lnTo>
                    <a:lnTo>
                      <a:pt x="572" y="677"/>
                    </a:lnTo>
                    <a:lnTo>
                      <a:pt x="577" y="635"/>
                    </a:lnTo>
                    <a:lnTo>
                      <a:pt x="591" y="618"/>
                    </a:lnTo>
                    <a:lnTo>
                      <a:pt x="619" y="598"/>
                    </a:lnTo>
                    <a:lnTo>
                      <a:pt x="638" y="587"/>
                    </a:lnTo>
                    <a:lnTo>
                      <a:pt x="643" y="556"/>
                    </a:lnTo>
                    <a:lnTo>
                      <a:pt x="652" y="534"/>
                    </a:lnTo>
                    <a:lnTo>
                      <a:pt x="676" y="513"/>
                    </a:lnTo>
                    <a:lnTo>
                      <a:pt x="681" y="497"/>
                    </a:lnTo>
                    <a:lnTo>
                      <a:pt x="676" y="482"/>
                    </a:lnTo>
                    <a:lnTo>
                      <a:pt x="676" y="460"/>
                    </a:lnTo>
                    <a:lnTo>
                      <a:pt x="695" y="445"/>
                    </a:lnTo>
                    <a:lnTo>
                      <a:pt x="718" y="398"/>
                    </a:lnTo>
                    <a:lnTo>
                      <a:pt x="734" y="402"/>
                    </a:lnTo>
                    <a:lnTo>
                      <a:pt x="762" y="376"/>
                    </a:lnTo>
                    <a:lnTo>
                      <a:pt x="758" y="355"/>
                    </a:lnTo>
                    <a:lnTo>
                      <a:pt x="776" y="334"/>
                    </a:lnTo>
                    <a:lnTo>
                      <a:pt x="786" y="340"/>
                    </a:lnTo>
                    <a:lnTo>
                      <a:pt x="805" y="334"/>
                    </a:lnTo>
                    <a:lnTo>
                      <a:pt x="833" y="340"/>
                    </a:lnTo>
                    <a:lnTo>
                      <a:pt x="870" y="303"/>
                    </a:lnTo>
                    <a:lnTo>
                      <a:pt x="866" y="281"/>
                    </a:lnTo>
                    <a:lnTo>
                      <a:pt x="870" y="271"/>
                    </a:lnTo>
                    <a:lnTo>
                      <a:pt x="861" y="267"/>
                    </a:lnTo>
                    <a:lnTo>
                      <a:pt x="880" y="247"/>
                    </a:lnTo>
                    <a:lnTo>
                      <a:pt x="908" y="243"/>
                    </a:lnTo>
                    <a:lnTo>
                      <a:pt x="927" y="271"/>
                    </a:lnTo>
                    <a:lnTo>
                      <a:pt x="960" y="312"/>
                    </a:lnTo>
                    <a:lnTo>
                      <a:pt x="974" y="312"/>
                    </a:lnTo>
                    <a:lnTo>
                      <a:pt x="993" y="297"/>
                    </a:lnTo>
                    <a:lnTo>
                      <a:pt x="1007" y="293"/>
                    </a:lnTo>
                    <a:lnTo>
                      <a:pt x="1016" y="297"/>
                    </a:lnTo>
                    <a:lnTo>
                      <a:pt x="1031" y="312"/>
                    </a:lnTo>
                    <a:lnTo>
                      <a:pt x="1048" y="318"/>
                    </a:lnTo>
                    <a:lnTo>
                      <a:pt x="1053" y="312"/>
                    </a:lnTo>
                    <a:lnTo>
                      <a:pt x="1062" y="293"/>
                    </a:lnTo>
                    <a:lnTo>
                      <a:pt x="1067" y="281"/>
                    </a:lnTo>
                    <a:lnTo>
                      <a:pt x="1086" y="247"/>
                    </a:lnTo>
                    <a:lnTo>
                      <a:pt x="1091" y="243"/>
                    </a:lnTo>
                    <a:lnTo>
                      <a:pt x="1086" y="189"/>
                    </a:lnTo>
                    <a:lnTo>
                      <a:pt x="1110" y="163"/>
                    </a:lnTo>
                    <a:lnTo>
                      <a:pt x="1119" y="169"/>
                    </a:lnTo>
                    <a:lnTo>
                      <a:pt x="1147" y="136"/>
                    </a:lnTo>
                    <a:lnTo>
                      <a:pt x="1171" y="169"/>
                    </a:lnTo>
                    <a:lnTo>
                      <a:pt x="1180" y="179"/>
                    </a:lnTo>
                    <a:lnTo>
                      <a:pt x="1194" y="173"/>
                    </a:lnTo>
                    <a:lnTo>
                      <a:pt x="1204" y="189"/>
                    </a:lnTo>
                    <a:lnTo>
                      <a:pt x="1204" y="200"/>
                    </a:lnTo>
                    <a:lnTo>
                      <a:pt x="1213" y="210"/>
                    </a:lnTo>
                    <a:lnTo>
                      <a:pt x="1213" y="226"/>
                    </a:lnTo>
                    <a:lnTo>
                      <a:pt x="1227" y="206"/>
                    </a:lnTo>
                    <a:lnTo>
                      <a:pt x="1251" y="184"/>
                    </a:lnTo>
                    <a:lnTo>
                      <a:pt x="1265" y="152"/>
                    </a:lnTo>
                    <a:lnTo>
                      <a:pt x="1255" y="147"/>
                    </a:lnTo>
                    <a:lnTo>
                      <a:pt x="1241" y="163"/>
                    </a:lnTo>
                    <a:lnTo>
                      <a:pt x="1237" y="136"/>
                    </a:lnTo>
                    <a:lnTo>
                      <a:pt x="1227" y="132"/>
                    </a:lnTo>
                    <a:lnTo>
                      <a:pt x="1223" y="116"/>
                    </a:lnTo>
                    <a:lnTo>
                      <a:pt x="1260" y="83"/>
                    </a:lnTo>
                    <a:lnTo>
                      <a:pt x="1274" y="89"/>
                    </a:lnTo>
                    <a:lnTo>
                      <a:pt x="1279" y="68"/>
                    </a:lnTo>
                    <a:lnTo>
                      <a:pt x="1270" y="62"/>
                    </a:lnTo>
                    <a:lnTo>
                      <a:pt x="1246" y="52"/>
                    </a:lnTo>
                    <a:lnTo>
                      <a:pt x="1232" y="46"/>
                    </a:lnTo>
                    <a:lnTo>
                      <a:pt x="1213" y="27"/>
                    </a:lnTo>
                    <a:lnTo>
                      <a:pt x="1194" y="21"/>
                    </a:lnTo>
                    <a:lnTo>
                      <a:pt x="1175" y="42"/>
                    </a:lnTo>
                    <a:lnTo>
                      <a:pt x="1166" y="58"/>
                    </a:lnTo>
                    <a:lnTo>
                      <a:pt x="1147" y="42"/>
                    </a:lnTo>
                    <a:lnTo>
                      <a:pt x="1157" y="31"/>
                    </a:lnTo>
                    <a:lnTo>
                      <a:pt x="1161" y="5"/>
                    </a:lnTo>
                    <a:lnTo>
                      <a:pt x="1157" y="0"/>
                    </a:lnTo>
                    <a:lnTo>
                      <a:pt x="1133" y="0"/>
                    </a:lnTo>
                    <a:lnTo>
                      <a:pt x="1128" y="10"/>
                    </a:lnTo>
                    <a:lnTo>
                      <a:pt x="1124" y="27"/>
                    </a:lnTo>
                    <a:lnTo>
                      <a:pt x="1128" y="42"/>
                    </a:lnTo>
                    <a:lnTo>
                      <a:pt x="1110" y="62"/>
                    </a:lnTo>
                    <a:lnTo>
                      <a:pt x="1095" y="31"/>
                    </a:lnTo>
                    <a:lnTo>
                      <a:pt x="1081" y="37"/>
                    </a:lnTo>
                    <a:lnTo>
                      <a:pt x="1078" y="62"/>
                    </a:lnTo>
                    <a:lnTo>
                      <a:pt x="1067" y="99"/>
                    </a:lnTo>
                    <a:lnTo>
                      <a:pt x="1045" y="126"/>
                    </a:lnTo>
                    <a:lnTo>
                      <a:pt x="1031" y="95"/>
                    </a:lnTo>
                    <a:lnTo>
                      <a:pt x="1053" y="74"/>
                    </a:lnTo>
                    <a:lnTo>
                      <a:pt x="1059" y="42"/>
                    </a:lnTo>
                    <a:lnTo>
                      <a:pt x="1045" y="42"/>
                    </a:lnTo>
                    <a:lnTo>
                      <a:pt x="1021" y="42"/>
                    </a:lnTo>
                    <a:lnTo>
                      <a:pt x="1002" y="74"/>
                    </a:lnTo>
                    <a:lnTo>
                      <a:pt x="979" y="116"/>
                    </a:lnTo>
                    <a:lnTo>
                      <a:pt x="988" y="136"/>
                    </a:lnTo>
                    <a:lnTo>
                      <a:pt x="974" y="147"/>
                    </a:lnTo>
                    <a:lnTo>
                      <a:pt x="955" y="132"/>
                    </a:lnTo>
                    <a:lnTo>
                      <a:pt x="936" y="142"/>
                    </a:lnTo>
                    <a:lnTo>
                      <a:pt x="941" y="163"/>
                    </a:lnTo>
                    <a:lnTo>
                      <a:pt x="918" y="163"/>
                    </a:lnTo>
                    <a:lnTo>
                      <a:pt x="903" y="169"/>
                    </a:lnTo>
                    <a:lnTo>
                      <a:pt x="885" y="194"/>
                    </a:lnTo>
                    <a:lnTo>
                      <a:pt x="861" y="189"/>
                    </a:lnTo>
                    <a:lnTo>
                      <a:pt x="861" y="206"/>
                    </a:lnTo>
                    <a:lnTo>
                      <a:pt x="842" y="189"/>
                    </a:lnTo>
                    <a:lnTo>
                      <a:pt x="819" y="200"/>
                    </a:lnTo>
                    <a:lnTo>
                      <a:pt x="814" y="221"/>
                    </a:lnTo>
                    <a:lnTo>
                      <a:pt x="795" y="226"/>
                    </a:lnTo>
                    <a:lnTo>
                      <a:pt x="781" y="206"/>
                    </a:lnTo>
                    <a:lnTo>
                      <a:pt x="753" y="210"/>
                    </a:lnTo>
                    <a:lnTo>
                      <a:pt x="725" y="221"/>
                    </a:lnTo>
                    <a:lnTo>
                      <a:pt x="725" y="253"/>
                    </a:lnTo>
                    <a:lnTo>
                      <a:pt x="743" y="258"/>
                    </a:lnTo>
                    <a:lnTo>
                      <a:pt x="743" y="267"/>
                    </a:lnTo>
                    <a:lnTo>
                      <a:pt x="743" y="287"/>
                    </a:lnTo>
                    <a:lnTo>
                      <a:pt x="729" y="281"/>
                    </a:lnTo>
                    <a:lnTo>
                      <a:pt x="713" y="293"/>
                    </a:lnTo>
                    <a:lnTo>
                      <a:pt x="718" y="312"/>
                    </a:lnTo>
                    <a:lnTo>
                      <a:pt x="734" y="330"/>
                    </a:lnTo>
                    <a:lnTo>
                      <a:pt x="734" y="355"/>
                    </a:lnTo>
                    <a:lnTo>
                      <a:pt x="718" y="345"/>
                    </a:lnTo>
                    <a:lnTo>
                      <a:pt x="704" y="349"/>
                    </a:lnTo>
                    <a:lnTo>
                      <a:pt x="704" y="371"/>
                    </a:lnTo>
                    <a:lnTo>
                      <a:pt x="681" y="371"/>
                    </a:lnTo>
                    <a:lnTo>
                      <a:pt x="662" y="371"/>
                    </a:lnTo>
                    <a:lnTo>
                      <a:pt x="657" y="386"/>
                    </a:lnTo>
                    <a:lnTo>
                      <a:pt x="652" y="398"/>
                    </a:lnTo>
                    <a:lnTo>
                      <a:pt x="638" y="402"/>
                    </a:lnTo>
                    <a:lnTo>
                      <a:pt x="633" y="413"/>
                    </a:lnTo>
                    <a:lnTo>
                      <a:pt x="638" y="429"/>
                    </a:lnTo>
                    <a:lnTo>
                      <a:pt x="610" y="439"/>
                    </a:lnTo>
                    <a:lnTo>
                      <a:pt x="629" y="460"/>
                    </a:lnTo>
                    <a:lnTo>
                      <a:pt x="633" y="472"/>
                    </a:lnTo>
                    <a:lnTo>
                      <a:pt x="615" y="487"/>
                    </a:lnTo>
                    <a:lnTo>
                      <a:pt x="582" y="513"/>
                    </a:lnTo>
                    <a:lnTo>
                      <a:pt x="558" y="534"/>
                    </a:lnTo>
                    <a:lnTo>
                      <a:pt x="544" y="566"/>
                    </a:lnTo>
                    <a:lnTo>
                      <a:pt x="520" y="587"/>
                    </a:lnTo>
                    <a:lnTo>
                      <a:pt x="520" y="603"/>
                    </a:lnTo>
                    <a:lnTo>
                      <a:pt x="525" y="618"/>
                    </a:lnTo>
                    <a:lnTo>
                      <a:pt x="506" y="635"/>
                    </a:lnTo>
                    <a:lnTo>
                      <a:pt x="511" y="655"/>
                    </a:lnTo>
                    <a:lnTo>
                      <a:pt x="492" y="692"/>
                    </a:lnTo>
                    <a:lnTo>
                      <a:pt x="479" y="698"/>
                    </a:lnTo>
                    <a:lnTo>
                      <a:pt x="479" y="725"/>
                    </a:lnTo>
                    <a:lnTo>
                      <a:pt x="489" y="741"/>
                    </a:lnTo>
                    <a:lnTo>
                      <a:pt x="473" y="756"/>
                    </a:lnTo>
                    <a:lnTo>
                      <a:pt x="465" y="745"/>
                    </a:lnTo>
                    <a:lnTo>
                      <a:pt x="446" y="756"/>
                    </a:lnTo>
                    <a:lnTo>
                      <a:pt x="451" y="788"/>
                    </a:lnTo>
                    <a:lnTo>
                      <a:pt x="432" y="798"/>
                    </a:lnTo>
                    <a:lnTo>
                      <a:pt x="404" y="803"/>
                    </a:lnTo>
                    <a:lnTo>
                      <a:pt x="385" y="830"/>
                    </a:lnTo>
                    <a:lnTo>
                      <a:pt x="380" y="856"/>
                    </a:lnTo>
                    <a:lnTo>
                      <a:pt x="361" y="877"/>
                    </a:lnTo>
                    <a:lnTo>
                      <a:pt x="361" y="893"/>
                    </a:lnTo>
                    <a:lnTo>
                      <a:pt x="385" y="872"/>
                    </a:lnTo>
                    <a:lnTo>
                      <a:pt x="413" y="850"/>
                    </a:lnTo>
                    <a:lnTo>
                      <a:pt x="423" y="856"/>
                    </a:lnTo>
                    <a:lnTo>
                      <a:pt x="413" y="887"/>
                    </a:lnTo>
                    <a:lnTo>
                      <a:pt x="390" y="904"/>
                    </a:lnTo>
                    <a:lnTo>
                      <a:pt x="366" y="899"/>
                    </a:lnTo>
                    <a:lnTo>
                      <a:pt x="371" y="920"/>
                    </a:lnTo>
                    <a:lnTo>
                      <a:pt x="338" y="936"/>
                    </a:lnTo>
                    <a:lnTo>
                      <a:pt x="333" y="904"/>
                    </a:lnTo>
                    <a:lnTo>
                      <a:pt x="319" y="893"/>
                    </a:lnTo>
                    <a:lnTo>
                      <a:pt x="300" y="924"/>
                    </a:lnTo>
                    <a:lnTo>
                      <a:pt x="281" y="924"/>
                    </a:lnTo>
                    <a:lnTo>
                      <a:pt x="261" y="930"/>
                    </a:lnTo>
                    <a:lnTo>
                      <a:pt x="258" y="957"/>
                    </a:lnTo>
                    <a:lnTo>
                      <a:pt x="248" y="961"/>
                    </a:lnTo>
                    <a:lnTo>
                      <a:pt x="248" y="975"/>
                    </a:lnTo>
                    <a:lnTo>
                      <a:pt x="237" y="970"/>
                    </a:lnTo>
                    <a:lnTo>
                      <a:pt x="220" y="958"/>
                    </a:lnTo>
                    <a:lnTo>
                      <a:pt x="195" y="961"/>
                    </a:lnTo>
                    <a:lnTo>
                      <a:pt x="195" y="977"/>
                    </a:lnTo>
                    <a:lnTo>
                      <a:pt x="197" y="991"/>
                    </a:lnTo>
                    <a:lnTo>
                      <a:pt x="187" y="995"/>
                    </a:lnTo>
                    <a:lnTo>
                      <a:pt x="164" y="982"/>
                    </a:lnTo>
                    <a:lnTo>
                      <a:pt x="143" y="1001"/>
                    </a:lnTo>
                    <a:lnTo>
                      <a:pt x="148" y="1017"/>
                    </a:lnTo>
                    <a:lnTo>
                      <a:pt x="145" y="1028"/>
                    </a:lnTo>
                    <a:lnTo>
                      <a:pt x="124" y="1017"/>
                    </a:lnTo>
                    <a:lnTo>
                      <a:pt x="118" y="1031"/>
                    </a:lnTo>
                    <a:lnTo>
                      <a:pt x="110" y="1041"/>
                    </a:lnTo>
                    <a:lnTo>
                      <a:pt x="85" y="1035"/>
                    </a:lnTo>
                    <a:lnTo>
                      <a:pt x="71" y="1038"/>
                    </a:lnTo>
                    <a:lnTo>
                      <a:pt x="68" y="1059"/>
                    </a:lnTo>
                    <a:lnTo>
                      <a:pt x="58" y="1065"/>
                    </a:lnTo>
                    <a:lnTo>
                      <a:pt x="44" y="1088"/>
                    </a:lnTo>
                    <a:lnTo>
                      <a:pt x="47" y="1118"/>
                    </a:lnTo>
                    <a:lnTo>
                      <a:pt x="42" y="1159"/>
                    </a:lnTo>
                    <a:lnTo>
                      <a:pt x="35" y="1202"/>
                    </a:lnTo>
                    <a:lnTo>
                      <a:pt x="30" y="1241"/>
                    </a:lnTo>
                    <a:lnTo>
                      <a:pt x="25" y="1261"/>
                    </a:lnTo>
                    <a:lnTo>
                      <a:pt x="38" y="1280"/>
                    </a:lnTo>
                    <a:lnTo>
                      <a:pt x="58" y="1264"/>
                    </a:lnTo>
                    <a:lnTo>
                      <a:pt x="72" y="1273"/>
                    </a:lnTo>
                    <a:lnTo>
                      <a:pt x="72" y="1288"/>
                    </a:lnTo>
                    <a:lnTo>
                      <a:pt x="52" y="1301"/>
                    </a:lnTo>
                    <a:lnTo>
                      <a:pt x="49" y="1328"/>
                    </a:lnTo>
                    <a:lnTo>
                      <a:pt x="44" y="1341"/>
                    </a:lnTo>
                    <a:lnTo>
                      <a:pt x="24" y="1338"/>
                    </a:lnTo>
                    <a:lnTo>
                      <a:pt x="16" y="1369"/>
                    </a:lnTo>
                    <a:lnTo>
                      <a:pt x="25" y="1378"/>
                    </a:lnTo>
                    <a:lnTo>
                      <a:pt x="44" y="1372"/>
                    </a:lnTo>
                    <a:lnTo>
                      <a:pt x="54" y="1386"/>
                    </a:lnTo>
                    <a:lnTo>
                      <a:pt x="56" y="1394"/>
                    </a:lnTo>
                    <a:lnTo>
                      <a:pt x="40" y="1405"/>
                    </a:lnTo>
                    <a:lnTo>
                      <a:pt x="42" y="1423"/>
                    </a:lnTo>
                    <a:lnTo>
                      <a:pt x="24" y="1428"/>
                    </a:lnTo>
                    <a:lnTo>
                      <a:pt x="11" y="1418"/>
                    </a:lnTo>
                    <a:lnTo>
                      <a:pt x="14" y="1443"/>
                    </a:lnTo>
                    <a:lnTo>
                      <a:pt x="11" y="1462"/>
                    </a:lnTo>
                    <a:lnTo>
                      <a:pt x="0" y="1462"/>
                    </a:lnTo>
                    <a:lnTo>
                      <a:pt x="28" y="1495"/>
                    </a:lnTo>
                    <a:lnTo>
                      <a:pt x="42" y="1513"/>
                    </a:lnTo>
                    <a:lnTo>
                      <a:pt x="49" y="1539"/>
                    </a:lnTo>
                    <a:lnTo>
                      <a:pt x="77" y="1557"/>
                    </a:lnTo>
                    <a:lnTo>
                      <a:pt x="107" y="1576"/>
                    </a:lnTo>
                    <a:lnTo>
                      <a:pt x="137" y="1576"/>
                    </a:lnTo>
                    <a:lnTo>
                      <a:pt x="178" y="1544"/>
                    </a:lnTo>
                    <a:lnTo>
                      <a:pt x="220" y="1510"/>
                    </a:lnTo>
                    <a:lnTo>
                      <a:pt x="258" y="1452"/>
                    </a:lnTo>
                    <a:lnTo>
                      <a:pt x="265" y="1446"/>
                    </a:lnTo>
                    <a:lnTo>
                      <a:pt x="275" y="1465"/>
                    </a:lnTo>
                    <a:lnTo>
                      <a:pt x="294" y="1452"/>
                    </a:lnTo>
                    <a:lnTo>
                      <a:pt x="300" y="1431"/>
                    </a:lnTo>
                    <a:lnTo>
                      <a:pt x="302" y="1405"/>
                    </a:lnTo>
                    <a:lnTo>
                      <a:pt x="321" y="1372"/>
                    </a:lnTo>
                    <a:lnTo>
                      <a:pt x="314" y="1409"/>
                    </a:lnTo>
                    <a:lnTo>
                      <a:pt x="324" y="1415"/>
                    </a:lnTo>
                    <a:lnTo>
                      <a:pt x="319" y="1431"/>
                    </a:lnTo>
                    <a:lnTo>
                      <a:pt x="324" y="1459"/>
                    </a:lnTo>
                    <a:lnTo>
                      <a:pt x="333" y="1483"/>
                    </a:lnTo>
                    <a:lnTo>
                      <a:pt x="344" y="1476"/>
                    </a:lnTo>
                    <a:lnTo>
                      <a:pt x="343" y="1483"/>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7" name="Freeform 206"/>
              <p:cNvSpPr>
                <a:spLocks noChangeAspect="1"/>
              </p:cNvSpPr>
              <p:nvPr/>
            </p:nvSpPr>
            <p:spPr bwMode="auto">
              <a:xfrm>
                <a:off x="2537422" y="1148651"/>
                <a:ext cx="36" cy="42"/>
              </a:xfrm>
              <a:custGeom>
                <a:avLst/>
                <a:gdLst>
                  <a:gd name="T0" fmla="*/ 38 w 38"/>
                  <a:gd name="T1" fmla="*/ 9 h 56"/>
                  <a:gd name="T2" fmla="*/ 34 w 38"/>
                  <a:gd name="T3" fmla="*/ 21 h 56"/>
                  <a:gd name="T4" fmla="*/ 38 w 38"/>
                  <a:gd name="T5" fmla="*/ 47 h 56"/>
                  <a:gd name="T6" fmla="*/ 11 w 38"/>
                  <a:gd name="T7" fmla="*/ 56 h 56"/>
                  <a:gd name="T8" fmla="*/ 0 w 38"/>
                  <a:gd name="T9" fmla="*/ 43 h 56"/>
                  <a:gd name="T10" fmla="*/ 0 w 38"/>
                  <a:gd name="T11" fmla="*/ 21 h 56"/>
                  <a:gd name="T12" fmla="*/ 8 w 38"/>
                  <a:gd name="T13" fmla="*/ 0 h 56"/>
                  <a:gd name="T14" fmla="*/ 38 w 38"/>
                  <a:gd name="T15" fmla="*/ 9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56">
                    <a:moveTo>
                      <a:pt x="38" y="9"/>
                    </a:moveTo>
                    <a:lnTo>
                      <a:pt x="34" y="21"/>
                    </a:lnTo>
                    <a:lnTo>
                      <a:pt x="38" y="47"/>
                    </a:lnTo>
                    <a:lnTo>
                      <a:pt x="11" y="56"/>
                    </a:lnTo>
                    <a:lnTo>
                      <a:pt x="0" y="43"/>
                    </a:lnTo>
                    <a:lnTo>
                      <a:pt x="0" y="21"/>
                    </a:lnTo>
                    <a:lnTo>
                      <a:pt x="8" y="0"/>
                    </a:lnTo>
                    <a:lnTo>
                      <a:pt x="38" y="9"/>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8" name="Freeform 207"/>
              <p:cNvSpPr>
                <a:spLocks noChangeAspect="1"/>
              </p:cNvSpPr>
              <p:nvPr/>
            </p:nvSpPr>
            <p:spPr bwMode="auto">
              <a:xfrm>
                <a:off x="2537367" y="1148680"/>
                <a:ext cx="32" cy="22"/>
              </a:xfrm>
              <a:custGeom>
                <a:avLst/>
                <a:gdLst>
                  <a:gd name="T0" fmla="*/ 31 w 34"/>
                  <a:gd name="T1" fmla="*/ 0 h 30"/>
                  <a:gd name="T2" fmla="*/ 34 w 34"/>
                  <a:gd name="T3" fmla="*/ 22 h 30"/>
                  <a:gd name="T4" fmla="*/ 8 w 34"/>
                  <a:gd name="T5" fmla="*/ 30 h 30"/>
                  <a:gd name="T6" fmla="*/ 0 w 34"/>
                  <a:gd name="T7" fmla="*/ 9 h 30"/>
                  <a:gd name="T8" fmla="*/ 31 w 34"/>
                  <a:gd name="T9" fmla="*/ 0 h 30"/>
                </a:gdLst>
                <a:ahLst/>
                <a:cxnLst>
                  <a:cxn ang="0">
                    <a:pos x="T0" y="T1"/>
                  </a:cxn>
                  <a:cxn ang="0">
                    <a:pos x="T2" y="T3"/>
                  </a:cxn>
                  <a:cxn ang="0">
                    <a:pos x="T4" y="T5"/>
                  </a:cxn>
                  <a:cxn ang="0">
                    <a:pos x="T6" y="T7"/>
                  </a:cxn>
                  <a:cxn ang="0">
                    <a:pos x="T8" y="T9"/>
                  </a:cxn>
                </a:cxnLst>
                <a:rect l="0" t="0" r="r" b="b"/>
                <a:pathLst>
                  <a:path w="34" h="30">
                    <a:moveTo>
                      <a:pt x="31" y="0"/>
                    </a:moveTo>
                    <a:lnTo>
                      <a:pt x="34" y="22"/>
                    </a:lnTo>
                    <a:lnTo>
                      <a:pt x="8" y="30"/>
                    </a:lnTo>
                    <a:lnTo>
                      <a:pt x="0" y="9"/>
                    </a:lnTo>
                    <a:lnTo>
                      <a:pt x="31"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9" name="Freeform 208"/>
              <p:cNvSpPr>
                <a:spLocks noChangeAspect="1"/>
              </p:cNvSpPr>
              <p:nvPr/>
            </p:nvSpPr>
            <p:spPr bwMode="auto">
              <a:xfrm>
                <a:off x="2537376" y="1148633"/>
                <a:ext cx="40" cy="27"/>
              </a:xfrm>
              <a:custGeom>
                <a:avLst/>
                <a:gdLst>
                  <a:gd name="T0" fmla="*/ 0 w 41"/>
                  <a:gd name="T1" fmla="*/ 23 h 36"/>
                  <a:gd name="T2" fmla="*/ 30 w 41"/>
                  <a:gd name="T3" fmla="*/ 36 h 36"/>
                  <a:gd name="T4" fmla="*/ 41 w 41"/>
                  <a:gd name="T5" fmla="*/ 9 h 36"/>
                  <a:gd name="T6" fmla="*/ 22 w 41"/>
                  <a:gd name="T7" fmla="*/ 0 h 36"/>
                  <a:gd name="T8" fmla="*/ 11 w 41"/>
                  <a:gd name="T9" fmla="*/ 9 h 36"/>
                  <a:gd name="T10" fmla="*/ 0 w 41"/>
                  <a:gd name="T11" fmla="*/ 16 h 36"/>
                  <a:gd name="T12" fmla="*/ 0 w 41"/>
                  <a:gd name="T13" fmla="*/ 23 h 36"/>
                </a:gdLst>
                <a:ahLst/>
                <a:cxnLst>
                  <a:cxn ang="0">
                    <a:pos x="T0" y="T1"/>
                  </a:cxn>
                  <a:cxn ang="0">
                    <a:pos x="T2" y="T3"/>
                  </a:cxn>
                  <a:cxn ang="0">
                    <a:pos x="T4" y="T5"/>
                  </a:cxn>
                  <a:cxn ang="0">
                    <a:pos x="T6" y="T7"/>
                  </a:cxn>
                  <a:cxn ang="0">
                    <a:pos x="T8" y="T9"/>
                  </a:cxn>
                  <a:cxn ang="0">
                    <a:pos x="T10" y="T11"/>
                  </a:cxn>
                  <a:cxn ang="0">
                    <a:pos x="T12" y="T13"/>
                  </a:cxn>
                </a:cxnLst>
                <a:rect l="0" t="0" r="r" b="b"/>
                <a:pathLst>
                  <a:path w="41" h="36">
                    <a:moveTo>
                      <a:pt x="0" y="23"/>
                    </a:moveTo>
                    <a:lnTo>
                      <a:pt x="30" y="36"/>
                    </a:lnTo>
                    <a:lnTo>
                      <a:pt x="41" y="9"/>
                    </a:lnTo>
                    <a:lnTo>
                      <a:pt x="22" y="0"/>
                    </a:lnTo>
                    <a:lnTo>
                      <a:pt x="11" y="9"/>
                    </a:lnTo>
                    <a:lnTo>
                      <a:pt x="0" y="16"/>
                    </a:lnTo>
                    <a:lnTo>
                      <a:pt x="0" y="23"/>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0" name="Freeform 209"/>
              <p:cNvSpPr>
                <a:spLocks noChangeAspect="1"/>
              </p:cNvSpPr>
              <p:nvPr/>
            </p:nvSpPr>
            <p:spPr bwMode="auto">
              <a:xfrm>
                <a:off x="2537422" y="1148609"/>
                <a:ext cx="29" cy="17"/>
              </a:xfrm>
              <a:custGeom>
                <a:avLst/>
                <a:gdLst>
                  <a:gd name="T0" fmla="*/ 0 w 30"/>
                  <a:gd name="T1" fmla="*/ 22 h 22"/>
                  <a:gd name="T2" fmla="*/ 23 w 30"/>
                  <a:gd name="T3" fmla="*/ 0 h 22"/>
                  <a:gd name="T4" fmla="*/ 30 w 30"/>
                  <a:gd name="T5" fmla="*/ 8 h 22"/>
                  <a:gd name="T6" fmla="*/ 0 w 30"/>
                  <a:gd name="T7" fmla="*/ 22 h 22"/>
                </a:gdLst>
                <a:ahLst/>
                <a:cxnLst>
                  <a:cxn ang="0">
                    <a:pos x="T0" y="T1"/>
                  </a:cxn>
                  <a:cxn ang="0">
                    <a:pos x="T2" y="T3"/>
                  </a:cxn>
                  <a:cxn ang="0">
                    <a:pos x="T4" y="T5"/>
                  </a:cxn>
                  <a:cxn ang="0">
                    <a:pos x="T6" y="T7"/>
                  </a:cxn>
                </a:cxnLst>
                <a:rect l="0" t="0" r="r" b="b"/>
                <a:pathLst>
                  <a:path w="30" h="22">
                    <a:moveTo>
                      <a:pt x="0" y="22"/>
                    </a:moveTo>
                    <a:lnTo>
                      <a:pt x="23" y="0"/>
                    </a:lnTo>
                    <a:lnTo>
                      <a:pt x="30" y="8"/>
                    </a:lnTo>
                    <a:lnTo>
                      <a:pt x="0" y="22"/>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1" name="Freeform 210"/>
              <p:cNvSpPr>
                <a:spLocks noChangeAspect="1"/>
              </p:cNvSpPr>
              <p:nvPr/>
            </p:nvSpPr>
            <p:spPr bwMode="auto">
              <a:xfrm>
                <a:off x="2537321" y="1148689"/>
                <a:ext cx="20" cy="19"/>
              </a:xfrm>
              <a:custGeom>
                <a:avLst/>
                <a:gdLst>
                  <a:gd name="T0" fmla="*/ 19 w 23"/>
                  <a:gd name="T1" fmla="*/ 0 h 26"/>
                  <a:gd name="T2" fmla="*/ 23 w 23"/>
                  <a:gd name="T3" fmla="*/ 22 h 26"/>
                  <a:gd name="T4" fmla="*/ 0 w 23"/>
                  <a:gd name="T5" fmla="*/ 26 h 26"/>
                  <a:gd name="T6" fmla="*/ 19 w 23"/>
                  <a:gd name="T7" fmla="*/ 0 h 26"/>
                </a:gdLst>
                <a:ahLst/>
                <a:cxnLst>
                  <a:cxn ang="0">
                    <a:pos x="T0" y="T1"/>
                  </a:cxn>
                  <a:cxn ang="0">
                    <a:pos x="T2" y="T3"/>
                  </a:cxn>
                  <a:cxn ang="0">
                    <a:pos x="T4" y="T5"/>
                  </a:cxn>
                  <a:cxn ang="0">
                    <a:pos x="T6" y="T7"/>
                  </a:cxn>
                </a:cxnLst>
                <a:rect l="0" t="0" r="r" b="b"/>
                <a:pathLst>
                  <a:path w="23" h="26">
                    <a:moveTo>
                      <a:pt x="19" y="0"/>
                    </a:moveTo>
                    <a:lnTo>
                      <a:pt x="23" y="22"/>
                    </a:lnTo>
                    <a:lnTo>
                      <a:pt x="0" y="26"/>
                    </a:lnTo>
                    <a:lnTo>
                      <a:pt x="19"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2" name="Freeform 211"/>
              <p:cNvSpPr>
                <a:spLocks noChangeAspect="1"/>
              </p:cNvSpPr>
              <p:nvPr/>
            </p:nvSpPr>
            <p:spPr bwMode="auto">
              <a:xfrm>
                <a:off x="2537543" y="1148556"/>
                <a:ext cx="40" cy="29"/>
              </a:xfrm>
              <a:custGeom>
                <a:avLst/>
                <a:gdLst>
                  <a:gd name="T0" fmla="*/ 19 w 42"/>
                  <a:gd name="T1" fmla="*/ 0 h 38"/>
                  <a:gd name="T2" fmla="*/ 0 w 42"/>
                  <a:gd name="T3" fmla="*/ 17 h 38"/>
                  <a:gd name="T4" fmla="*/ 27 w 42"/>
                  <a:gd name="T5" fmla="*/ 38 h 38"/>
                  <a:gd name="T6" fmla="*/ 42 w 42"/>
                  <a:gd name="T7" fmla="*/ 17 h 38"/>
                  <a:gd name="T8" fmla="*/ 19 w 42"/>
                  <a:gd name="T9" fmla="*/ 0 h 38"/>
                </a:gdLst>
                <a:ahLst/>
                <a:cxnLst>
                  <a:cxn ang="0">
                    <a:pos x="T0" y="T1"/>
                  </a:cxn>
                  <a:cxn ang="0">
                    <a:pos x="T2" y="T3"/>
                  </a:cxn>
                  <a:cxn ang="0">
                    <a:pos x="T4" y="T5"/>
                  </a:cxn>
                  <a:cxn ang="0">
                    <a:pos x="T6" y="T7"/>
                  </a:cxn>
                  <a:cxn ang="0">
                    <a:pos x="T8" y="T9"/>
                  </a:cxn>
                </a:cxnLst>
                <a:rect l="0" t="0" r="r" b="b"/>
                <a:pathLst>
                  <a:path w="42" h="38">
                    <a:moveTo>
                      <a:pt x="19" y="0"/>
                    </a:moveTo>
                    <a:lnTo>
                      <a:pt x="0" y="17"/>
                    </a:lnTo>
                    <a:lnTo>
                      <a:pt x="27" y="38"/>
                    </a:lnTo>
                    <a:lnTo>
                      <a:pt x="42" y="17"/>
                    </a:lnTo>
                    <a:lnTo>
                      <a:pt x="19"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3" name="Freeform 212"/>
              <p:cNvSpPr>
                <a:spLocks noChangeAspect="1"/>
              </p:cNvSpPr>
              <p:nvPr/>
            </p:nvSpPr>
            <p:spPr bwMode="auto">
              <a:xfrm>
                <a:off x="2537579" y="1148531"/>
                <a:ext cx="40" cy="28"/>
              </a:xfrm>
              <a:custGeom>
                <a:avLst/>
                <a:gdLst>
                  <a:gd name="T0" fmla="*/ 0 w 42"/>
                  <a:gd name="T1" fmla="*/ 13 h 38"/>
                  <a:gd name="T2" fmla="*/ 19 w 42"/>
                  <a:gd name="T3" fmla="*/ 38 h 38"/>
                  <a:gd name="T4" fmla="*/ 42 w 42"/>
                  <a:gd name="T5" fmla="*/ 21 h 38"/>
                  <a:gd name="T6" fmla="*/ 23 w 42"/>
                  <a:gd name="T7" fmla="*/ 0 h 38"/>
                  <a:gd name="T8" fmla="*/ 0 w 42"/>
                  <a:gd name="T9" fmla="*/ 13 h 38"/>
                </a:gdLst>
                <a:ahLst/>
                <a:cxnLst>
                  <a:cxn ang="0">
                    <a:pos x="T0" y="T1"/>
                  </a:cxn>
                  <a:cxn ang="0">
                    <a:pos x="T2" y="T3"/>
                  </a:cxn>
                  <a:cxn ang="0">
                    <a:pos x="T4" y="T5"/>
                  </a:cxn>
                  <a:cxn ang="0">
                    <a:pos x="T6" y="T7"/>
                  </a:cxn>
                  <a:cxn ang="0">
                    <a:pos x="T8" y="T9"/>
                  </a:cxn>
                </a:cxnLst>
                <a:rect l="0" t="0" r="r" b="b"/>
                <a:pathLst>
                  <a:path w="42" h="38">
                    <a:moveTo>
                      <a:pt x="0" y="13"/>
                    </a:moveTo>
                    <a:lnTo>
                      <a:pt x="19" y="38"/>
                    </a:lnTo>
                    <a:lnTo>
                      <a:pt x="42" y="21"/>
                    </a:lnTo>
                    <a:lnTo>
                      <a:pt x="23" y="0"/>
                    </a:lnTo>
                    <a:lnTo>
                      <a:pt x="0" y="13"/>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4" name="Freeform 213"/>
              <p:cNvSpPr>
                <a:spLocks noChangeAspect="1"/>
              </p:cNvSpPr>
              <p:nvPr/>
            </p:nvSpPr>
            <p:spPr bwMode="auto">
              <a:xfrm>
                <a:off x="2537682" y="1148476"/>
                <a:ext cx="58" cy="35"/>
              </a:xfrm>
              <a:custGeom>
                <a:avLst/>
                <a:gdLst>
                  <a:gd name="T0" fmla="*/ 26 w 60"/>
                  <a:gd name="T1" fmla="*/ 13 h 47"/>
                  <a:gd name="T2" fmla="*/ 38 w 60"/>
                  <a:gd name="T3" fmla="*/ 22 h 47"/>
                  <a:gd name="T4" fmla="*/ 60 w 60"/>
                  <a:gd name="T5" fmla="*/ 0 h 47"/>
                  <a:gd name="T6" fmla="*/ 49 w 60"/>
                  <a:gd name="T7" fmla="*/ 43 h 47"/>
                  <a:gd name="T8" fmla="*/ 26 w 60"/>
                  <a:gd name="T9" fmla="*/ 47 h 47"/>
                  <a:gd name="T10" fmla="*/ 0 w 60"/>
                  <a:gd name="T11" fmla="*/ 17 h 47"/>
                  <a:gd name="T12" fmla="*/ 26 w 60"/>
                  <a:gd name="T13" fmla="*/ 13 h 47"/>
                </a:gdLst>
                <a:ahLst/>
                <a:cxnLst>
                  <a:cxn ang="0">
                    <a:pos x="T0" y="T1"/>
                  </a:cxn>
                  <a:cxn ang="0">
                    <a:pos x="T2" y="T3"/>
                  </a:cxn>
                  <a:cxn ang="0">
                    <a:pos x="T4" y="T5"/>
                  </a:cxn>
                  <a:cxn ang="0">
                    <a:pos x="T6" y="T7"/>
                  </a:cxn>
                  <a:cxn ang="0">
                    <a:pos x="T8" y="T9"/>
                  </a:cxn>
                  <a:cxn ang="0">
                    <a:pos x="T10" y="T11"/>
                  </a:cxn>
                  <a:cxn ang="0">
                    <a:pos x="T12" y="T13"/>
                  </a:cxn>
                </a:cxnLst>
                <a:rect l="0" t="0" r="r" b="b"/>
                <a:pathLst>
                  <a:path w="60" h="47">
                    <a:moveTo>
                      <a:pt x="26" y="13"/>
                    </a:moveTo>
                    <a:lnTo>
                      <a:pt x="38" y="22"/>
                    </a:lnTo>
                    <a:lnTo>
                      <a:pt x="60" y="0"/>
                    </a:lnTo>
                    <a:lnTo>
                      <a:pt x="49" y="43"/>
                    </a:lnTo>
                    <a:lnTo>
                      <a:pt x="26" y="47"/>
                    </a:lnTo>
                    <a:lnTo>
                      <a:pt x="0" y="17"/>
                    </a:lnTo>
                    <a:lnTo>
                      <a:pt x="26" y="13"/>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5" name="Freeform 214"/>
              <p:cNvSpPr>
                <a:spLocks noChangeAspect="1"/>
              </p:cNvSpPr>
              <p:nvPr/>
            </p:nvSpPr>
            <p:spPr bwMode="auto">
              <a:xfrm>
                <a:off x="2537792" y="1148443"/>
                <a:ext cx="27" cy="19"/>
              </a:xfrm>
              <a:custGeom>
                <a:avLst/>
                <a:gdLst>
                  <a:gd name="T0" fmla="*/ 15 w 31"/>
                  <a:gd name="T1" fmla="*/ 0 h 25"/>
                  <a:gd name="T2" fmla="*/ 27 w 31"/>
                  <a:gd name="T3" fmla="*/ 8 h 25"/>
                  <a:gd name="T4" fmla="*/ 31 w 31"/>
                  <a:gd name="T5" fmla="*/ 25 h 25"/>
                  <a:gd name="T6" fmla="*/ 0 w 31"/>
                  <a:gd name="T7" fmla="*/ 25 h 25"/>
                  <a:gd name="T8" fmla="*/ 15 w 31"/>
                  <a:gd name="T9" fmla="*/ 0 h 25"/>
                </a:gdLst>
                <a:ahLst/>
                <a:cxnLst>
                  <a:cxn ang="0">
                    <a:pos x="T0" y="T1"/>
                  </a:cxn>
                  <a:cxn ang="0">
                    <a:pos x="T2" y="T3"/>
                  </a:cxn>
                  <a:cxn ang="0">
                    <a:pos x="T4" y="T5"/>
                  </a:cxn>
                  <a:cxn ang="0">
                    <a:pos x="T6" y="T7"/>
                  </a:cxn>
                  <a:cxn ang="0">
                    <a:pos x="T8" y="T9"/>
                  </a:cxn>
                </a:cxnLst>
                <a:rect l="0" t="0" r="r" b="b"/>
                <a:pathLst>
                  <a:path w="31" h="25">
                    <a:moveTo>
                      <a:pt x="15" y="0"/>
                    </a:moveTo>
                    <a:lnTo>
                      <a:pt x="27" y="8"/>
                    </a:lnTo>
                    <a:lnTo>
                      <a:pt x="31" y="25"/>
                    </a:lnTo>
                    <a:lnTo>
                      <a:pt x="0" y="25"/>
                    </a:lnTo>
                    <a:lnTo>
                      <a:pt x="15"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16" name="Freeform 215"/>
              <p:cNvSpPr>
                <a:spLocks noChangeAspect="1"/>
              </p:cNvSpPr>
              <p:nvPr/>
            </p:nvSpPr>
            <p:spPr bwMode="auto">
              <a:xfrm>
                <a:off x="2537065" y="1149100"/>
                <a:ext cx="43" cy="24"/>
              </a:xfrm>
              <a:custGeom>
                <a:avLst/>
                <a:gdLst>
                  <a:gd name="T0" fmla="*/ 46 w 46"/>
                  <a:gd name="T1" fmla="*/ 17 h 29"/>
                  <a:gd name="T2" fmla="*/ 12 w 46"/>
                  <a:gd name="T3" fmla="*/ 0 h 29"/>
                  <a:gd name="T4" fmla="*/ 0 w 46"/>
                  <a:gd name="T5" fmla="*/ 12 h 29"/>
                  <a:gd name="T6" fmla="*/ 4 w 46"/>
                  <a:gd name="T7" fmla="*/ 29 h 29"/>
                  <a:gd name="T8" fmla="*/ 46 w 46"/>
                  <a:gd name="T9" fmla="*/ 17 h 29"/>
                </a:gdLst>
                <a:ahLst/>
                <a:cxnLst>
                  <a:cxn ang="0">
                    <a:pos x="T0" y="T1"/>
                  </a:cxn>
                  <a:cxn ang="0">
                    <a:pos x="T2" y="T3"/>
                  </a:cxn>
                  <a:cxn ang="0">
                    <a:pos x="T4" y="T5"/>
                  </a:cxn>
                  <a:cxn ang="0">
                    <a:pos x="T6" y="T7"/>
                  </a:cxn>
                  <a:cxn ang="0">
                    <a:pos x="T8" y="T9"/>
                  </a:cxn>
                </a:cxnLst>
                <a:rect l="0" t="0" r="r" b="b"/>
                <a:pathLst>
                  <a:path w="46" h="29">
                    <a:moveTo>
                      <a:pt x="46" y="17"/>
                    </a:moveTo>
                    <a:lnTo>
                      <a:pt x="12" y="0"/>
                    </a:lnTo>
                    <a:lnTo>
                      <a:pt x="0" y="12"/>
                    </a:lnTo>
                    <a:lnTo>
                      <a:pt x="4" y="29"/>
                    </a:lnTo>
                    <a:lnTo>
                      <a:pt x="46" y="17"/>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sp>
          <p:nvSpPr>
            <p:cNvPr id="157" name="MK"/>
            <p:cNvSpPr>
              <a:spLocks noChangeAspect="1"/>
            </p:cNvSpPr>
            <p:nvPr/>
          </p:nvSpPr>
          <p:spPr bwMode="auto">
            <a:xfrm>
              <a:off x="4977250" y="4995076"/>
              <a:ext cx="147985" cy="96190"/>
            </a:xfrm>
            <a:custGeom>
              <a:avLst/>
              <a:gdLst>
                <a:gd name="T0" fmla="*/ 8 w 205"/>
                <a:gd name="T1" fmla="*/ 47 h 156"/>
                <a:gd name="T2" fmla="*/ 43 w 205"/>
                <a:gd name="T3" fmla="*/ 20 h 156"/>
                <a:gd name="T4" fmla="*/ 66 w 205"/>
                <a:gd name="T5" fmla="*/ 15 h 156"/>
                <a:gd name="T6" fmla="*/ 89 w 205"/>
                <a:gd name="T7" fmla="*/ 8 h 156"/>
                <a:gd name="T8" fmla="*/ 108 w 205"/>
                <a:gd name="T9" fmla="*/ 8 h 156"/>
                <a:gd name="T10" fmla="*/ 127 w 205"/>
                <a:gd name="T11" fmla="*/ 0 h 156"/>
                <a:gd name="T12" fmla="*/ 159 w 205"/>
                <a:gd name="T13" fmla="*/ 8 h 156"/>
                <a:gd name="T14" fmla="*/ 178 w 205"/>
                <a:gd name="T15" fmla="*/ 7 h 156"/>
                <a:gd name="T16" fmla="*/ 197 w 205"/>
                <a:gd name="T17" fmla="*/ 28 h 156"/>
                <a:gd name="T18" fmla="*/ 195 w 205"/>
                <a:gd name="T19" fmla="*/ 89 h 156"/>
                <a:gd name="T20" fmla="*/ 205 w 205"/>
                <a:gd name="T21" fmla="*/ 97 h 156"/>
                <a:gd name="T22" fmla="*/ 191 w 205"/>
                <a:gd name="T23" fmla="*/ 122 h 156"/>
                <a:gd name="T24" fmla="*/ 146 w 205"/>
                <a:gd name="T25" fmla="*/ 132 h 156"/>
                <a:gd name="T26" fmla="*/ 127 w 205"/>
                <a:gd name="T27" fmla="*/ 126 h 156"/>
                <a:gd name="T28" fmla="*/ 114 w 205"/>
                <a:gd name="T29" fmla="*/ 156 h 156"/>
                <a:gd name="T30" fmla="*/ 80 w 205"/>
                <a:gd name="T31" fmla="*/ 153 h 156"/>
                <a:gd name="T32" fmla="*/ 66 w 205"/>
                <a:gd name="T33" fmla="*/ 149 h 156"/>
                <a:gd name="T34" fmla="*/ 46 w 205"/>
                <a:gd name="T35" fmla="*/ 148 h 156"/>
                <a:gd name="T36" fmla="*/ 34 w 205"/>
                <a:gd name="T37" fmla="*/ 135 h 156"/>
                <a:gd name="T38" fmla="*/ 27 w 205"/>
                <a:gd name="T39" fmla="*/ 139 h 156"/>
                <a:gd name="T40" fmla="*/ 11 w 205"/>
                <a:gd name="T41" fmla="*/ 126 h 156"/>
                <a:gd name="T42" fmla="*/ 0 w 205"/>
                <a:gd name="T43" fmla="*/ 89 h 156"/>
                <a:gd name="T44" fmla="*/ 9 w 205"/>
                <a:gd name="T45" fmla="*/ 71 h 156"/>
                <a:gd name="T46" fmla="*/ 8 w 205"/>
                <a:gd name="T47" fmla="*/ 4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 h="156">
                  <a:moveTo>
                    <a:pt x="8" y="47"/>
                  </a:moveTo>
                  <a:lnTo>
                    <a:pt x="43" y="20"/>
                  </a:lnTo>
                  <a:lnTo>
                    <a:pt x="66" y="15"/>
                  </a:lnTo>
                  <a:lnTo>
                    <a:pt x="89" y="8"/>
                  </a:lnTo>
                  <a:lnTo>
                    <a:pt x="108" y="8"/>
                  </a:lnTo>
                  <a:lnTo>
                    <a:pt x="127" y="0"/>
                  </a:lnTo>
                  <a:lnTo>
                    <a:pt x="159" y="8"/>
                  </a:lnTo>
                  <a:lnTo>
                    <a:pt x="178" y="7"/>
                  </a:lnTo>
                  <a:lnTo>
                    <a:pt x="197" y="28"/>
                  </a:lnTo>
                  <a:lnTo>
                    <a:pt x="195" y="89"/>
                  </a:lnTo>
                  <a:lnTo>
                    <a:pt x="205" y="97"/>
                  </a:lnTo>
                  <a:lnTo>
                    <a:pt x="191" y="122"/>
                  </a:lnTo>
                  <a:lnTo>
                    <a:pt x="146" y="132"/>
                  </a:lnTo>
                  <a:lnTo>
                    <a:pt x="127" y="126"/>
                  </a:lnTo>
                  <a:lnTo>
                    <a:pt x="114" y="156"/>
                  </a:lnTo>
                  <a:lnTo>
                    <a:pt x="80" y="153"/>
                  </a:lnTo>
                  <a:lnTo>
                    <a:pt x="66" y="149"/>
                  </a:lnTo>
                  <a:lnTo>
                    <a:pt x="46" y="148"/>
                  </a:lnTo>
                  <a:lnTo>
                    <a:pt x="34" y="135"/>
                  </a:lnTo>
                  <a:lnTo>
                    <a:pt x="27" y="139"/>
                  </a:lnTo>
                  <a:lnTo>
                    <a:pt x="11" y="126"/>
                  </a:lnTo>
                  <a:lnTo>
                    <a:pt x="0" y="89"/>
                  </a:lnTo>
                  <a:lnTo>
                    <a:pt x="9" y="71"/>
                  </a:lnTo>
                  <a:lnTo>
                    <a:pt x="8" y="47"/>
                  </a:lnTo>
                  <a:close/>
                </a:path>
              </a:pathLst>
            </a:custGeom>
            <a:solidFill>
              <a:srgbClr val="FFFFFF">
                <a:lumMod val="75000"/>
              </a:srgbClr>
            </a:solid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58" name="PT"/>
            <p:cNvSpPr>
              <a:spLocks noChangeAspect="1"/>
            </p:cNvSpPr>
            <p:nvPr/>
          </p:nvSpPr>
          <p:spPr bwMode="auto">
            <a:xfrm>
              <a:off x="3100982" y="4721334"/>
              <a:ext cx="277569" cy="348837"/>
            </a:xfrm>
            <a:custGeom>
              <a:avLst/>
              <a:gdLst>
                <a:gd name="T0" fmla="*/ 224 w 388"/>
                <a:gd name="T1" fmla="*/ 0 h 619"/>
                <a:gd name="T2" fmla="*/ 246 w 388"/>
                <a:gd name="T3" fmla="*/ 53 h 619"/>
                <a:gd name="T4" fmla="*/ 267 w 388"/>
                <a:gd name="T5" fmla="*/ 54 h 619"/>
                <a:gd name="T6" fmla="*/ 324 w 388"/>
                <a:gd name="T7" fmla="*/ 64 h 619"/>
                <a:gd name="T8" fmla="*/ 353 w 388"/>
                <a:gd name="T9" fmla="*/ 80 h 619"/>
                <a:gd name="T10" fmla="*/ 377 w 388"/>
                <a:gd name="T11" fmla="*/ 127 h 619"/>
                <a:gd name="T12" fmla="*/ 384 w 388"/>
                <a:gd name="T13" fmla="*/ 147 h 619"/>
                <a:gd name="T14" fmla="*/ 314 w 388"/>
                <a:gd name="T15" fmla="*/ 179 h 619"/>
                <a:gd name="T16" fmla="*/ 294 w 388"/>
                <a:gd name="T17" fmla="*/ 238 h 619"/>
                <a:gd name="T18" fmla="*/ 274 w 388"/>
                <a:gd name="T19" fmla="*/ 292 h 619"/>
                <a:gd name="T20" fmla="*/ 260 w 388"/>
                <a:gd name="T21" fmla="*/ 333 h 619"/>
                <a:gd name="T22" fmla="*/ 228 w 388"/>
                <a:gd name="T23" fmla="*/ 323 h 619"/>
                <a:gd name="T24" fmla="*/ 222 w 388"/>
                <a:gd name="T25" fmla="*/ 366 h 619"/>
                <a:gd name="T26" fmla="*/ 225 w 388"/>
                <a:gd name="T27" fmla="*/ 407 h 619"/>
                <a:gd name="T28" fmla="*/ 196 w 388"/>
                <a:gd name="T29" fmla="*/ 445 h 619"/>
                <a:gd name="T30" fmla="*/ 192 w 388"/>
                <a:gd name="T31" fmla="*/ 502 h 619"/>
                <a:gd name="T32" fmla="*/ 198 w 388"/>
                <a:gd name="T33" fmla="*/ 536 h 619"/>
                <a:gd name="T34" fmla="*/ 147 w 388"/>
                <a:gd name="T35" fmla="*/ 565 h 619"/>
                <a:gd name="T36" fmla="*/ 146 w 388"/>
                <a:gd name="T37" fmla="*/ 613 h 619"/>
                <a:gd name="T38" fmla="*/ 75 w 388"/>
                <a:gd name="T39" fmla="*/ 619 h 619"/>
                <a:gd name="T40" fmla="*/ 24 w 388"/>
                <a:gd name="T41" fmla="*/ 576 h 619"/>
                <a:gd name="T42" fmla="*/ 0 w 388"/>
                <a:gd name="T43" fmla="*/ 561 h 619"/>
                <a:gd name="T44" fmla="*/ 28 w 388"/>
                <a:gd name="T45" fmla="*/ 514 h 619"/>
                <a:gd name="T46" fmla="*/ 61 w 388"/>
                <a:gd name="T47" fmla="*/ 445 h 619"/>
                <a:gd name="T48" fmla="*/ 56 w 388"/>
                <a:gd name="T49" fmla="*/ 408 h 619"/>
                <a:gd name="T50" fmla="*/ 38 w 388"/>
                <a:gd name="T51" fmla="*/ 386 h 619"/>
                <a:gd name="T52" fmla="*/ 66 w 388"/>
                <a:gd name="T53" fmla="*/ 359 h 619"/>
                <a:gd name="T54" fmla="*/ 28 w 388"/>
                <a:gd name="T55" fmla="*/ 364 h 619"/>
                <a:gd name="T56" fmla="*/ 38 w 388"/>
                <a:gd name="T57" fmla="*/ 322 h 619"/>
                <a:gd name="T58" fmla="*/ 52 w 388"/>
                <a:gd name="T59" fmla="*/ 285 h 619"/>
                <a:gd name="T60" fmla="*/ 66 w 388"/>
                <a:gd name="T61" fmla="*/ 265 h 619"/>
                <a:gd name="T62" fmla="*/ 104 w 388"/>
                <a:gd name="T63" fmla="*/ 238 h 619"/>
                <a:gd name="T64" fmla="*/ 155 w 388"/>
                <a:gd name="T65" fmla="*/ 164 h 619"/>
                <a:gd name="T66" fmla="*/ 174 w 388"/>
                <a:gd name="T67" fmla="*/ 111 h 619"/>
                <a:gd name="T68" fmla="*/ 187 w 388"/>
                <a:gd name="T69" fmla="*/ 54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8" h="619">
                  <a:moveTo>
                    <a:pt x="196" y="6"/>
                  </a:moveTo>
                  <a:lnTo>
                    <a:pt x="224" y="0"/>
                  </a:lnTo>
                  <a:lnTo>
                    <a:pt x="243" y="24"/>
                  </a:lnTo>
                  <a:lnTo>
                    <a:pt x="246" y="53"/>
                  </a:lnTo>
                  <a:lnTo>
                    <a:pt x="253" y="59"/>
                  </a:lnTo>
                  <a:lnTo>
                    <a:pt x="267" y="54"/>
                  </a:lnTo>
                  <a:lnTo>
                    <a:pt x="312" y="74"/>
                  </a:lnTo>
                  <a:lnTo>
                    <a:pt x="324" y="64"/>
                  </a:lnTo>
                  <a:lnTo>
                    <a:pt x="342" y="63"/>
                  </a:lnTo>
                  <a:lnTo>
                    <a:pt x="353" y="80"/>
                  </a:lnTo>
                  <a:lnTo>
                    <a:pt x="363" y="108"/>
                  </a:lnTo>
                  <a:lnTo>
                    <a:pt x="377" y="127"/>
                  </a:lnTo>
                  <a:lnTo>
                    <a:pt x="388" y="137"/>
                  </a:lnTo>
                  <a:lnTo>
                    <a:pt x="384" y="147"/>
                  </a:lnTo>
                  <a:lnTo>
                    <a:pt x="351" y="157"/>
                  </a:lnTo>
                  <a:lnTo>
                    <a:pt x="314" y="179"/>
                  </a:lnTo>
                  <a:lnTo>
                    <a:pt x="315" y="218"/>
                  </a:lnTo>
                  <a:lnTo>
                    <a:pt x="294" y="238"/>
                  </a:lnTo>
                  <a:lnTo>
                    <a:pt x="276" y="255"/>
                  </a:lnTo>
                  <a:lnTo>
                    <a:pt x="274" y="292"/>
                  </a:lnTo>
                  <a:lnTo>
                    <a:pt x="274" y="316"/>
                  </a:lnTo>
                  <a:lnTo>
                    <a:pt x="260" y="333"/>
                  </a:lnTo>
                  <a:lnTo>
                    <a:pt x="248" y="316"/>
                  </a:lnTo>
                  <a:lnTo>
                    <a:pt x="228" y="323"/>
                  </a:lnTo>
                  <a:lnTo>
                    <a:pt x="225" y="335"/>
                  </a:lnTo>
                  <a:lnTo>
                    <a:pt x="222" y="366"/>
                  </a:lnTo>
                  <a:lnTo>
                    <a:pt x="229" y="377"/>
                  </a:lnTo>
                  <a:lnTo>
                    <a:pt x="225" y="407"/>
                  </a:lnTo>
                  <a:lnTo>
                    <a:pt x="213" y="421"/>
                  </a:lnTo>
                  <a:lnTo>
                    <a:pt x="196" y="445"/>
                  </a:lnTo>
                  <a:lnTo>
                    <a:pt x="189" y="465"/>
                  </a:lnTo>
                  <a:lnTo>
                    <a:pt x="192" y="502"/>
                  </a:lnTo>
                  <a:lnTo>
                    <a:pt x="206" y="524"/>
                  </a:lnTo>
                  <a:lnTo>
                    <a:pt x="198" y="536"/>
                  </a:lnTo>
                  <a:lnTo>
                    <a:pt x="161" y="549"/>
                  </a:lnTo>
                  <a:lnTo>
                    <a:pt x="147" y="565"/>
                  </a:lnTo>
                  <a:lnTo>
                    <a:pt x="146" y="582"/>
                  </a:lnTo>
                  <a:lnTo>
                    <a:pt x="146" y="613"/>
                  </a:lnTo>
                  <a:lnTo>
                    <a:pt x="104" y="613"/>
                  </a:lnTo>
                  <a:lnTo>
                    <a:pt x="75" y="619"/>
                  </a:lnTo>
                  <a:lnTo>
                    <a:pt x="42" y="576"/>
                  </a:lnTo>
                  <a:lnTo>
                    <a:pt x="24" y="576"/>
                  </a:lnTo>
                  <a:lnTo>
                    <a:pt x="9" y="576"/>
                  </a:lnTo>
                  <a:lnTo>
                    <a:pt x="0" y="561"/>
                  </a:lnTo>
                  <a:lnTo>
                    <a:pt x="9" y="545"/>
                  </a:lnTo>
                  <a:lnTo>
                    <a:pt x="28" y="514"/>
                  </a:lnTo>
                  <a:lnTo>
                    <a:pt x="38" y="482"/>
                  </a:lnTo>
                  <a:lnTo>
                    <a:pt x="61" y="445"/>
                  </a:lnTo>
                  <a:lnTo>
                    <a:pt x="66" y="424"/>
                  </a:lnTo>
                  <a:lnTo>
                    <a:pt x="56" y="408"/>
                  </a:lnTo>
                  <a:lnTo>
                    <a:pt x="42" y="394"/>
                  </a:lnTo>
                  <a:lnTo>
                    <a:pt x="38" y="386"/>
                  </a:lnTo>
                  <a:lnTo>
                    <a:pt x="56" y="380"/>
                  </a:lnTo>
                  <a:lnTo>
                    <a:pt x="66" y="359"/>
                  </a:lnTo>
                  <a:lnTo>
                    <a:pt x="47" y="353"/>
                  </a:lnTo>
                  <a:lnTo>
                    <a:pt x="28" y="364"/>
                  </a:lnTo>
                  <a:lnTo>
                    <a:pt x="28" y="337"/>
                  </a:lnTo>
                  <a:lnTo>
                    <a:pt x="38" y="322"/>
                  </a:lnTo>
                  <a:lnTo>
                    <a:pt x="47" y="306"/>
                  </a:lnTo>
                  <a:lnTo>
                    <a:pt x="52" y="285"/>
                  </a:lnTo>
                  <a:lnTo>
                    <a:pt x="56" y="269"/>
                  </a:lnTo>
                  <a:lnTo>
                    <a:pt x="66" y="265"/>
                  </a:lnTo>
                  <a:lnTo>
                    <a:pt x="80" y="275"/>
                  </a:lnTo>
                  <a:lnTo>
                    <a:pt x="104" y="238"/>
                  </a:lnTo>
                  <a:lnTo>
                    <a:pt x="118" y="212"/>
                  </a:lnTo>
                  <a:lnTo>
                    <a:pt x="155" y="164"/>
                  </a:lnTo>
                  <a:lnTo>
                    <a:pt x="155" y="144"/>
                  </a:lnTo>
                  <a:lnTo>
                    <a:pt x="174" y="111"/>
                  </a:lnTo>
                  <a:lnTo>
                    <a:pt x="179" y="74"/>
                  </a:lnTo>
                  <a:lnTo>
                    <a:pt x="187" y="54"/>
                  </a:lnTo>
                  <a:lnTo>
                    <a:pt x="196" y="6"/>
                  </a:lnTo>
                  <a:close/>
                </a:path>
              </a:pathLst>
            </a:custGeom>
            <a:solidFill>
              <a:srgbClr val="1F497D"/>
            </a:solidFill>
            <a:ln w="3175" cap="flat" cmpd="sng" algn="ctr">
              <a:solidFill>
                <a:sysClr val="window" lastClr="FFFFFF">
                  <a:lumMod val="85000"/>
                </a:sysClr>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nvGrpSpPr>
            <p:cNvPr id="159" name="ES"/>
            <p:cNvGrpSpPr>
              <a:grpSpLocks/>
            </p:cNvGrpSpPr>
            <p:nvPr/>
          </p:nvGrpSpPr>
          <p:grpSpPr bwMode="auto">
            <a:xfrm>
              <a:off x="3203720" y="4608289"/>
              <a:ext cx="762925" cy="578625"/>
              <a:chOff x="212709" y="4669452"/>
              <a:chExt cx="724" cy="631"/>
            </a:xfrm>
            <a:solidFill>
              <a:srgbClr val="1F497D"/>
            </a:solidFill>
            <a:effectLst/>
          </p:grpSpPr>
          <p:sp>
            <p:nvSpPr>
              <p:cNvPr id="202" name="Freeform 201"/>
              <p:cNvSpPr>
                <a:spLocks noChangeAspect="1"/>
              </p:cNvSpPr>
              <p:nvPr/>
            </p:nvSpPr>
            <p:spPr bwMode="auto">
              <a:xfrm>
                <a:off x="213239" y="4669977"/>
                <a:ext cx="27" cy="20"/>
              </a:xfrm>
              <a:custGeom>
                <a:avLst/>
                <a:gdLst>
                  <a:gd name="T0" fmla="*/ 39 w 39"/>
                  <a:gd name="T1" fmla="*/ 0 h 31"/>
                  <a:gd name="T2" fmla="*/ 20 w 39"/>
                  <a:gd name="T3" fmla="*/ 0 h 31"/>
                  <a:gd name="T4" fmla="*/ 0 w 39"/>
                  <a:gd name="T5" fmla="*/ 21 h 31"/>
                  <a:gd name="T6" fmla="*/ 10 w 39"/>
                  <a:gd name="T7" fmla="*/ 31 h 31"/>
                  <a:gd name="T8" fmla="*/ 29 w 39"/>
                  <a:gd name="T9" fmla="*/ 31 h 31"/>
                  <a:gd name="T10" fmla="*/ 39 w 39"/>
                  <a:gd name="T11" fmla="*/ 0 h 31"/>
                </a:gdLst>
                <a:ahLst/>
                <a:cxnLst>
                  <a:cxn ang="0">
                    <a:pos x="T0" y="T1"/>
                  </a:cxn>
                  <a:cxn ang="0">
                    <a:pos x="T2" y="T3"/>
                  </a:cxn>
                  <a:cxn ang="0">
                    <a:pos x="T4" y="T5"/>
                  </a:cxn>
                  <a:cxn ang="0">
                    <a:pos x="T6" y="T7"/>
                  </a:cxn>
                  <a:cxn ang="0">
                    <a:pos x="T8" y="T9"/>
                  </a:cxn>
                  <a:cxn ang="0">
                    <a:pos x="T10" y="T11"/>
                  </a:cxn>
                </a:cxnLst>
                <a:rect l="0" t="0" r="r" b="b"/>
                <a:pathLst>
                  <a:path w="39" h="31">
                    <a:moveTo>
                      <a:pt x="39" y="0"/>
                    </a:moveTo>
                    <a:lnTo>
                      <a:pt x="20" y="0"/>
                    </a:lnTo>
                    <a:lnTo>
                      <a:pt x="0" y="21"/>
                    </a:lnTo>
                    <a:lnTo>
                      <a:pt x="10" y="31"/>
                    </a:lnTo>
                    <a:lnTo>
                      <a:pt x="29" y="31"/>
                    </a:lnTo>
                    <a:lnTo>
                      <a:pt x="39"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3" name="Freeform 202"/>
              <p:cNvSpPr>
                <a:spLocks noChangeAspect="1"/>
              </p:cNvSpPr>
              <p:nvPr/>
            </p:nvSpPr>
            <p:spPr bwMode="auto">
              <a:xfrm>
                <a:off x="213316" y="4669928"/>
                <a:ext cx="62" cy="48"/>
              </a:xfrm>
              <a:custGeom>
                <a:avLst/>
                <a:gdLst>
                  <a:gd name="T0" fmla="*/ 66 w 90"/>
                  <a:gd name="T1" fmla="*/ 0 h 80"/>
                  <a:gd name="T2" fmla="*/ 57 w 90"/>
                  <a:gd name="T3" fmla="*/ 10 h 80"/>
                  <a:gd name="T4" fmla="*/ 19 w 90"/>
                  <a:gd name="T5" fmla="*/ 16 h 80"/>
                  <a:gd name="T6" fmla="*/ 0 w 90"/>
                  <a:gd name="T7" fmla="*/ 43 h 80"/>
                  <a:gd name="T8" fmla="*/ 28 w 90"/>
                  <a:gd name="T9" fmla="*/ 64 h 80"/>
                  <a:gd name="T10" fmla="*/ 43 w 90"/>
                  <a:gd name="T11" fmla="*/ 80 h 80"/>
                  <a:gd name="T12" fmla="*/ 71 w 90"/>
                  <a:gd name="T13" fmla="*/ 74 h 80"/>
                  <a:gd name="T14" fmla="*/ 90 w 90"/>
                  <a:gd name="T15" fmla="*/ 64 h 80"/>
                  <a:gd name="T16" fmla="*/ 85 w 90"/>
                  <a:gd name="T17" fmla="*/ 43 h 80"/>
                  <a:gd name="T18" fmla="*/ 71 w 90"/>
                  <a:gd name="T19" fmla="*/ 27 h 80"/>
                  <a:gd name="T20" fmla="*/ 66 w 90"/>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80">
                    <a:moveTo>
                      <a:pt x="66" y="0"/>
                    </a:moveTo>
                    <a:lnTo>
                      <a:pt x="57" y="10"/>
                    </a:lnTo>
                    <a:lnTo>
                      <a:pt x="19" y="16"/>
                    </a:lnTo>
                    <a:lnTo>
                      <a:pt x="0" y="43"/>
                    </a:lnTo>
                    <a:lnTo>
                      <a:pt x="28" y="64"/>
                    </a:lnTo>
                    <a:lnTo>
                      <a:pt x="43" y="80"/>
                    </a:lnTo>
                    <a:lnTo>
                      <a:pt x="71" y="74"/>
                    </a:lnTo>
                    <a:lnTo>
                      <a:pt x="90" y="64"/>
                    </a:lnTo>
                    <a:lnTo>
                      <a:pt x="85" y="43"/>
                    </a:lnTo>
                    <a:lnTo>
                      <a:pt x="71" y="27"/>
                    </a:lnTo>
                    <a:lnTo>
                      <a:pt x="66"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4" name="Freeform 203"/>
              <p:cNvSpPr>
                <a:spLocks noChangeAspect="1"/>
              </p:cNvSpPr>
              <p:nvPr/>
            </p:nvSpPr>
            <p:spPr bwMode="auto">
              <a:xfrm>
                <a:off x="213412" y="4669930"/>
                <a:ext cx="21" cy="26"/>
              </a:xfrm>
              <a:custGeom>
                <a:avLst/>
                <a:gdLst>
                  <a:gd name="T0" fmla="*/ 19 w 29"/>
                  <a:gd name="T1" fmla="*/ 0 h 41"/>
                  <a:gd name="T2" fmla="*/ 0 w 29"/>
                  <a:gd name="T3" fmla="*/ 10 h 41"/>
                  <a:gd name="T4" fmla="*/ 16 w 29"/>
                  <a:gd name="T5" fmla="*/ 25 h 41"/>
                  <a:gd name="T6" fmla="*/ 29 w 29"/>
                  <a:gd name="T7" fmla="*/ 41 h 41"/>
                  <a:gd name="T8" fmla="*/ 19 w 29"/>
                  <a:gd name="T9" fmla="*/ 0 h 41"/>
                </a:gdLst>
                <a:ahLst/>
                <a:cxnLst>
                  <a:cxn ang="0">
                    <a:pos x="T0" y="T1"/>
                  </a:cxn>
                  <a:cxn ang="0">
                    <a:pos x="T2" y="T3"/>
                  </a:cxn>
                  <a:cxn ang="0">
                    <a:pos x="T4" y="T5"/>
                  </a:cxn>
                  <a:cxn ang="0">
                    <a:pos x="T6" y="T7"/>
                  </a:cxn>
                  <a:cxn ang="0">
                    <a:pos x="T8" y="T9"/>
                  </a:cxn>
                </a:cxnLst>
                <a:rect l="0" t="0" r="r" b="b"/>
                <a:pathLst>
                  <a:path w="29" h="41">
                    <a:moveTo>
                      <a:pt x="19" y="0"/>
                    </a:moveTo>
                    <a:lnTo>
                      <a:pt x="0" y="10"/>
                    </a:lnTo>
                    <a:lnTo>
                      <a:pt x="16" y="25"/>
                    </a:lnTo>
                    <a:lnTo>
                      <a:pt x="29" y="41"/>
                    </a:lnTo>
                    <a:lnTo>
                      <a:pt x="19"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5" name="Freeform 204"/>
              <p:cNvSpPr>
                <a:spLocks noChangeAspect="1"/>
              </p:cNvSpPr>
              <p:nvPr/>
            </p:nvSpPr>
            <p:spPr bwMode="auto">
              <a:xfrm>
                <a:off x="212709" y="4669452"/>
                <a:ext cx="696" cy="631"/>
              </a:xfrm>
              <a:custGeom>
                <a:avLst/>
                <a:gdLst>
                  <a:gd name="T0" fmla="*/ 46 w 1024"/>
                  <a:gd name="T1" fmla="*/ 185 h 1020"/>
                  <a:gd name="T2" fmla="*/ 79 w 1024"/>
                  <a:gd name="T3" fmla="*/ 111 h 1020"/>
                  <a:gd name="T4" fmla="*/ 71 w 1024"/>
                  <a:gd name="T5" fmla="*/ 84 h 1020"/>
                  <a:gd name="T6" fmla="*/ 55 w 1024"/>
                  <a:gd name="T7" fmla="*/ 59 h 1020"/>
                  <a:gd name="T8" fmla="*/ 112 w 1024"/>
                  <a:gd name="T9" fmla="*/ 27 h 1020"/>
                  <a:gd name="T10" fmla="*/ 154 w 1024"/>
                  <a:gd name="T11" fmla="*/ 16 h 1020"/>
                  <a:gd name="T12" fmla="*/ 197 w 1024"/>
                  <a:gd name="T13" fmla="*/ 6 h 1020"/>
                  <a:gd name="T14" fmla="*/ 281 w 1024"/>
                  <a:gd name="T15" fmla="*/ 80 h 1020"/>
                  <a:gd name="T16" fmla="*/ 340 w 1024"/>
                  <a:gd name="T17" fmla="*/ 84 h 1020"/>
                  <a:gd name="T18" fmla="*/ 504 w 1024"/>
                  <a:gd name="T19" fmla="*/ 170 h 1020"/>
                  <a:gd name="T20" fmla="*/ 573 w 1024"/>
                  <a:gd name="T21" fmla="*/ 190 h 1020"/>
                  <a:gd name="T22" fmla="*/ 621 w 1024"/>
                  <a:gd name="T23" fmla="*/ 232 h 1020"/>
                  <a:gd name="T24" fmla="*/ 668 w 1024"/>
                  <a:gd name="T25" fmla="*/ 238 h 1020"/>
                  <a:gd name="T26" fmla="*/ 668 w 1024"/>
                  <a:gd name="T27" fmla="*/ 264 h 1020"/>
                  <a:gd name="T28" fmla="*/ 743 w 1024"/>
                  <a:gd name="T29" fmla="*/ 343 h 1020"/>
                  <a:gd name="T30" fmla="*/ 804 w 1024"/>
                  <a:gd name="T31" fmla="*/ 374 h 1020"/>
                  <a:gd name="T32" fmla="*/ 898 w 1024"/>
                  <a:gd name="T33" fmla="*/ 406 h 1020"/>
                  <a:gd name="T34" fmla="*/ 917 w 1024"/>
                  <a:gd name="T35" fmla="*/ 443 h 1020"/>
                  <a:gd name="T36" fmla="*/ 953 w 1024"/>
                  <a:gd name="T37" fmla="*/ 458 h 1020"/>
                  <a:gd name="T38" fmla="*/ 991 w 1024"/>
                  <a:gd name="T39" fmla="*/ 458 h 1020"/>
                  <a:gd name="T40" fmla="*/ 1015 w 1024"/>
                  <a:gd name="T41" fmla="*/ 458 h 1020"/>
                  <a:gd name="T42" fmla="*/ 1024 w 1024"/>
                  <a:gd name="T43" fmla="*/ 507 h 1020"/>
                  <a:gd name="T44" fmla="*/ 936 w 1024"/>
                  <a:gd name="T45" fmla="*/ 584 h 1020"/>
                  <a:gd name="T46" fmla="*/ 809 w 1024"/>
                  <a:gd name="T47" fmla="*/ 609 h 1020"/>
                  <a:gd name="T48" fmla="*/ 776 w 1024"/>
                  <a:gd name="T49" fmla="*/ 646 h 1020"/>
                  <a:gd name="T50" fmla="*/ 738 w 1024"/>
                  <a:gd name="T51" fmla="*/ 662 h 1020"/>
                  <a:gd name="T52" fmla="*/ 700 w 1024"/>
                  <a:gd name="T53" fmla="*/ 709 h 1020"/>
                  <a:gd name="T54" fmla="*/ 658 w 1024"/>
                  <a:gd name="T55" fmla="*/ 741 h 1020"/>
                  <a:gd name="T56" fmla="*/ 672 w 1024"/>
                  <a:gd name="T57" fmla="*/ 798 h 1020"/>
                  <a:gd name="T58" fmla="*/ 677 w 1024"/>
                  <a:gd name="T59" fmla="*/ 841 h 1020"/>
                  <a:gd name="T60" fmla="*/ 653 w 1024"/>
                  <a:gd name="T61" fmla="*/ 857 h 1020"/>
                  <a:gd name="T62" fmla="*/ 589 w 1024"/>
                  <a:gd name="T63" fmla="*/ 921 h 1020"/>
                  <a:gd name="T64" fmla="*/ 564 w 1024"/>
                  <a:gd name="T65" fmla="*/ 946 h 1020"/>
                  <a:gd name="T66" fmla="*/ 523 w 1024"/>
                  <a:gd name="T67" fmla="*/ 962 h 1020"/>
                  <a:gd name="T68" fmla="*/ 480 w 1024"/>
                  <a:gd name="T69" fmla="*/ 973 h 1020"/>
                  <a:gd name="T70" fmla="*/ 457 w 1024"/>
                  <a:gd name="T71" fmla="*/ 1005 h 1020"/>
                  <a:gd name="T72" fmla="*/ 419 w 1024"/>
                  <a:gd name="T73" fmla="*/ 1015 h 1020"/>
                  <a:gd name="T74" fmla="*/ 344 w 1024"/>
                  <a:gd name="T75" fmla="*/ 1005 h 1020"/>
                  <a:gd name="T76" fmla="*/ 229 w 1024"/>
                  <a:gd name="T77" fmla="*/ 962 h 1020"/>
                  <a:gd name="T78" fmla="*/ 173 w 1024"/>
                  <a:gd name="T79" fmla="*/ 989 h 1020"/>
                  <a:gd name="T80" fmla="*/ 121 w 1024"/>
                  <a:gd name="T81" fmla="*/ 1010 h 1020"/>
                  <a:gd name="T82" fmla="*/ 55 w 1024"/>
                  <a:gd name="T83" fmla="*/ 958 h 1020"/>
                  <a:gd name="T84" fmla="*/ 33 w 1024"/>
                  <a:gd name="T85" fmla="*/ 835 h 1020"/>
                  <a:gd name="T86" fmla="*/ 0 w 1024"/>
                  <a:gd name="T87" fmla="*/ 794 h 1020"/>
                  <a:gd name="T88" fmla="*/ 14 w 1024"/>
                  <a:gd name="T89" fmla="*/ 746 h 1020"/>
                  <a:gd name="T90" fmla="*/ 60 w 1024"/>
                  <a:gd name="T91" fmla="*/ 720 h 1020"/>
                  <a:gd name="T92" fmla="*/ 41 w 1024"/>
                  <a:gd name="T93" fmla="*/ 662 h 1020"/>
                  <a:gd name="T94" fmla="*/ 84 w 1024"/>
                  <a:gd name="T95" fmla="*/ 599 h 1020"/>
                  <a:gd name="T96" fmla="*/ 74 w 1024"/>
                  <a:gd name="T97" fmla="*/ 554 h 1020"/>
                  <a:gd name="T98" fmla="*/ 88 w 1024"/>
                  <a:gd name="T99" fmla="*/ 512 h 1020"/>
                  <a:gd name="T100" fmla="*/ 112 w 1024"/>
                  <a:gd name="T101" fmla="*/ 528 h 1020"/>
                  <a:gd name="T102" fmla="*/ 131 w 1024"/>
                  <a:gd name="T103" fmla="*/ 448 h 1020"/>
                  <a:gd name="T104" fmla="*/ 168 w 1024"/>
                  <a:gd name="T105" fmla="*/ 390 h 1020"/>
                  <a:gd name="T106" fmla="*/ 206 w 1024"/>
                  <a:gd name="T107" fmla="*/ 349 h 1020"/>
                  <a:gd name="T108" fmla="*/ 244 w 1024"/>
                  <a:gd name="T109" fmla="*/ 332 h 1020"/>
                  <a:gd name="T110" fmla="*/ 201 w 1024"/>
                  <a:gd name="T111" fmla="*/ 264 h 1020"/>
                  <a:gd name="T112" fmla="*/ 164 w 1024"/>
                  <a:gd name="T113" fmla="*/ 269 h 1020"/>
                  <a:gd name="T114" fmla="*/ 117 w 1024"/>
                  <a:gd name="T115" fmla="*/ 248 h 1020"/>
                  <a:gd name="T116" fmla="*/ 98 w 1024"/>
                  <a:gd name="T117" fmla="*/ 242 h 1020"/>
                  <a:gd name="T118" fmla="*/ 84 w 1024"/>
                  <a:gd name="T119" fmla="*/ 201 h 1020"/>
                  <a:gd name="T120" fmla="*/ 52 w 1024"/>
                  <a:gd name="T121" fmla="*/ 20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4" h="1020">
                    <a:moveTo>
                      <a:pt x="52" y="201"/>
                    </a:moveTo>
                    <a:lnTo>
                      <a:pt x="46" y="185"/>
                    </a:lnTo>
                    <a:lnTo>
                      <a:pt x="52" y="164"/>
                    </a:lnTo>
                    <a:lnTo>
                      <a:pt x="79" y="111"/>
                    </a:lnTo>
                    <a:lnTo>
                      <a:pt x="65" y="100"/>
                    </a:lnTo>
                    <a:lnTo>
                      <a:pt x="71" y="84"/>
                    </a:lnTo>
                    <a:lnTo>
                      <a:pt x="55" y="80"/>
                    </a:lnTo>
                    <a:lnTo>
                      <a:pt x="55" y="59"/>
                    </a:lnTo>
                    <a:lnTo>
                      <a:pt x="65" y="43"/>
                    </a:lnTo>
                    <a:lnTo>
                      <a:pt x="112" y="27"/>
                    </a:lnTo>
                    <a:lnTo>
                      <a:pt x="150" y="32"/>
                    </a:lnTo>
                    <a:lnTo>
                      <a:pt x="154" y="16"/>
                    </a:lnTo>
                    <a:lnTo>
                      <a:pt x="182" y="0"/>
                    </a:lnTo>
                    <a:lnTo>
                      <a:pt x="197" y="6"/>
                    </a:lnTo>
                    <a:lnTo>
                      <a:pt x="229" y="53"/>
                    </a:lnTo>
                    <a:lnTo>
                      <a:pt x="281" y="80"/>
                    </a:lnTo>
                    <a:lnTo>
                      <a:pt x="328" y="80"/>
                    </a:lnTo>
                    <a:lnTo>
                      <a:pt x="340" y="84"/>
                    </a:lnTo>
                    <a:lnTo>
                      <a:pt x="466" y="164"/>
                    </a:lnTo>
                    <a:lnTo>
                      <a:pt x="504" y="170"/>
                    </a:lnTo>
                    <a:lnTo>
                      <a:pt x="532" y="201"/>
                    </a:lnTo>
                    <a:lnTo>
                      <a:pt x="573" y="190"/>
                    </a:lnTo>
                    <a:lnTo>
                      <a:pt x="597" y="207"/>
                    </a:lnTo>
                    <a:lnTo>
                      <a:pt x="621" y="232"/>
                    </a:lnTo>
                    <a:lnTo>
                      <a:pt x="649" y="232"/>
                    </a:lnTo>
                    <a:lnTo>
                      <a:pt x="668" y="238"/>
                    </a:lnTo>
                    <a:lnTo>
                      <a:pt x="677" y="248"/>
                    </a:lnTo>
                    <a:lnTo>
                      <a:pt x="668" y="264"/>
                    </a:lnTo>
                    <a:lnTo>
                      <a:pt x="668" y="285"/>
                    </a:lnTo>
                    <a:lnTo>
                      <a:pt x="743" y="343"/>
                    </a:lnTo>
                    <a:lnTo>
                      <a:pt x="785" y="380"/>
                    </a:lnTo>
                    <a:lnTo>
                      <a:pt x="804" y="374"/>
                    </a:lnTo>
                    <a:lnTo>
                      <a:pt x="827" y="369"/>
                    </a:lnTo>
                    <a:lnTo>
                      <a:pt x="898" y="406"/>
                    </a:lnTo>
                    <a:lnTo>
                      <a:pt x="906" y="433"/>
                    </a:lnTo>
                    <a:lnTo>
                      <a:pt x="917" y="443"/>
                    </a:lnTo>
                    <a:lnTo>
                      <a:pt x="939" y="448"/>
                    </a:lnTo>
                    <a:lnTo>
                      <a:pt x="953" y="458"/>
                    </a:lnTo>
                    <a:lnTo>
                      <a:pt x="972" y="458"/>
                    </a:lnTo>
                    <a:lnTo>
                      <a:pt x="991" y="458"/>
                    </a:lnTo>
                    <a:lnTo>
                      <a:pt x="1010" y="464"/>
                    </a:lnTo>
                    <a:lnTo>
                      <a:pt x="1015" y="458"/>
                    </a:lnTo>
                    <a:lnTo>
                      <a:pt x="1024" y="480"/>
                    </a:lnTo>
                    <a:lnTo>
                      <a:pt x="1024" y="507"/>
                    </a:lnTo>
                    <a:lnTo>
                      <a:pt x="1010" y="522"/>
                    </a:lnTo>
                    <a:lnTo>
                      <a:pt x="936" y="584"/>
                    </a:lnTo>
                    <a:lnTo>
                      <a:pt x="903" y="584"/>
                    </a:lnTo>
                    <a:lnTo>
                      <a:pt x="809" y="609"/>
                    </a:lnTo>
                    <a:lnTo>
                      <a:pt x="776" y="615"/>
                    </a:lnTo>
                    <a:lnTo>
                      <a:pt x="776" y="646"/>
                    </a:lnTo>
                    <a:lnTo>
                      <a:pt x="757" y="646"/>
                    </a:lnTo>
                    <a:lnTo>
                      <a:pt x="738" y="662"/>
                    </a:lnTo>
                    <a:lnTo>
                      <a:pt x="719" y="689"/>
                    </a:lnTo>
                    <a:lnTo>
                      <a:pt x="700" y="709"/>
                    </a:lnTo>
                    <a:lnTo>
                      <a:pt x="677" y="714"/>
                    </a:lnTo>
                    <a:lnTo>
                      <a:pt x="658" y="741"/>
                    </a:lnTo>
                    <a:lnTo>
                      <a:pt x="658" y="778"/>
                    </a:lnTo>
                    <a:lnTo>
                      <a:pt x="672" y="798"/>
                    </a:lnTo>
                    <a:lnTo>
                      <a:pt x="677" y="814"/>
                    </a:lnTo>
                    <a:lnTo>
                      <a:pt x="677" y="841"/>
                    </a:lnTo>
                    <a:lnTo>
                      <a:pt x="672" y="851"/>
                    </a:lnTo>
                    <a:lnTo>
                      <a:pt x="653" y="857"/>
                    </a:lnTo>
                    <a:lnTo>
                      <a:pt x="625" y="884"/>
                    </a:lnTo>
                    <a:lnTo>
                      <a:pt x="589" y="921"/>
                    </a:lnTo>
                    <a:lnTo>
                      <a:pt x="573" y="936"/>
                    </a:lnTo>
                    <a:lnTo>
                      <a:pt x="564" y="946"/>
                    </a:lnTo>
                    <a:lnTo>
                      <a:pt x="564" y="962"/>
                    </a:lnTo>
                    <a:lnTo>
                      <a:pt x="523" y="962"/>
                    </a:lnTo>
                    <a:lnTo>
                      <a:pt x="499" y="968"/>
                    </a:lnTo>
                    <a:lnTo>
                      <a:pt x="480" y="973"/>
                    </a:lnTo>
                    <a:lnTo>
                      <a:pt x="471" y="983"/>
                    </a:lnTo>
                    <a:lnTo>
                      <a:pt x="457" y="1005"/>
                    </a:lnTo>
                    <a:lnTo>
                      <a:pt x="433" y="1015"/>
                    </a:lnTo>
                    <a:lnTo>
                      <a:pt x="419" y="1015"/>
                    </a:lnTo>
                    <a:lnTo>
                      <a:pt x="391" y="1010"/>
                    </a:lnTo>
                    <a:lnTo>
                      <a:pt x="344" y="1005"/>
                    </a:lnTo>
                    <a:lnTo>
                      <a:pt x="262" y="968"/>
                    </a:lnTo>
                    <a:lnTo>
                      <a:pt x="229" y="962"/>
                    </a:lnTo>
                    <a:lnTo>
                      <a:pt x="197" y="973"/>
                    </a:lnTo>
                    <a:lnTo>
                      <a:pt x="173" y="989"/>
                    </a:lnTo>
                    <a:lnTo>
                      <a:pt x="145" y="993"/>
                    </a:lnTo>
                    <a:lnTo>
                      <a:pt x="121" y="1010"/>
                    </a:lnTo>
                    <a:lnTo>
                      <a:pt x="107" y="1020"/>
                    </a:lnTo>
                    <a:lnTo>
                      <a:pt x="55" y="958"/>
                    </a:lnTo>
                    <a:lnTo>
                      <a:pt x="55" y="868"/>
                    </a:lnTo>
                    <a:lnTo>
                      <a:pt x="33" y="835"/>
                    </a:lnTo>
                    <a:lnTo>
                      <a:pt x="5" y="810"/>
                    </a:lnTo>
                    <a:lnTo>
                      <a:pt x="0" y="794"/>
                    </a:lnTo>
                    <a:lnTo>
                      <a:pt x="0" y="761"/>
                    </a:lnTo>
                    <a:lnTo>
                      <a:pt x="14" y="746"/>
                    </a:lnTo>
                    <a:lnTo>
                      <a:pt x="52" y="730"/>
                    </a:lnTo>
                    <a:lnTo>
                      <a:pt x="60" y="720"/>
                    </a:lnTo>
                    <a:lnTo>
                      <a:pt x="46" y="699"/>
                    </a:lnTo>
                    <a:lnTo>
                      <a:pt x="41" y="662"/>
                    </a:lnTo>
                    <a:lnTo>
                      <a:pt x="55" y="630"/>
                    </a:lnTo>
                    <a:lnTo>
                      <a:pt x="84" y="599"/>
                    </a:lnTo>
                    <a:lnTo>
                      <a:pt x="84" y="575"/>
                    </a:lnTo>
                    <a:lnTo>
                      <a:pt x="74" y="554"/>
                    </a:lnTo>
                    <a:lnTo>
                      <a:pt x="84" y="517"/>
                    </a:lnTo>
                    <a:lnTo>
                      <a:pt x="88" y="512"/>
                    </a:lnTo>
                    <a:lnTo>
                      <a:pt x="102" y="512"/>
                    </a:lnTo>
                    <a:lnTo>
                      <a:pt x="112" y="528"/>
                    </a:lnTo>
                    <a:lnTo>
                      <a:pt x="126" y="507"/>
                    </a:lnTo>
                    <a:lnTo>
                      <a:pt x="131" y="448"/>
                    </a:lnTo>
                    <a:lnTo>
                      <a:pt x="168" y="411"/>
                    </a:lnTo>
                    <a:lnTo>
                      <a:pt x="168" y="390"/>
                    </a:lnTo>
                    <a:lnTo>
                      <a:pt x="168" y="374"/>
                    </a:lnTo>
                    <a:lnTo>
                      <a:pt x="206" y="349"/>
                    </a:lnTo>
                    <a:lnTo>
                      <a:pt x="234" y="343"/>
                    </a:lnTo>
                    <a:lnTo>
                      <a:pt x="244" y="332"/>
                    </a:lnTo>
                    <a:lnTo>
                      <a:pt x="220" y="306"/>
                    </a:lnTo>
                    <a:lnTo>
                      <a:pt x="201" y="264"/>
                    </a:lnTo>
                    <a:lnTo>
                      <a:pt x="192" y="254"/>
                    </a:lnTo>
                    <a:lnTo>
                      <a:pt x="164" y="269"/>
                    </a:lnTo>
                    <a:lnTo>
                      <a:pt x="145" y="259"/>
                    </a:lnTo>
                    <a:lnTo>
                      <a:pt x="117" y="248"/>
                    </a:lnTo>
                    <a:lnTo>
                      <a:pt x="107" y="254"/>
                    </a:lnTo>
                    <a:lnTo>
                      <a:pt x="98" y="242"/>
                    </a:lnTo>
                    <a:lnTo>
                      <a:pt x="98" y="222"/>
                    </a:lnTo>
                    <a:lnTo>
                      <a:pt x="84" y="201"/>
                    </a:lnTo>
                    <a:lnTo>
                      <a:pt x="74" y="195"/>
                    </a:lnTo>
                    <a:lnTo>
                      <a:pt x="52" y="201"/>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grpSp>
          <p:nvGrpSpPr>
            <p:cNvPr id="160" name="IT"/>
            <p:cNvGrpSpPr>
              <a:grpSpLocks/>
            </p:cNvGrpSpPr>
            <p:nvPr/>
          </p:nvGrpSpPr>
          <p:grpSpPr bwMode="auto">
            <a:xfrm>
              <a:off x="4185467" y="4629136"/>
              <a:ext cx="664015" cy="748743"/>
              <a:chOff x="2243132" y="4710790"/>
              <a:chExt cx="631" cy="816"/>
            </a:xfrm>
            <a:solidFill>
              <a:srgbClr val="1F497D"/>
            </a:solidFill>
            <a:effectLst/>
          </p:grpSpPr>
          <p:sp>
            <p:nvSpPr>
              <p:cNvPr id="199" name="Freeform 198"/>
              <p:cNvSpPr>
                <a:spLocks noChangeAspect="1"/>
              </p:cNvSpPr>
              <p:nvPr/>
            </p:nvSpPr>
            <p:spPr bwMode="auto">
              <a:xfrm>
                <a:off x="2243153" y="4711221"/>
                <a:ext cx="100" cy="168"/>
              </a:xfrm>
              <a:custGeom>
                <a:avLst/>
                <a:gdLst>
                  <a:gd name="T0" fmla="*/ 89 w 150"/>
                  <a:gd name="T1" fmla="*/ 0 h 275"/>
                  <a:gd name="T2" fmla="*/ 66 w 150"/>
                  <a:gd name="T3" fmla="*/ 16 h 275"/>
                  <a:gd name="T4" fmla="*/ 47 w 150"/>
                  <a:gd name="T5" fmla="*/ 31 h 275"/>
                  <a:gd name="T6" fmla="*/ 28 w 150"/>
                  <a:gd name="T7" fmla="*/ 37 h 275"/>
                  <a:gd name="T8" fmla="*/ 0 w 150"/>
                  <a:gd name="T9" fmla="*/ 31 h 275"/>
                  <a:gd name="T10" fmla="*/ 5 w 150"/>
                  <a:gd name="T11" fmla="*/ 64 h 275"/>
                  <a:gd name="T12" fmla="*/ 19 w 150"/>
                  <a:gd name="T13" fmla="*/ 84 h 275"/>
                  <a:gd name="T14" fmla="*/ 14 w 150"/>
                  <a:gd name="T15" fmla="*/ 138 h 275"/>
                  <a:gd name="T16" fmla="*/ 14 w 150"/>
                  <a:gd name="T17" fmla="*/ 164 h 275"/>
                  <a:gd name="T18" fmla="*/ 19 w 150"/>
                  <a:gd name="T19" fmla="*/ 185 h 275"/>
                  <a:gd name="T20" fmla="*/ 5 w 150"/>
                  <a:gd name="T21" fmla="*/ 228 h 275"/>
                  <a:gd name="T22" fmla="*/ 9 w 150"/>
                  <a:gd name="T23" fmla="*/ 259 h 275"/>
                  <a:gd name="T24" fmla="*/ 28 w 150"/>
                  <a:gd name="T25" fmla="*/ 275 h 275"/>
                  <a:gd name="T26" fmla="*/ 56 w 150"/>
                  <a:gd name="T27" fmla="*/ 253 h 275"/>
                  <a:gd name="T28" fmla="*/ 66 w 150"/>
                  <a:gd name="T29" fmla="*/ 248 h 275"/>
                  <a:gd name="T30" fmla="*/ 94 w 150"/>
                  <a:gd name="T31" fmla="*/ 253 h 275"/>
                  <a:gd name="T32" fmla="*/ 113 w 150"/>
                  <a:gd name="T33" fmla="*/ 232 h 275"/>
                  <a:gd name="T34" fmla="*/ 113 w 150"/>
                  <a:gd name="T35" fmla="*/ 211 h 275"/>
                  <a:gd name="T36" fmla="*/ 136 w 150"/>
                  <a:gd name="T37" fmla="*/ 169 h 275"/>
                  <a:gd name="T38" fmla="*/ 145 w 150"/>
                  <a:gd name="T39" fmla="*/ 142 h 275"/>
                  <a:gd name="T40" fmla="*/ 136 w 150"/>
                  <a:gd name="T41" fmla="*/ 117 h 275"/>
                  <a:gd name="T42" fmla="*/ 150 w 150"/>
                  <a:gd name="T43" fmla="*/ 84 h 275"/>
                  <a:gd name="T44" fmla="*/ 141 w 150"/>
                  <a:gd name="T45" fmla="*/ 37 h 275"/>
                  <a:gd name="T46" fmla="*/ 136 w 150"/>
                  <a:gd name="T47" fmla="*/ 10 h 275"/>
                  <a:gd name="T48" fmla="*/ 89 w 150"/>
                  <a:gd name="T49"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275">
                    <a:moveTo>
                      <a:pt x="89" y="0"/>
                    </a:moveTo>
                    <a:lnTo>
                      <a:pt x="66" y="16"/>
                    </a:lnTo>
                    <a:lnTo>
                      <a:pt x="47" y="31"/>
                    </a:lnTo>
                    <a:lnTo>
                      <a:pt x="28" y="37"/>
                    </a:lnTo>
                    <a:lnTo>
                      <a:pt x="0" y="31"/>
                    </a:lnTo>
                    <a:lnTo>
                      <a:pt x="5" y="64"/>
                    </a:lnTo>
                    <a:lnTo>
                      <a:pt x="19" y="84"/>
                    </a:lnTo>
                    <a:lnTo>
                      <a:pt x="14" y="138"/>
                    </a:lnTo>
                    <a:lnTo>
                      <a:pt x="14" y="164"/>
                    </a:lnTo>
                    <a:lnTo>
                      <a:pt x="19" y="185"/>
                    </a:lnTo>
                    <a:lnTo>
                      <a:pt x="5" y="228"/>
                    </a:lnTo>
                    <a:lnTo>
                      <a:pt x="9" y="259"/>
                    </a:lnTo>
                    <a:lnTo>
                      <a:pt x="28" y="275"/>
                    </a:lnTo>
                    <a:lnTo>
                      <a:pt x="56" y="253"/>
                    </a:lnTo>
                    <a:lnTo>
                      <a:pt x="66" y="248"/>
                    </a:lnTo>
                    <a:lnTo>
                      <a:pt x="94" y="253"/>
                    </a:lnTo>
                    <a:lnTo>
                      <a:pt x="113" y="232"/>
                    </a:lnTo>
                    <a:lnTo>
                      <a:pt x="113" y="211"/>
                    </a:lnTo>
                    <a:lnTo>
                      <a:pt x="136" y="169"/>
                    </a:lnTo>
                    <a:lnTo>
                      <a:pt x="145" y="142"/>
                    </a:lnTo>
                    <a:lnTo>
                      <a:pt x="136" y="117"/>
                    </a:lnTo>
                    <a:lnTo>
                      <a:pt x="150" y="84"/>
                    </a:lnTo>
                    <a:lnTo>
                      <a:pt x="141" y="37"/>
                    </a:lnTo>
                    <a:lnTo>
                      <a:pt x="136" y="10"/>
                    </a:lnTo>
                    <a:lnTo>
                      <a:pt x="89" y="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0" name="Freeform 199"/>
              <p:cNvSpPr>
                <a:spLocks noChangeAspect="1"/>
              </p:cNvSpPr>
              <p:nvPr/>
            </p:nvSpPr>
            <p:spPr bwMode="auto">
              <a:xfrm>
                <a:off x="2243388" y="4711486"/>
                <a:ext cx="184" cy="120"/>
              </a:xfrm>
              <a:custGeom>
                <a:avLst/>
                <a:gdLst>
                  <a:gd name="T0" fmla="*/ 260 w 274"/>
                  <a:gd name="T1" fmla="*/ 0 h 194"/>
                  <a:gd name="T2" fmla="*/ 274 w 274"/>
                  <a:gd name="T3" fmla="*/ 16 h 194"/>
                  <a:gd name="T4" fmla="*/ 265 w 274"/>
                  <a:gd name="T5" fmla="*/ 32 h 194"/>
                  <a:gd name="T6" fmla="*/ 255 w 274"/>
                  <a:gd name="T7" fmla="*/ 57 h 194"/>
                  <a:gd name="T8" fmla="*/ 241 w 274"/>
                  <a:gd name="T9" fmla="*/ 73 h 194"/>
                  <a:gd name="T10" fmla="*/ 246 w 274"/>
                  <a:gd name="T11" fmla="*/ 121 h 194"/>
                  <a:gd name="T12" fmla="*/ 255 w 274"/>
                  <a:gd name="T13" fmla="*/ 157 h 194"/>
                  <a:gd name="T14" fmla="*/ 231 w 274"/>
                  <a:gd name="T15" fmla="*/ 172 h 194"/>
                  <a:gd name="T16" fmla="*/ 227 w 274"/>
                  <a:gd name="T17" fmla="*/ 188 h 194"/>
                  <a:gd name="T18" fmla="*/ 208 w 274"/>
                  <a:gd name="T19" fmla="*/ 194 h 194"/>
                  <a:gd name="T20" fmla="*/ 180 w 274"/>
                  <a:gd name="T21" fmla="*/ 162 h 194"/>
                  <a:gd name="T22" fmla="*/ 161 w 274"/>
                  <a:gd name="T23" fmla="*/ 162 h 194"/>
                  <a:gd name="T24" fmla="*/ 146 w 274"/>
                  <a:gd name="T25" fmla="*/ 137 h 194"/>
                  <a:gd name="T26" fmla="*/ 118 w 274"/>
                  <a:gd name="T27" fmla="*/ 121 h 194"/>
                  <a:gd name="T28" fmla="*/ 99 w 274"/>
                  <a:gd name="T29" fmla="*/ 115 h 194"/>
                  <a:gd name="T30" fmla="*/ 80 w 274"/>
                  <a:gd name="T31" fmla="*/ 105 h 194"/>
                  <a:gd name="T32" fmla="*/ 61 w 274"/>
                  <a:gd name="T33" fmla="*/ 88 h 194"/>
                  <a:gd name="T34" fmla="*/ 28 w 274"/>
                  <a:gd name="T35" fmla="*/ 63 h 194"/>
                  <a:gd name="T36" fmla="*/ 14 w 274"/>
                  <a:gd name="T37" fmla="*/ 57 h 194"/>
                  <a:gd name="T38" fmla="*/ 0 w 274"/>
                  <a:gd name="T39" fmla="*/ 41 h 194"/>
                  <a:gd name="T40" fmla="*/ 0 w 274"/>
                  <a:gd name="T41" fmla="*/ 22 h 194"/>
                  <a:gd name="T42" fmla="*/ 5 w 274"/>
                  <a:gd name="T43" fmla="*/ 6 h 194"/>
                  <a:gd name="T44" fmla="*/ 33 w 274"/>
                  <a:gd name="T45" fmla="*/ 10 h 194"/>
                  <a:gd name="T46" fmla="*/ 76 w 274"/>
                  <a:gd name="T47" fmla="*/ 10 h 194"/>
                  <a:gd name="T48" fmla="*/ 85 w 274"/>
                  <a:gd name="T49" fmla="*/ 26 h 194"/>
                  <a:gd name="T50" fmla="*/ 132 w 274"/>
                  <a:gd name="T51" fmla="*/ 26 h 194"/>
                  <a:gd name="T52" fmla="*/ 165 w 274"/>
                  <a:gd name="T53" fmla="*/ 26 h 194"/>
                  <a:gd name="T54" fmla="*/ 208 w 274"/>
                  <a:gd name="T55" fmla="*/ 16 h 194"/>
                  <a:gd name="T56" fmla="*/ 260 w 274"/>
                  <a:gd name="T5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 h="194">
                    <a:moveTo>
                      <a:pt x="260" y="0"/>
                    </a:moveTo>
                    <a:lnTo>
                      <a:pt x="274" y="16"/>
                    </a:lnTo>
                    <a:lnTo>
                      <a:pt x="265" y="32"/>
                    </a:lnTo>
                    <a:lnTo>
                      <a:pt x="255" y="57"/>
                    </a:lnTo>
                    <a:lnTo>
                      <a:pt x="241" y="73"/>
                    </a:lnTo>
                    <a:lnTo>
                      <a:pt x="246" y="121"/>
                    </a:lnTo>
                    <a:lnTo>
                      <a:pt x="255" y="157"/>
                    </a:lnTo>
                    <a:lnTo>
                      <a:pt x="231" y="172"/>
                    </a:lnTo>
                    <a:lnTo>
                      <a:pt x="227" y="188"/>
                    </a:lnTo>
                    <a:lnTo>
                      <a:pt x="208" y="194"/>
                    </a:lnTo>
                    <a:lnTo>
                      <a:pt x="180" y="162"/>
                    </a:lnTo>
                    <a:lnTo>
                      <a:pt x="161" y="162"/>
                    </a:lnTo>
                    <a:lnTo>
                      <a:pt x="146" y="137"/>
                    </a:lnTo>
                    <a:lnTo>
                      <a:pt x="118" y="121"/>
                    </a:lnTo>
                    <a:lnTo>
                      <a:pt x="99" y="115"/>
                    </a:lnTo>
                    <a:lnTo>
                      <a:pt x="80" y="105"/>
                    </a:lnTo>
                    <a:lnTo>
                      <a:pt x="61" y="88"/>
                    </a:lnTo>
                    <a:lnTo>
                      <a:pt x="28" y="63"/>
                    </a:lnTo>
                    <a:lnTo>
                      <a:pt x="14" y="57"/>
                    </a:lnTo>
                    <a:lnTo>
                      <a:pt x="0" y="41"/>
                    </a:lnTo>
                    <a:lnTo>
                      <a:pt x="0" y="22"/>
                    </a:lnTo>
                    <a:lnTo>
                      <a:pt x="5" y="6"/>
                    </a:lnTo>
                    <a:lnTo>
                      <a:pt x="33" y="10"/>
                    </a:lnTo>
                    <a:lnTo>
                      <a:pt x="76" y="10"/>
                    </a:lnTo>
                    <a:lnTo>
                      <a:pt x="85" y="26"/>
                    </a:lnTo>
                    <a:lnTo>
                      <a:pt x="132" y="26"/>
                    </a:lnTo>
                    <a:lnTo>
                      <a:pt x="165" y="26"/>
                    </a:lnTo>
                    <a:lnTo>
                      <a:pt x="208" y="16"/>
                    </a:lnTo>
                    <a:lnTo>
                      <a:pt x="260" y="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201" name="Freeform 200"/>
              <p:cNvSpPr>
                <a:spLocks noChangeAspect="1"/>
              </p:cNvSpPr>
              <p:nvPr/>
            </p:nvSpPr>
            <p:spPr bwMode="auto">
              <a:xfrm>
                <a:off x="2243132" y="4710790"/>
                <a:ext cx="631" cy="730"/>
              </a:xfrm>
              <a:custGeom>
                <a:avLst/>
                <a:gdLst>
                  <a:gd name="T0" fmla="*/ 713 w 931"/>
                  <a:gd name="T1" fmla="*/ 1163 h 1179"/>
                  <a:gd name="T2" fmla="*/ 769 w 931"/>
                  <a:gd name="T3" fmla="*/ 1052 h 1179"/>
                  <a:gd name="T4" fmla="*/ 793 w 931"/>
                  <a:gd name="T5" fmla="*/ 1015 h 1179"/>
                  <a:gd name="T6" fmla="*/ 774 w 931"/>
                  <a:gd name="T7" fmla="*/ 963 h 1179"/>
                  <a:gd name="T8" fmla="*/ 751 w 931"/>
                  <a:gd name="T9" fmla="*/ 957 h 1179"/>
                  <a:gd name="T10" fmla="*/ 769 w 931"/>
                  <a:gd name="T11" fmla="*/ 916 h 1179"/>
                  <a:gd name="T12" fmla="*/ 798 w 931"/>
                  <a:gd name="T13" fmla="*/ 857 h 1179"/>
                  <a:gd name="T14" fmla="*/ 887 w 931"/>
                  <a:gd name="T15" fmla="*/ 926 h 1179"/>
                  <a:gd name="T16" fmla="*/ 924 w 931"/>
                  <a:gd name="T17" fmla="*/ 926 h 1179"/>
                  <a:gd name="T18" fmla="*/ 896 w 931"/>
                  <a:gd name="T19" fmla="*/ 846 h 1179"/>
                  <a:gd name="T20" fmla="*/ 868 w 931"/>
                  <a:gd name="T21" fmla="*/ 842 h 1179"/>
                  <a:gd name="T22" fmla="*/ 769 w 931"/>
                  <a:gd name="T23" fmla="*/ 752 h 1179"/>
                  <a:gd name="T24" fmla="*/ 708 w 931"/>
                  <a:gd name="T25" fmla="*/ 704 h 1179"/>
                  <a:gd name="T26" fmla="*/ 713 w 931"/>
                  <a:gd name="T27" fmla="*/ 672 h 1179"/>
                  <a:gd name="T28" fmla="*/ 620 w 931"/>
                  <a:gd name="T29" fmla="*/ 624 h 1179"/>
                  <a:gd name="T30" fmla="*/ 578 w 931"/>
                  <a:gd name="T31" fmla="*/ 583 h 1179"/>
                  <a:gd name="T32" fmla="*/ 479 w 931"/>
                  <a:gd name="T33" fmla="*/ 416 h 1179"/>
                  <a:gd name="T34" fmla="*/ 460 w 931"/>
                  <a:gd name="T35" fmla="*/ 284 h 1179"/>
                  <a:gd name="T36" fmla="*/ 432 w 931"/>
                  <a:gd name="T37" fmla="*/ 232 h 1179"/>
                  <a:gd name="T38" fmla="*/ 512 w 931"/>
                  <a:gd name="T39" fmla="*/ 190 h 1179"/>
                  <a:gd name="T40" fmla="*/ 549 w 931"/>
                  <a:gd name="T41" fmla="*/ 99 h 1179"/>
                  <a:gd name="T42" fmla="*/ 465 w 931"/>
                  <a:gd name="T43" fmla="*/ 58 h 1179"/>
                  <a:gd name="T44" fmla="*/ 451 w 931"/>
                  <a:gd name="T45" fmla="*/ 21 h 1179"/>
                  <a:gd name="T46" fmla="*/ 334 w 931"/>
                  <a:gd name="T47" fmla="*/ 5 h 1179"/>
                  <a:gd name="T48" fmla="*/ 278 w 931"/>
                  <a:gd name="T49" fmla="*/ 74 h 1179"/>
                  <a:gd name="T50" fmla="*/ 230 w 931"/>
                  <a:gd name="T51" fmla="*/ 68 h 1179"/>
                  <a:gd name="T52" fmla="*/ 169 w 931"/>
                  <a:gd name="T53" fmla="*/ 89 h 1179"/>
                  <a:gd name="T54" fmla="*/ 146 w 931"/>
                  <a:gd name="T55" fmla="*/ 42 h 1179"/>
                  <a:gd name="T56" fmla="*/ 113 w 931"/>
                  <a:gd name="T57" fmla="*/ 84 h 1179"/>
                  <a:gd name="T58" fmla="*/ 28 w 931"/>
                  <a:gd name="T59" fmla="*/ 121 h 1179"/>
                  <a:gd name="T60" fmla="*/ 9 w 931"/>
                  <a:gd name="T61" fmla="*/ 195 h 1179"/>
                  <a:gd name="T62" fmla="*/ 0 w 931"/>
                  <a:gd name="T63" fmla="*/ 268 h 1179"/>
                  <a:gd name="T64" fmla="*/ 38 w 931"/>
                  <a:gd name="T65" fmla="*/ 296 h 1179"/>
                  <a:gd name="T66" fmla="*/ 66 w 931"/>
                  <a:gd name="T67" fmla="*/ 354 h 1179"/>
                  <a:gd name="T68" fmla="*/ 155 w 931"/>
                  <a:gd name="T69" fmla="*/ 300 h 1179"/>
                  <a:gd name="T70" fmla="*/ 240 w 931"/>
                  <a:gd name="T71" fmla="*/ 385 h 1179"/>
                  <a:gd name="T72" fmla="*/ 278 w 931"/>
                  <a:gd name="T73" fmla="*/ 500 h 1179"/>
                  <a:gd name="T74" fmla="*/ 342 w 931"/>
                  <a:gd name="T75" fmla="*/ 563 h 1179"/>
                  <a:gd name="T76" fmla="*/ 427 w 931"/>
                  <a:gd name="T77" fmla="*/ 678 h 1179"/>
                  <a:gd name="T78" fmla="*/ 559 w 931"/>
                  <a:gd name="T79" fmla="*/ 788 h 1179"/>
                  <a:gd name="T80" fmla="*/ 601 w 931"/>
                  <a:gd name="T81" fmla="*/ 820 h 1179"/>
                  <a:gd name="T82" fmla="*/ 634 w 931"/>
                  <a:gd name="T83" fmla="*/ 894 h 1179"/>
                  <a:gd name="T84" fmla="*/ 686 w 931"/>
                  <a:gd name="T85" fmla="*/ 916 h 1179"/>
                  <a:gd name="T86" fmla="*/ 705 w 931"/>
                  <a:gd name="T87" fmla="*/ 1010 h 1179"/>
                  <a:gd name="T88" fmla="*/ 689 w 931"/>
                  <a:gd name="T89" fmla="*/ 1079 h 1179"/>
                  <a:gd name="T90" fmla="*/ 675 w 931"/>
                  <a:gd name="T91" fmla="*/ 1163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1" h="1179">
                    <a:moveTo>
                      <a:pt x="675" y="1163"/>
                    </a:moveTo>
                    <a:lnTo>
                      <a:pt x="689" y="1179"/>
                    </a:lnTo>
                    <a:lnTo>
                      <a:pt x="713" y="1163"/>
                    </a:lnTo>
                    <a:lnTo>
                      <a:pt x="741" y="1121"/>
                    </a:lnTo>
                    <a:lnTo>
                      <a:pt x="755" y="1058"/>
                    </a:lnTo>
                    <a:lnTo>
                      <a:pt x="769" y="1052"/>
                    </a:lnTo>
                    <a:lnTo>
                      <a:pt x="779" y="1062"/>
                    </a:lnTo>
                    <a:lnTo>
                      <a:pt x="798" y="1042"/>
                    </a:lnTo>
                    <a:lnTo>
                      <a:pt x="793" y="1015"/>
                    </a:lnTo>
                    <a:lnTo>
                      <a:pt x="802" y="994"/>
                    </a:lnTo>
                    <a:lnTo>
                      <a:pt x="798" y="984"/>
                    </a:lnTo>
                    <a:lnTo>
                      <a:pt x="774" y="963"/>
                    </a:lnTo>
                    <a:lnTo>
                      <a:pt x="765" y="963"/>
                    </a:lnTo>
                    <a:lnTo>
                      <a:pt x="769" y="951"/>
                    </a:lnTo>
                    <a:lnTo>
                      <a:pt x="751" y="957"/>
                    </a:lnTo>
                    <a:lnTo>
                      <a:pt x="741" y="947"/>
                    </a:lnTo>
                    <a:lnTo>
                      <a:pt x="741" y="936"/>
                    </a:lnTo>
                    <a:lnTo>
                      <a:pt x="769" y="916"/>
                    </a:lnTo>
                    <a:lnTo>
                      <a:pt x="783" y="894"/>
                    </a:lnTo>
                    <a:lnTo>
                      <a:pt x="783" y="862"/>
                    </a:lnTo>
                    <a:lnTo>
                      <a:pt x="798" y="857"/>
                    </a:lnTo>
                    <a:lnTo>
                      <a:pt x="845" y="883"/>
                    </a:lnTo>
                    <a:lnTo>
                      <a:pt x="863" y="889"/>
                    </a:lnTo>
                    <a:lnTo>
                      <a:pt x="887" y="926"/>
                    </a:lnTo>
                    <a:lnTo>
                      <a:pt x="896" y="947"/>
                    </a:lnTo>
                    <a:lnTo>
                      <a:pt x="910" y="947"/>
                    </a:lnTo>
                    <a:lnTo>
                      <a:pt x="924" y="926"/>
                    </a:lnTo>
                    <a:lnTo>
                      <a:pt x="931" y="904"/>
                    </a:lnTo>
                    <a:lnTo>
                      <a:pt x="915" y="867"/>
                    </a:lnTo>
                    <a:lnTo>
                      <a:pt x="896" y="846"/>
                    </a:lnTo>
                    <a:lnTo>
                      <a:pt x="878" y="846"/>
                    </a:lnTo>
                    <a:lnTo>
                      <a:pt x="878" y="842"/>
                    </a:lnTo>
                    <a:lnTo>
                      <a:pt x="868" y="842"/>
                    </a:lnTo>
                    <a:lnTo>
                      <a:pt x="821" y="788"/>
                    </a:lnTo>
                    <a:lnTo>
                      <a:pt x="798" y="793"/>
                    </a:lnTo>
                    <a:lnTo>
                      <a:pt x="769" y="752"/>
                    </a:lnTo>
                    <a:lnTo>
                      <a:pt x="751" y="746"/>
                    </a:lnTo>
                    <a:lnTo>
                      <a:pt x="722" y="715"/>
                    </a:lnTo>
                    <a:lnTo>
                      <a:pt x="708" y="704"/>
                    </a:lnTo>
                    <a:lnTo>
                      <a:pt x="719" y="694"/>
                    </a:lnTo>
                    <a:lnTo>
                      <a:pt x="732" y="688"/>
                    </a:lnTo>
                    <a:lnTo>
                      <a:pt x="713" y="672"/>
                    </a:lnTo>
                    <a:lnTo>
                      <a:pt x="689" y="682"/>
                    </a:lnTo>
                    <a:lnTo>
                      <a:pt x="672" y="672"/>
                    </a:lnTo>
                    <a:lnTo>
                      <a:pt x="620" y="624"/>
                    </a:lnTo>
                    <a:lnTo>
                      <a:pt x="615" y="604"/>
                    </a:lnTo>
                    <a:lnTo>
                      <a:pt x="596" y="598"/>
                    </a:lnTo>
                    <a:lnTo>
                      <a:pt x="578" y="583"/>
                    </a:lnTo>
                    <a:lnTo>
                      <a:pt x="530" y="469"/>
                    </a:lnTo>
                    <a:lnTo>
                      <a:pt x="516" y="453"/>
                    </a:lnTo>
                    <a:lnTo>
                      <a:pt x="479" y="416"/>
                    </a:lnTo>
                    <a:lnTo>
                      <a:pt x="436" y="342"/>
                    </a:lnTo>
                    <a:lnTo>
                      <a:pt x="436" y="300"/>
                    </a:lnTo>
                    <a:lnTo>
                      <a:pt x="460" y="284"/>
                    </a:lnTo>
                    <a:lnTo>
                      <a:pt x="460" y="263"/>
                    </a:lnTo>
                    <a:lnTo>
                      <a:pt x="441" y="243"/>
                    </a:lnTo>
                    <a:lnTo>
                      <a:pt x="432" y="232"/>
                    </a:lnTo>
                    <a:lnTo>
                      <a:pt x="436" y="216"/>
                    </a:lnTo>
                    <a:lnTo>
                      <a:pt x="455" y="206"/>
                    </a:lnTo>
                    <a:lnTo>
                      <a:pt x="512" y="190"/>
                    </a:lnTo>
                    <a:lnTo>
                      <a:pt x="535" y="173"/>
                    </a:lnTo>
                    <a:lnTo>
                      <a:pt x="554" y="153"/>
                    </a:lnTo>
                    <a:lnTo>
                      <a:pt x="549" y="99"/>
                    </a:lnTo>
                    <a:lnTo>
                      <a:pt x="554" y="79"/>
                    </a:lnTo>
                    <a:lnTo>
                      <a:pt x="526" y="74"/>
                    </a:lnTo>
                    <a:lnTo>
                      <a:pt x="465" y="58"/>
                    </a:lnTo>
                    <a:lnTo>
                      <a:pt x="455" y="42"/>
                    </a:lnTo>
                    <a:lnTo>
                      <a:pt x="451" y="37"/>
                    </a:lnTo>
                    <a:lnTo>
                      <a:pt x="451" y="21"/>
                    </a:lnTo>
                    <a:lnTo>
                      <a:pt x="446" y="5"/>
                    </a:lnTo>
                    <a:lnTo>
                      <a:pt x="413" y="0"/>
                    </a:lnTo>
                    <a:lnTo>
                      <a:pt x="334" y="5"/>
                    </a:lnTo>
                    <a:lnTo>
                      <a:pt x="325" y="27"/>
                    </a:lnTo>
                    <a:lnTo>
                      <a:pt x="296" y="31"/>
                    </a:lnTo>
                    <a:lnTo>
                      <a:pt x="278" y="74"/>
                    </a:lnTo>
                    <a:lnTo>
                      <a:pt x="278" y="89"/>
                    </a:lnTo>
                    <a:lnTo>
                      <a:pt x="259" y="74"/>
                    </a:lnTo>
                    <a:lnTo>
                      <a:pt x="230" y="68"/>
                    </a:lnTo>
                    <a:lnTo>
                      <a:pt x="212" y="79"/>
                    </a:lnTo>
                    <a:lnTo>
                      <a:pt x="198" y="111"/>
                    </a:lnTo>
                    <a:lnTo>
                      <a:pt x="169" y="89"/>
                    </a:lnTo>
                    <a:lnTo>
                      <a:pt x="174" y="58"/>
                    </a:lnTo>
                    <a:lnTo>
                      <a:pt x="165" y="37"/>
                    </a:lnTo>
                    <a:lnTo>
                      <a:pt x="146" y="42"/>
                    </a:lnTo>
                    <a:lnTo>
                      <a:pt x="141" y="68"/>
                    </a:lnTo>
                    <a:lnTo>
                      <a:pt x="127" y="84"/>
                    </a:lnTo>
                    <a:lnTo>
                      <a:pt x="113" y="84"/>
                    </a:lnTo>
                    <a:lnTo>
                      <a:pt x="47" y="74"/>
                    </a:lnTo>
                    <a:lnTo>
                      <a:pt x="25" y="95"/>
                    </a:lnTo>
                    <a:lnTo>
                      <a:pt x="28" y="121"/>
                    </a:lnTo>
                    <a:lnTo>
                      <a:pt x="33" y="142"/>
                    </a:lnTo>
                    <a:lnTo>
                      <a:pt x="0" y="173"/>
                    </a:lnTo>
                    <a:lnTo>
                      <a:pt x="9" y="195"/>
                    </a:lnTo>
                    <a:lnTo>
                      <a:pt x="19" y="206"/>
                    </a:lnTo>
                    <a:lnTo>
                      <a:pt x="0" y="232"/>
                    </a:lnTo>
                    <a:lnTo>
                      <a:pt x="0" y="268"/>
                    </a:lnTo>
                    <a:lnTo>
                      <a:pt x="9" y="284"/>
                    </a:lnTo>
                    <a:lnTo>
                      <a:pt x="28" y="284"/>
                    </a:lnTo>
                    <a:lnTo>
                      <a:pt x="38" y="296"/>
                    </a:lnTo>
                    <a:lnTo>
                      <a:pt x="47" y="321"/>
                    </a:lnTo>
                    <a:lnTo>
                      <a:pt x="47" y="348"/>
                    </a:lnTo>
                    <a:lnTo>
                      <a:pt x="66" y="354"/>
                    </a:lnTo>
                    <a:lnTo>
                      <a:pt x="80" y="348"/>
                    </a:lnTo>
                    <a:lnTo>
                      <a:pt x="132" y="290"/>
                    </a:lnTo>
                    <a:lnTo>
                      <a:pt x="155" y="300"/>
                    </a:lnTo>
                    <a:lnTo>
                      <a:pt x="202" y="327"/>
                    </a:lnTo>
                    <a:lnTo>
                      <a:pt x="235" y="354"/>
                    </a:lnTo>
                    <a:lnTo>
                      <a:pt x="240" y="385"/>
                    </a:lnTo>
                    <a:lnTo>
                      <a:pt x="259" y="406"/>
                    </a:lnTo>
                    <a:lnTo>
                      <a:pt x="268" y="443"/>
                    </a:lnTo>
                    <a:lnTo>
                      <a:pt x="278" y="500"/>
                    </a:lnTo>
                    <a:lnTo>
                      <a:pt x="292" y="527"/>
                    </a:lnTo>
                    <a:lnTo>
                      <a:pt x="309" y="549"/>
                    </a:lnTo>
                    <a:lnTo>
                      <a:pt x="342" y="563"/>
                    </a:lnTo>
                    <a:lnTo>
                      <a:pt x="372" y="614"/>
                    </a:lnTo>
                    <a:lnTo>
                      <a:pt x="399" y="657"/>
                    </a:lnTo>
                    <a:lnTo>
                      <a:pt x="427" y="678"/>
                    </a:lnTo>
                    <a:lnTo>
                      <a:pt x="479" y="746"/>
                    </a:lnTo>
                    <a:lnTo>
                      <a:pt x="516" y="746"/>
                    </a:lnTo>
                    <a:lnTo>
                      <a:pt x="559" y="788"/>
                    </a:lnTo>
                    <a:lnTo>
                      <a:pt x="559" y="830"/>
                    </a:lnTo>
                    <a:lnTo>
                      <a:pt x="573" y="842"/>
                    </a:lnTo>
                    <a:lnTo>
                      <a:pt x="601" y="820"/>
                    </a:lnTo>
                    <a:lnTo>
                      <a:pt x="606" y="842"/>
                    </a:lnTo>
                    <a:lnTo>
                      <a:pt x="606" y="867"/>
                    </a:lnTo>
                    <a:lnTo>
                      <a:pt x="634" y="894"/>
                    </a:lnTo>
                    <a:lnTo>
                      <a:pt x="643" y="910"/>
                    </a:lnTo>
                    <a:lnTo>
                      <a:pt x="681" y="899"/>
                    </a:lnTo>
                    <a:lnTo>
                      <a:pt x="686" y="916"/>
                    </a:lnTo>
                    <a:lnTo>
                      <a:pt x="681" y="951"/>
                    </a:lnTo>
                    <a:lnTo>
                      <a:pt x="700" y="984"/>
                    </a:lnTo>
                    <a:lnTo>
                      <a:pt x="705" y="1010"/>
                    </a:lnTo>
                    <a:lnTo>
                      <a:pt x="713" y="1037"/>
                    </a:lnTo>
                    <a:lnTo>
                      <a:pt x="708" y="1058"/>
                    </a:lnTo>
                    <a:lnTo>
                      <a:pt x="689" y="1079"/>
                    </a:lnTo>
                    <a:lnTo>
                      <a:pt x="686" y="1105"/>
                    </a:lnTo>
                    <a:lnTo>
                      <a:pt x="672" y="1136"/>
                    </a:lnTo>
                    <a:lnTo>
                      <a:pt x="675" y="1163"/>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grpSp>
          <p:nvGrpSpPr>
            <p:cNvPr id="161" name="GR"/>
            <p:cNvGrpSpPr>
              <a:grpSpLocks/>
            </p:cNvGrpSpPr>
            <p:nvPr/>
          </p:nvGrpSpPr>
          <p:grpSpPr bwMode="auto">
            <a:xfrm>
              <a:off x="4940576" y="5010683"/>
              <a:ext cx="528296" cy="489734"/>
              <a:chOff x="3816299" y="5517315"/>
              <a:chExt cx="501" cy="535"/>
            </a:xfrm>
            <a:solidFill>
              <a:srgbClr val="1F497D"/>
            </a:solidFill>
            <a:effectLst/>
          </p:grpSpPr>
          <p:sp>
            <p:nvSpPr>
              <p:cNvPr id="190" name="Freeform 189"/>
              <p:cNvSpPr>
                <a:spLocks noChangeAspect="1"/>
              </p:cNvSpPr>
              <p:nvPr/>
            </p:nvSpPr>
            <p:spPr bwMode="auto">
              <a:xfrm>
                <a:off x="3816585" y="5517458"/>
                <a:ext cx="26" cy="24"/>
              </a:xfrm>
              <a:custGeom>
                <a:avLst/>
                <a:gdLst>
                  <a:gd name="T0" fmla="*/ 38 w 38"/>
                  <a:gd name="T1" fmla="*/ 0 h 40"/>
                  <a:gd name="T2" fmla="*/ 14 w 38"/>
                  <a:gd name="T3" fmla="*/ 0 h 40"/>
                  <a:gd name="T4" fmla="*/ 2 w 38"/>
                  <a:gd name="T5" fmla="*/ 9 h 40"/>
                  <a:gd name="T6" fmla="*/ 0 w 38"/>
                  <a:gd name="T7" fmla="*/ 22 h 40"/>
                  <a:gd name="T8" fmla="*/ 0 w 38"/>
                  <a:gd name="T9" fmla="*/ 37 h 40"/>
                  <a:gd name="T10" fmla="*/ 11 w 38"/>
                  <a:gd name="T11" fmla="*/ 40 h 40"/>
                  <a:gd name="T12" fmla="*/ 33 w 38"/>
                  <a:gd name="T13" fmla="*/ 25 h 40"/>
                  <a:gd name="T14" fmla="*/ 38 w 38"/>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0">
                    <a:moveTo>
                      <a:pt x="38" y="0"/>
                    </a:moveTo>
                    <a:lnTo>
                      <a:pt x="14" y="0"/>
                    </a:lnTo>
                    <a:lnTo>
                      <a:pt x="2" y="9"/>
                    </a:lnTo>
                    <a:lnTo>
                      <a:pt x="0" y="22"/>
                    </a:lnTo>
                    <a:lnTo>
                      <a:pt x="0" y="37"/>
                    </a:lnTo>
                    <a:lnTo>
                      <a:pt x="11" y="40"/>
                    </a:lnTo>
                    <a:lnTo>
                      <a:pt x="33" y="25"/>
                    </a:lnTo>
                    <a:lnTo>
                      <a:pt x="38" y="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1" name="Freeform 190"/>
              <p:cNvSpPr>
                <a:spLocks noChangeAspect="1"/>
              </p:cNvSpPr>
              <p:nvPr/>
            </p:nvSpPr>
            <p:spPr bwMode="auto">
              <a:xfrm>
                <a:off x="3816633" y="5517499"/>
                <a:ext cx="45" cy="33"/>
              </a:xfrm>
              <a:custGeom>
                <a:avLst/>
                <a:gdLst>
                  <a:gd name="T0" fmla="*/ 35 w 66"/>
                  <a:gd name="T1" fmla="*/ 0 h 52"/>
                  <a:gd name="T2" fmla="*/ 66 w 66"/>
                  <a:gd name="T3" fmla="*/ 37 h 52"/>
                  <a:gd name="T4" fmla="*/ 60 w 66"/>
                  <a:gd name="T5" fmla="*/ 47 h 52"/>
                  <a:gd name="T6" fmla="*/ 44 w 66"/>
                  <a:gd name="T7" fmla="*/ 52 h 52"/>
                  <a:gd name="T8" fmla="*/ 41 w 66"/>
                  <a:gd name="T9" fmla="*/ 40 h 52"/>
                  <a:gd name="T10" fmla="*/ 35 w 66"/>
                  <a:gd name="T11" fmla="*/ 34 h 52"/>
                  <a:gd name="T12" fmla="*/ 25 w 66"/>
                  <a:gd name="T13" fmla="*/ 40 h 52"/>
                  <a:gd name="T14" fmla="*/ 14 w 66"/>
                  <a:gd name="T15" fmla="*/ 31 h 52"/>
                  <a:gd name="T16" fmla="*/ 9 w 66"/>
                  <a:gd name="T17" fmla="*/ 24 h 52"/>
                  <a:gd name="T18" fmla="*/ 16 w 66"/>
                  <a:gd name="T19" fmla="*/ 18 h 52"/>
                  <a:gd name="T20" fmla="*/ 2 w 66"/>
                  <a:gd name="T21" fmla="*/ 27 h 52"/>
                  <a:gd name="T22" fmla="*/ 0 w 66"/>
                  <a:gd name="T23" fmla="*/ 18 h 52"/>
                  <a:gd name="T24" fmla="*/ 19 w 66"/>
                  <a:gd name="T25" fmla="*/ 10 h 52"/>
                  <a:gd name="T26" fmla="*/ 35 w 66"/>
                  <a:gd name="T2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52">
                    <a:moveTo>
                      <a:pt x="35" y="0"/>
                    </a:moveTo>
                    <a:lnTo>
                      <a:pt x="66" y="37"/>
                    </a:lnTo>
                    <a:lnTo>
                      <a:pt x="60" y="47"/>
                    </a:lnTo>
                    <a:lnTo>
                      <a:pt x="44" y="52"/>
                    </a:lnTo>
                    <a:lnTo>
                      <a:pt x="41" y="40"/>
                    </a:lnTo>
                    <a:lnTo>
                      <a:pt x="35" y="34"/>
                    </a:lnTo>
                    <a:lnTo>
                      <a:pt x="25" y="40"/>
                    </a:lnTo>
                    <a:lnTo>
                      <a:pt x="14" y="31"/>
                    </a:lnTo>
                    <a:lnTo>
                      <a:pt x="9" y="24"/>
                    </a:lnTo>
                    <a:lnTo>
                      <a:pt x="16" y="18"/>
                    </a:lnTo>
                    <a:lnTo>
                      <a:pt x="2" y="27"/>
                    </a:lnTo>
                    <a:lnTo>
                      <a:pt x="0" y="18"/>
                    </a:lnTo>
                    <a:lnTo>
                      <a:pt x="19" y="10"/>
                    </a:lnTo>
                    <a:lnTo>
                      <a:pt x="35" y="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2" name="Freeform 191"/>
              <p:cNvSpPr>
                <a:spLocks noChangeAspect="1"/>
              </p:cNvSpPr>
              <p:nvPr/>
            </p:nvSpPr>
            <p:spPr bwMode="auto">
              <a:xfrm>
                <a:off x="3816309" y="5517596"/>
                <a:ext cx="21" cy="22"/>
              </a:xfrm>
              <a:custGeom>
                <a:avLst/>
                <a:gdLst>
                  <a:gd name="T0" fmla="*/ 22 w 30"/>
                  <a:gd name="T1" fmla="*/ 0 h 36"/>
                  <a:gd name="T2" fmla="*/ 30 w 30"/>
                  <a:gd name="T3" fmla="*/ 10 h 36"/>
                  <a:gd name="T4" fmla="*/ 27 w 30"/>
                  <a:gd name="T5" fmla="*/ 23 h 36"/>
                  <a:gd name="T6" fmla="*/ 30 w 30"/>
                  <a:gd name="T7" fmla="*/ 33 h 36"/>
                  <a:gd name="T8" fmla="*/ 22 w 30"/>
                  <a:gd name="T9" fmla="*/ 36 h 36"/>
                  <a:gd name="T10" fmla="*/ 8 w 30"/>
                  <a:gd name="T11" fmla="*/ 33 h 36"/>
                  <a:gd name="T12" fmla="*/ 0 w 30"/>
                  <a:gd name="T13" fmla="*/ 20 h 36"/>
                  <a:gd name="T14" fmla="*/ 22 w 30"/>
                  <a:gd name="T15" fmla="*/ 0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6">
                    <a:moveTo>
                      <a:pt x="22" y="0"/>
                    </a:moveTo>
                    <a:lnTo>
                      <a:pt x="30" y="10"/>
                    </a:lnTo>
                    <a:lnTo>
                      <a:pt x="27" y="23"/>
                    </a:lnTo>
                    <a:lnTo>
                      <a:pt x="30" y="33"/>
                    </a:lnTo>
                    <a:lnTo>
                      <a:pt x="22" y="36"/>
                    </a:lnTo>
                    <a:lnTo>
                      <a:pt x="8" y="33"/>
                    </a:lnTo>
                    <a:lnTo>
                      <a:pt x="0" y="20"/>
                    </a:lnTo>
                    <a:lnTo>
                      <a:pt x="22" y="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3" name="Freeform 192"/>
              <p:cNvSpPr>
                <a:spLocks noChangeAspect="1"/>
              </p:cNvSpPr>
              <p:nvPr/>
            </p:nvSpPr>
            <p:spPr bwMode="auto">
              <a:xfrm>
                <a:off x="3816484" y="5517548"/>
                <a:ext cx="91" cy="76"/>
              </a:xfrm>
              <a:custGeom>
                <a:avLst/>
                <a:gdLst>
                  <a:gd name="T0" fmla="*/ 11 w 134"/>
                  <a:gd name="T1" fmla="*/ 0 h 124"/>
                  <a:gd name="T2" fmla="*/ 0 w 134"/>
                  <a:gd name="T3" fmla="*/ 10 h 124"/>
                  <a:gd name="T4" fmla="*/ 14 w 134"/>
                  <a:gd name="T5" fmla="*/ 37 h 124"/>
                  <a:gd name="T6" fmla="*/ 30 w 134"/>
                  <a:gd name="T7" fmla="*/ 43 h 124"/>
                  <a:gd name="T8" fmla="*/ 49 w 134"/>
                  <a:gd name="T9" fmla="*/ 65 h 124"/>
                  <a:gd name="T10" fmla="*/ 66 w 134"/>
                  <a:gd name="T11" fmla="*/ 77 h 124"/>
                  <a:gd name="T12" fmla="*/ 93 w 134"/>
                  <a:gd name="T13" fmla="*/ 100 h 124"/>
                  <a:gd name="T14" fmla="*/ 109 w 134"/>
                  <a:gd name="T15" fmla="*/ 108 h 124"/>
                  <a:gd name="T16" fmla="*/ 129 w 134"/>
                  <a:gd name="T17" fmla="*/ 124 h 124"/>
                  <a:gd name="T18" fmla="*/ 134 w 134"/>
                  <a:gd name="T19" fmla="*/ 115 h 124"/>
                  <a:gd name="T20" fmla="*/ 93 w 134"/>
                  <a:gd name="T21" fmla="*/ 80 h 124"/>
                  <a:gd name="T22" fmla="*/ 90 w 134"/>
                  <a:gd name="T23" fmla="*/ 63 h 124"/>
                  <a:gd name="T24" fmla="*/ 85 w 134"/>
                  <a:gd name="T25" fmla="*/ 47 h 124"/>
                  <a:gd name="T26" fmla="*/ 68 w 134"/>
                  <a:gd name="T27" fmla="*/ 28 h 124"/>
                  <a:gd name="T28" fmla="*/ 63 w 134"/>
                  <a:gd name="T29" fmla="*/ 31 h 124"/>
                  <a:gd name="T30" fmla="*/ 41 w 134"/>
                  <a:gd name="T31" fmla="*/ 13 h 124"/>
                  <a:gd name="T32" fmla="*/ 28 w 134"/>
                  <a:gd name="T33" fmla="*/ 6 h 124"/>
                  <a:gd name="T34" fmla="*/ 11 w 134"/>
                  <a:gd name="T3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24">
                    <a:moveTo>
                      <a:pt x="11" y="0"/>
                    </a:moveTo>
                    <a:lnTo>
                      <a:pt x="0" y="10"/>
                    </a:lnTo>
                    <a:lnTo>
                      <a:pt x="14" y="37"/>
                    </a:lnTo>
                    <a:lnTo>
                      <a:pt x="30" y="43"/>
                    </a:lnTo>
                    <a:lnTo>
                      <a:pt x="49" y="65"/>
                    </a:lnTo>
                    <a:lnTo>
                      <a:pt x="66" y="77"/>
                    </a:lnTo>
                    <a:lnTo>
                      <a:pt x="93" y="100"/>
                    </a:lnTo>
                    <a:lnTo>
                      <a:pt x="109" y="108"/>
                    </a:lnTo>
                    <a:lnTo>
                      <a:pt x="129" y="124"/>
                    </a:lnTo>
                    <a:lnTo>
                      <a:pt x="134" y="115"/>
                    </a:lnTo>
                    <a:lnTo>
                      <a:pt x="93" y="80"/>
                    </a:lnTo>
                    <a:lnTo>
                      <a:pt x="90" y="63"/>
                    </a:lnTo>
                    <a:lnTo>
                      <a:pt x="85" y="47"/>
                    </a:lnTo>
                    <a:lnTo>
                      <a:pt x="68" y="28"/>
                    </a:lnTo>
                    <a:lnTo>
                      <a:pt x="63" y="31"/>
                    </a:lnTo>
                    <a:lnTo>
                      <a:pt x="41" y="13"/>
                    </a:lnTo>
                    <a:lnTo>
                      <a:pt x="28" y="6"/>
                    </a:lnTo>
                    <a:lnTo>
                      <a:pt x="11" y="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4" name="Freeform 193"/>
              <p:cNvSpPr>
                <a:spLocks noChangeAspect="1"/>
              </p:cNvSpPr>
              <p:nvPr/>
            </p:nvSpPr>
            <p:spPr bwMode="auto">
              <a:xfrm>
                <a:off x="3816760" y="5517688"/>
                <a:ext cx="36" cy="20"/>
              </a:xfrm>
              <a:custGeom>
                <a:avLst/>
                <a:gdLst>
                  <a:gd name="T0" fmla="*/ 52 w 52"/>
                  <a:gd name="T1" fmla="*/ 8 h 31"/>
                  <a:gd name="T2" fmla="*/ 28 w 52"/>
                  <a:gd name="T3" fmla="*/ 31 h 31"/>
                  <a:gd name="T4" fmla="*/ 12 w 52"/>
                  <a:gd name="T5" fmla="*/ 31 h 31"/>
                  <a:gd name="T6" fmla="*/ 0 w 52"/>
                  <a:gd name="T7" fmla="*/ 21 h 31"/>
                  <a:gd name="T8" fmla="*/ 8 w 52"/>
                  <a:gd name="T9" fmla="*/ 2 h 31"/>
                  <a:gd name="T10" fmla="*/ 33 w 52"/>
                  <a:gd name="T11" fmla="*/ 0 h 31"/>
                  <a:gd name="T12" fmla="*/ 52 w 52"/>
                  <a:gd name="T13" fmla="*/ 8 h 31"/>
                </a:gdLst>
                <a:ahLst/>
                <a:cxnLst>
                  <a:cxn ang="0">
                    <a:pos x="T0" y="T1"/>
                  </a:cxn>
                  <a:cxn ang="0">
                    <a:pos x="T2" y="T3"/>
                  </a:cxn>
                  <a:cxn ang="0">
                    <a:pos x="T4" y="T5"/>
                  </a:cxn>
                  <a:cxn ang="0">
                    <a:pos x="T6" y="T7"/>
                  </a:cxn>
                  <a:cxn ang="0">
                    <a:pos x="T8" y="T9"/>
                  </a:cxn>
                  <a:cxn ang="0">
                    <a:pos x="T10" y="T11"/>
                  </a:cxn>
                  <a:cxn ang="0">
                    <a:pos x="T12" y="T13"/>
                  </a:cxn>
                </a:cxnLst>
                <a:rect l="0" t="0" r="r" b="b"/>
                <a:pathLst>
                  <a:path w="52" h="31">
                    <a:moveTo>
                      <a:pt x="52" y="8"/>
                    </a:moveTo>
                    <a:lnTo>
                      <a:pt x="28" y="31"/>
                    </a:lnTo>
                    <a:lnTo>
                      <a:pt x="12" y="31"/>
                    </a:lnTo>
                    <a:lnTo>
                      <a:pt x="0" y="21"/>
                    </a:lnTo>
                    <a:lnTo>
                      <a:pt x="8" y="2"/>
                    </a:lnTo>
                    <a:lnTo>
                      <a:pt x="33" y="0"/>
                    </a:lnTo>
                    <a:lnTo>
                      <a:pt x="52" y="8"/>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5" name="Freeform 194"/>
              <p:cNvSpPr>
                <a:spLocks noChangeAspect="1"/>
              </p:cNvSpPr>
              <p:nvPr/>
            </p:nvSpPr>
            <p:spPr bwMode="auto">
              <a:xfrm>
                <a:off x="3816767" y="5517732"/>
                <a:ext cx="33" cy="30"/>
              </a:xfrm>
              <a:custGeom>
                <a:avLst/>
                <a:gdLst>
                  <a:gd name="T0" fmla="*/ 53 w 53"/>
                  <a:gd name="T1" fmla="*/ 0 h 47"/>
                  <a:gd name="T2" fmla="*/ 53 w 53"/>
                  <a:gd name="T3" fmla="*/ 15 h 47"/>
                  <a:gd name="T4" fmla="*/ 20 w 53"/>
                  <a:gd name="T5" fmla="*/ 40 h 47"/>
                  <a:gd name="T6" fmla="*/ 6 w 53"/>
                  <a:gd name="T7" fmla="*/ 47 h 47"/>
                  <a:gd name="T8" fmla="*/ 0 w 53"/>
                  <a:gd name="T9" fmla="*/ 44 h 47"/>
                  <a:gd name="T10" fmla="*/ 5 w 53"/>
                  <a:gd name="T11" fmla="*/ 27 h 47"/>
                  <a:gd name="T12" fmla="*/ 28 w 53"/>
                  <a:gd name="T13" fmla="*/ 8 h 47"/>
                  <a:gd name="T14" fmla="*/ 53 w 53"/>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7">
                    <a:moveTo>
                      <a:pt x="53" y="0"/>
                    </a:moveTo>
                    <a:lnTo>
                      <a:pt x="53" y="15"/>
                    </a:lnTo>
                    <a:lnTo>
                      <a:pt x="20" y="40"/>
                    </a:lnTo>
                    <a:lnTo>
                      <a:pt x="6" y="47"/>
                    </a:lnTo>
                    <a:lnTo>
                      <a:pt x="0" y="44"/>
                    </a:lnTo>
                    <a:lnTo>
                      <a:pt x="5" y="27"/>
                    </a:lnTo>
                    <a:lnTo>
                      <a:pt x="28" y="8"/>
                    </a:lnTo>
                    <a:lnTo>
                      <a:pt x="53" y="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6" name="Freeform 195"/>
              <p:cNvSpPr>
                <a:spLocks noChangeAspect="1"/>
              </p:cNvSpPr>
              <p:nvPr/>
            </p:nvSpPr>
            <p:spPr bwMode="auto">
              <a:xfrm>
                <a:off x="3816352" y="5517605"/>
                <a:ext cx="158" cy="142"/>
              </a:xfrm>
              <a:custGeom>
                <a:avLst/>
                <a:gdLst>
                  <a:gd name="T0" fmla="*/ 33 w 233"/>
                  <a:gd name="T1" fmla="*/ 10 h 231"/>
                  <a:gd name="T2" fmla="*/ 21 w 233"/>
                  <a:gd name="T3" fmla="*/ 16 h 231"/>
                  <a:gd name="T4" fmla="*/ 25 w 233"/>
                  <a:gd name="T5" fmla="*/ 29 h 231"/>
                  <a:gd name="T6" fmla="*/ 14 w 233"/>
                  <a:gd name="T7" fmla="*/ 45 h 231"/>
                  <a:gd name="T8" fmla="*/ 5 w 233"/>
                  <a:gd name="T9" fmla="*/ 43 h 231"/>
                  <a:gd name="T10" fmla="*/ 0 w 233"/>
                  <a:gd name="T11" fmla="*/ 50 h 231"/>
                  <a:gd name="T12" fmla="*/ 2 w 233"/>
                  <a:gd name="T13" fmla="*/ 66 h 231"/>
                  <a:gd name="T14" fmla="*/ 40 w 233"/>
                  <a:gd name="T15" fmla="*/ 82 h 231"/>
                  <a:gd name="T16" fmla="*/ 49 w 233"/>
                  <a:gd name="T17" fmla="*/ 117 h 231"/>
                  <a:gd name="T18" fmla="*/ 60 w 233"/>
                  <a:gd name="T19" fmla="*/ 161 h 231"/>
                  <a:gd name="T20" fmla="*/ 74 w 233"/>
                  <a:gd name="T21" fmla="*/ 185 h 231"/>
                  <a:gd name="T22" fmla="*/ 91 w 233"/>
                  <a:gd name="T23" fmla="*/ 170 h 231"/>
                  <a:gd name="T24" fmla="*/ 112 w 233"/>
                  <a:gd name="T25" fmla="*/ 201 h 231"/>
                  <a:gd name="T26" fmla="*/ 134 w 233"/>
                  <a:gd name="T27" fmla="*/ 231 h 231"/>
                  <a:gd name="T28" fmla="*/ 143 w 233"/>
                  <a:gd name="T29" fmla="*/ 208 h 231"/>
                  <a:gd name="T30" fmla="*/ 136 w 233"/>
                  <a:gd name="T31" fmla="*/ 192 h 231"/>
                  <a:gd name="T32" fmla="*/ 145 w 233"/>
                  <a:gd name="T33" fmla="*/ 185 h 231"/>
                  <a:gd name="T34" fmla="*/ 178 w 233"/>
                  <a:gd name="T35" fmla="*/ 214 h 231"/>
                  <a:gd name="T36" fmla="*/ 188 w 233"/>
                  <a:gd name="T37" fmla="*/ 205 h 231"/>
                  <a:gd name="T38" fmla="*/ 191 w 233"/>
                  <a:gd name="T39" fmla="*/ 195 h 231"/>
                  <a:gd name="T40" fmla="*/ 174 w 233"/>
                  <a:gd name="T41" fmla="*/ 158 h 231"/>
                  <a:gd name="T42" fmla="*/ 174 w 233"/>
                  <a:gd name="T43" fmla="*/ 151 h 231"/>
                  <a:gd name="T44" fmla="*/ 159 w 233"/>
                  <a:gd name="T45" fmla="*/ 121 h 231"/>
                  <a:gd name="T46" fmla="*/ 153 w 233"/>
                  <a:gd name="T47" fmla="*/ 100 h 231"/>
                  <a:gd name="T48" fmla="*/ 159 w 233"/>
                  <a:gd name="T49" fmla="*/ 99 h 231"/>
                  <a:gd name="T50" fmla="*/ 178 w 233"/>
                  <a:gd name="T51" fmla="*/ 103 h 231"/>
                  <a:gd name="T52" fmla="*/ 200 w 233"/>
                  <a:gd name="T53" fmla="*/ 124 h 231"/>
                  <a:gd name="T54" fmla="*/ 211 w 233"/>
                  <a:gd name="T55" fmla="*/ 109 h 231"/>
                  <a:gd name="T56" fmla="*/ 230 w 233"/>
                  <a:gd name="T57" fmla="*/ 111 h 231"/>
                  <a:gd name="T58" fmla="*/ 233 w 233"/>
                  <a:gd name="T59" fmla="*/ 106 h 231"/>
                  <a:gd name="T60" fmla="*/ 209 w 233"/>
                  <a:gd name="T61" fmla="*/ 72 h 231"/>
                  <a:gd name="T62" fmla="*/ 191 w 233"/>
                  <a:gd name="T63" fmla="*/ 74 h 231"/>
                  <a:gd name="T64" fmla="*/ 186 w 233"/>
                  <a:gd name="T65" fmla="*/ 63 h 231"/>
                  <a:gd name="T66" fmla="*/ 174 w 233"/>
                  <a:gd name="T67" fmla="*/ 37 h 231"/>
                  <a:gd name="T68" fmla="*/ 164 w 233"/>
                  <a:gd name="T69" fmla="*/ 47 h 231"/>
                  <a:gd name="T70" fmla="*/ 141 w 233"/>
                  <a:gd name="T71" fmla="*/ 37 h 231"/>
                  <a:gd name="T72" fmla="*/ 126 w 233"/>
                  <a:gd name="T73" fmla="*/ 10 h 231"/>
                  <a:gd name="T74" fmla="*/ 98 w 233"/>
                  <a:gd name="T75" fmla="*/ 13 h 231"/>
                  <a:gd name="T76" fmla="*/ 77 w 233"/>
                  <a:gd name="T77" fmla="*/ 16 h 231"/>
                  <a:gd name="T78" fmla="*/ 63 w 233"/>
                  <a:gd name="T79" fmla="*/ 0 h 231"/>
                  <a:gd name="T80" fmla="*/ 52 w 233"/>
                  <a:gd name="T81" fmla="*/ 9 h 231"/>
                  <a:gd name="T82" fmla="*/ 33 w 233"/>
                  <a:gd name="T83" fmla="*/ 1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3" h="231">
                    <a:moveTo>
                      <a:pt x="33" y="10"/>
                    </a:moveTo>
                    <a:lnTo>
                      <a:pt x="21" y="16"/>
                    </a:lnTo>
                    <a:lnTo>
                      <a:pt x="25" y="29"/>
                    </a:lnTo>
                    <a:lnTo>
                      <a:pt x="14" y="45"/>
                    </a:lnTo>
                    <a:lnTo>
                      <a:pt x="5" y="43"/>
                    </a:lnTo>
                    <a:lnTo>
                      <a:pt x="0" y="50"/>
                    </a:lnTo>
                    <a:lnTo>
                      <a:pt x="2" y="66"/>
                    </a:lnTo>
                    <a:lnTo>
                      <a:pt x="40" y="82"/>
                    </a:lnTo>
                    <a:lnTo>
                      <a:pt x="49" y="117"/>
                    </a:lnTo>
                    <a:lnTo>
                      <a:pt x="60" y="161"/>
                    </a:lnTo>
                    <a:lnTo>
                      <a:pt x="74" y="185"/>
                    </a:lnTo>
                    <a:lnTo>
                      <a:pt x="91" y="170"/>
                    </a:lnTo>
                    <a:lnTo>
                      <a:pt x="112" y="201"/>
                    </a:lnTo>
                    <a:lnTo>
                      <a:pt x="134" y="231"/>
                    </a:lnTo>
                    <a:lnTo>
                      <a:pt x="143" y="208"/>
                    </a:lnTo>
                    <a:lnTo>
                      <a:pt x="136" y="192"/>
                    </a:lnTo>
                    <a:lnTo>
                      <a:pt x="145" y="185"/>
                    </a:lnTo>
                    <a:lnTo>
                      <a:pt x="178" y="214"/>
                    </a:lnTo>
                    <a:lnTo>
                      <a:pt x="188" y="205"/>
                    </a:lnTo>
                    <a:lnTo>
                      <a:pt x="191" y="195"/>
                    </a:lnTo>
                    <a:lnTo>
                      <a:pt x="174" y="158"/>
                    </a:lnTo>
                    <a:lnTo>
                      <a:pt x="174" y="151"/>
                    </a:lnTo>
                    <a:lnTo>
                      <a:pt x="159" y="121"/>
                    </a:lnTo>
                    <a:lnTo>
                      <a:pt x="153" y="100"/>
                    </a:lnTo>
                    <a:lnTo>
                      <a:pt x="159" y="99"/>
                    </a:lnTo>
                    <a:lnTo>
                      <a:pt x="178" y="103"/>
                    </a:lnTo>
                    <a:lnTo>
                      <a:pt x="200" y="124"/>
                    </a:lnTo>
                    <a:lnTo>
                      <a:pt x="211" y="109"/>
                    </a:lnTo>
                    <a:lnTo>
                      <a:pt x="230" y="111"/>
                    </a:lnTo>
                    <a:lnTo>
                      <a:pt x="233" y="106"/>
                    </a:lnTo>
                    <a:lnTo>
                      <a:pt x="209" y="72"/>
                    </a:lnTo>
                    <a:lnTo>
                      <a:pt x="191" y="74"/>
                    </a:lnTo>
                    <a:lnTo>
                      <a:pt x="186" y="63"/>
                    </a:lnTo>
                    <a:lnTo>
                      <a:pt x="174" y="37"/>
                    </a:lnTo>
                    <a:lnTo>
                      <a:pt x="164" y="47"/>
                    </a:lnTo>
                    <a:lnTo>
                      <a:pt x="141" y="37"/>
                    </a:lnTo>
                    <a:lnTo>
                      <a:pt x="126" y="10"/>
                    </a:lnTo>
                    <a:lnTo>
                      <a:pt x="98" y="13"/>
                    </a:lnTo>
                    <a:lnTo>
                      <a:pt x="77" y="16"/>
                    </a:lnTo>
                    <a:lnTo>
                      <a:pt x="63" y="0"/>
                    </a:lnTo>
                    <a:lnTo>
                      <a:pt x="52" y="9"/>
                    </a:lnTo>
                    <a:lnTo>
                      <a:pt x="33" y="10"/>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7" name="Freeform 196"/>
              <p:cNvSpPr>
                <a:spLocks noChangeAspect="1"/>
              </p:cNvSpPr>
              <p:nvPr/>
            </p:nvSpPr>
            <p:spPr bwMode="auto">
              <a:xfrm>
                <a:off x="3816299" y="5517315"/>
                <a:ext cx="370" cy="338"/>
              </a:xfrm>
              <a:custGeom>
                <a:avLst/>
                <a:gdLst>
                  <a:gd name="T0" fmla="*/ 99 w 543"/>
                  <a:gd name="T1" fmla="*/ 145 h 549"/>
                  <a:gd name="T2" fmla="*/ 70 w 543"/>
                  <a:gd name="T3" fmla="*/ 238 h 549"/>
                  <a:gd name="T4" fmla="*/ 56 w 543"/>
                  <a:gd name="T5" fmla="*/ 259 h 549"/>
                  <a:gd name="T6" fmla="*/ 30 w 543"/>
                  <a:gd name="T7" fmla="*/ 285 h 549"/>
                  <a:gd name="T8" fmla="*/ 0 w 543"/>
                  <a:gd name="T9" fmla="*/ 290 h 549"/>
                  <a:gd name="T10" fmla="*/ 39 w 543"/>
                  <a:gd name="T11" fmla="*/ 370 h 549"/>
                  <a:gd name="T12" fmla="*/ 72 w 543"/>
                  <a:gd name="T13" fmla="*/ 370 h 549"/>
                  <a:gd name="T14" fmla="*/ 61 w 543"/>
                  <a:gd name="T15" fmla="*/ 395 h 549"/>
                  <a:gd name="T16" fmla="*/ 72 w 543"/>
                  <a:gd name="T17" fmla="*/ 438 h 549"/>
                  <a:gd name="T18" fmla="*/ 96 w 543"/>
                  <a:gd name="T19" fmla="*/ 469 h 549"/>
                  <a:gd name="T20" fmla="*/ 115 w 543"/>
                  <a:gd name="T21" fmla="*/ 451 h 549"/>
                  <a:gd name="T22" fmla="*/ 136 w 543"/>
                  <a:gd name="T23" fmla="*/ 454 h 549"/>
                  <a:gd name="T24" fmla="*/ 201 w 543"/>
                  <a:gd name="T25" fmla="*/ 462 h 549"/>
                  <a:gd name="T26" fmla="*/ 241 w 543"/>
                  <a:gd name="T27" fmla="*/ 485 h 549"/>
                  <a:gd name="T28" fmla="*/ 262 w 543"/>
                  <a:gd name="T29" fmla="*/ 515 h 549"/>
                  <a:gd name="T30" fmla="*/ 290 w 543"/>
                  <a:gd name="T31" fmla="*/ 502 h 549"/>
                  <a:gd name="T32" fmla="*/ 342 w 543"/>
                  <a:gd name="T33" fmla="*/ 549 h 549"/>
                  <a:gd name="T34" fmla="*/ 351 w 543"/>
                  <a:gd name="T35" fmla="*/ 522 h 549"/>
                  <a:gd name="T36" fmla="*/ 350 w 543"/>
                  <a:gd name="T37" fmla="*/ 478 h 549"/>
                  <a:gd name="T38" fmla="*/ 328 w 543"/>
                  <a:gd name="T39" fmla="*/ 459 h 549"/>
                  <a:gd name="T40" fmla="*/ 272 w 543"/>
                  <a:gd name="T41" fmla="*/ 420 h 549"/>
                  <a:gd name="T42" fmla="*/ 239 w 543"/>
                  <a:gd name="T43" fmla="*/ 407 h 549"/>
                  <a:gd name="T44" fmla="*/ 227 w 543"/>
                  <a:gd name="T45" fmla="*/ 388 h 549"/>
                  <a:gd name="T46" fmla="*/ 246 w 543"/>
                  <a:gd name="T47" fmla="*/ 367 h 549"/>
                  <a:gd name="T48" fmla="*/ 232 w 543"/>
                  <a:gd name="T49" fmla="*/ 336 h 549"/>
                  <a:gd name="T50" fmla="*/ 256 w 543"/>
                  <a:gd name="T51" fmla="*/ 349 h 549"/>
                  <a:gd name="T52" fmla="*/ 272 w 543"/>
                  <a:gd name="T53" fmla="*/ 339 h 549"/>
                  <a:gd name="T54" fmla="*/ 241 w 543"/>
                  <a:gd name="T55" fmla="*/ 287 h 549"/>
                  <a:gd name="T56" fmla="*/ 215 w 543"/>
                  <a:gd name="T57" fmla="*/ 228 h 549"/>
                  <a:gd name="T58" fmla="*/ 209 w 543"/>
                  <a:gd name="T59" fmla="*/ 191 h 549"/>
                  <a:gd name="T60" fmla="*/ 223 w 543"/>
                  <a:gd name="T61" fmla="*/ 166 h 549"/>
                  <a:gd name="T62" fmla="*/ 234 w 543"/>
                  <a:gd name="T63" fmla="*/ 198 h 549"/>
                  <a:gd name="T64" fmla="*/ 241 w 543"/>
                  <a:gd name="T65" fmla="*/ 209 h 549"/>
                  <a:gd name="T66" fmla="*/ 288 w 543"/>
                  <a:gd name="T67" fmla="*/ 250 h 549"/>
                  <a:gd name="T68" fmla="*/ 293 w 543"/>
                  <a:gd name="T69" fmla="*/ 222 h 549"/>
                  <a:gd name="T70" fmla="*/ 326 w 543"/>
                  <a:gd name="T71" fmla="*/ 250 h 549"/>
                  <a:gd name="T72" fmla="*/ 312 w 543"/>
                  <a:gd name="T73" fmla="*/ 216 h 549"/>
                  <a:gd name="T74" fmla="*/ 326 w 543"/>
                  <a:gd name="T75" fmla="*/ 201 h 549"/>
                  <a:gd name="T76" fmla="*/ 364 w 543"/>
                  <a:gd name="T77" fmla="*/ 211 h 549"/>
                  <a:gd name="T78" fmla="*/ 347 w 543"/>
                  <a:gd name="T79" fmla="*/ 185 h 549"/>
                  <a:gd name="T80" fmla="*/ 312 w 543"/>
                  <a:gd name="T81" fmla="*/ 161 h 549"/>
                  <a:gd name="T82" fmla="*/ 314 w 543"/>
                  <a:gd name="T83" fmla="*/ 139 h 549"/>
                  <a:gd name="T84" fmla="*/ 377 w 543"/>
                  <a:gd name="T85" fmla="*/ 124 h 549"/>
                  <a:gd name="T86" fmla="*/ 442 w 543"/>
                  <a:gd name="T87" fmla="*/ 117 h 549"/>
                  <a:gd name="T88" fmla="*/ 478 w 543"/>
                  <a:gd name="T89" fmla="*/ 124 h 549"/>
                  <a:gd name="T90" fmla="*/ 513 w 543"/>
                  <a:gd name="T91" fmla="*/ 108 h 549"/>
                  <a:gd name="T92" fmla="*/ 541 w 543"/>
                  <a:gd name="T93" fmla="*/ 68 h 549"/>
                  <a:gd name="T94" fmla="*/ 541 w 543"/>
                  <a:gd name="T95" fmla="*/ 9 h 549"/>
                  <a:gd name="T96" fmla="*/ 516 w 543"/>
                  <a:gd name="T97" fmla="*/ 0 h 549"/>
                  <a:gd name="T98" fmla="*/ 508 w 543"/>
                  <a:gd name="T99" fmla="*/ 28 h 549"/>
                  <a:gd name="T100" fmla="*/ 491 w 543"/>
                  <a:gd name="T101" fmla="*/ 50 h 549"/>
                  <a:gd name="T102" fmla="*/ 469 w 543"/>
                  <a:gd name="T103" fmla="*/ 64 h 549"/>
                  <a:gd name="T104" fmla="*/ 427 w 543"/>
                  <a:gd name="T105" fmla="*/ 47 h 549"/>
                  <a:gd name="T106" fmla="*/ 386 w 543"/>
                  <a:gd name="T107" fmla="*/ 28 h 549"/>
                  <a:gd name="T108" fmla="*/ 342 w 543"/>
                  <a:gd name="T109" fmla="*/ 64 h 549"/>
                  <a:gd name="T110" fmla="*/ 293 w 543"/>
                  <a:gd name="T111" fmla="*/ 80 h 549"/>
                  <a:gd name="T112" fmla="*/ 256 w 543"/>
                  <a:gd name="T113" fmla="*/ 87 h 549"/>
                  <a:gd name="T114" fmla="*/ 232 w 543"/>
                  <a:gd name="T115" fmla="*/ 111 h 549"/>
                  <a:gd name="T116" fmla="*/ 194 w 543"/>
                  <a:gd name="T117" fmla="*/ 117 h 549"/>
                  <a:gd name="T118" fmla="*/ 160 w 543"/>
                  <a:gd name="T119" fmla="*/ 138 h 549"/>
                  <a:gd name="T120" fmla="*/ 124 w 543"/>
                  <a:gd name="T121" fmla="*/ 1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3" h="549">
                    <a:moveTo>
                      <a:pt x="110" y="135"/>
                    </a:moveTo>
                    <a:lnTo>
                      <a:pt x="99" y="145"/>
                    </a:lnTo>
                    <a:lnTo>
                      <a:pt x="86" y="192"/>
                    </a:lnTo>
                    <a:lnTo>
                      <a:pt x="70" y="238"/>
                    </a:lnTo>
                    <a:lnTo>
                      <a:pt x="63" y="243"/>
                    </a:lnTo>
                    <a:lnTo>
                      <a:pt x="56" y="259"/>
                    </a:lnTo>
                    <a:lnTo>
                      <a:pt x="47" y="275"/>
                    </a:lnTo>
                    <a:lnTo>
                      <a:pt x="30" y="285"/>
                    </a:lnTo>
                    <a:lnTo>
                      <a:pt x="17" y="290"/>
                    </a:lnTo>
                    <a:lnTo>
                      <a:pt x="0" y="290"/>
                    </a:lnTo>
                    <a:lnTo>
                      <a:pt x="22" y="343"/>
                    </a:lnTo>
                    <a:lnTo>
                      <a:pt x="39" y="370"/>
                    </a:lnTo>
                    <a:lnTo>
                      <a:pt x="56" y="370"/>
                    </a:lnTo>
                    <a:lnTo>
                      <a:pt x="72" y="370"/>
                    </a:lnTo>
                    <a:lnTo>
                      <a:pt x="77" y="383"/>
                    </a:lnTo>
                    <a:lnTo>
                      <a:pt x="61" y="395"/>
                    </a:lnTo>
                    <a:lnTo>
                      <a:pt x="61" y="413"/>
                    </a:lnTo>
                    <a:lnTo>
                      <a:pt x="72" y="438"/>
                    </a:lnTo>
                    <a:lnTo>
                      <a:pt x="86" y="459"/>
                    </a:lnTo>
                    <a:lnTo>
                      <a:pt x="96" y="469"/>
                    </a:lnTo>
                    <a:lnTo>
                      <a:pt x="101" y="454"/>
                    </a:lnTo>
                    <a:lnTo>
                      <a:pt x="115" y="451"/>
                    </a:lnTo>
                    <a:lnTo>
                      <a:pt x="132" y="467"/>
                    </a:lnTo>
                    <a:lnTo>
                      <a:pt x="136" y="454"/>
                    </a:lnTo>
                    <a:lnTo>
                      <a:pt x="162" y="457"/>
                    </a:lnTo>
                    <a:lnTo>
                      <a:pt x="201" y="462"/>
                    </a:lnTo>
                    <a:lnTo>
                      <a:pt x="229" y="472"/>
                    </a:lnTo>
                    <a:lnTo>
                      <a:pt x="241" y="485"/>
                    </a:lnTo>
                    <a:lnTo>
                      <a:pt x="253" y="504"/>
                    </a:lnTo>
                    <a:lnTo>
                      <a:pt x="262" y="515"/>
                    </a:lnTo>
                    <a:lnTo>
                      <a:pt x="274" y="504"/>
                    </a:lnTo>
                    <a:lnTo>
                      <a:pt x="290" y="502"/>
                    </a:lnTo>
                    <a:lnTo>
                      <a:pt x="314" y="521"/>
                    </a:lnTo>
                    <a:lnTo>
                      <a:pt x="342" y="549"/>
                    </a:lnTo>
                    <a:lnTo>
                      <a:pt x="350" y="543"/>
                    </a:lnTo>
                    <a:lnTo>
                      <a:pt x="351" y="522"/>
                    </a:lnTo>
                    <a:lnTo>
                      <a:pt x="351" y="499"/>
                    </a:lnTo>
                    <a:lnTo>
                      <a:pt x="350" y="478"/>
                    </a:lnTo>
                    <a:lnTo>
                      <a:pt x="337" y="454"/>
                    </a:lnTo>
                    <a:lnTo>
                      <a:pt x="328" y="459"/>
                    </a:lnTo>
                    <a:lnTo>
                      <a:pt x="307" y="448"/>
                    </a:lnTo>
                    <a:lnTo>
                      <a:pt x="272" y="420"/>
                    </a:lnTo>
                    <a:lnTo>
                      <a:pt x="262" y="410"/>
                    </a:lnTo>
                    <a:lnTo>
                      <a:pt x="239" y="407"/>
                    </a:lnTo>
                    <a:lnTo>
                      <a:pt x="227" y="398"/>
                    </a:lnTo>
                    <a:lnTo>
                      <a:pt x="227" y="388"/>
                    </a:lnTo>
                    <a:lnTo>
                      <a:pt x="241" y="373"/>
                    </a:lnTo>
                    <a:lnTo>
                      <a:pt x="246" y="367"/>
                    </a:lnTo>
                    <a:lnTo>
                      <a:pt x="237" y="354"/>
                    </a:lnTo>
                    <a:lnTo>
                      <a:pt x="232" y="336"/>
                    </a:lnTo>
                    <a:lnTo>
                      <a:pt x="237" y="327"/>
                    </a:lnTo>
                    <a:lnTo>
                      <a:pt x="256" y="349"/>
                    </a:lnTo>
                    <a:lnTo>
                      <a:pt x="272" y="357"/>
                    </a:lnTo>
                    <a:lnTo>
                      <a:pt x="272" y="339"/>
                    </a:lnTo>
                    <a:lnTo>
                      <a:pt x="262" y="317"/>
                    </a:lnTo>
                    <a:lnTo>
                      <a:pt x="241" y="287"/>
                    </a:lnTo>
                    <a:lnTo>
                      <a:pt x="218" y="248"/>
                    </a:lnTo>
                    <a:lnTo>
                      <a:pt x="215" y="228"/>
                    </a:lnTo>
                    <a:lnTo>
                      <a:pt x="213" y="209"/>
                    </a:lnTo>
                    <a:lnTo>
                      <a:pt x="209" y="191"/>
                    </a:lnTo>
                    <a:lnTo>
                      <a:pt x="206" y="172"/>
                    </a:lnTo>
                    <a:lnTo>
                      <a:pt x="223" y="166"/>
                    </a:lnTo>
                    <a:lnTo>
                      <a:pt x="220" y="179"/>
                    </a:lnTo>
                    <a:lnTo>
                      <a:pt x="234" y="198"/>
                    </a:lnTo>
                    <a:lnTo>
                      <a:pt x="243" y="198"/>
                    </a:lnTo>
                    <a:lnTo>
                      <a:pt x="241" y="209"/>
                    </a:lnTo>
                    <a:lnTo>
                      <a:pt x="286" y="259"/>
                    </a:lnTo>
                    <a:lnTo>
                      <a:pt x="288" y="250"/>
                    </a:lnTo>
                    <a:lnTo>
                      <a:pt x="279" y="228"/>
                    </a:lnTo>
                    <a:lnTo>
                      <a:pt x="293" y="222"/>
                    </a:lnTo>
                    <a:lnTo>
                      <a:pt x="314" y="232"/>
                    </a:lnTo>
                    <a:lnTo>
                      <a:pt x="326" y="250"/>
                    </a:lnTo>
                    <a:lnTo>
                      <a:pt x="328" y="238"/>
                    </a:lnTo>
                    <a:lnTo>
                      <a:pt x="312" y="216"/>
                    </a:lnTo>
                    <a:lnTo>
                      <a:pt x="314" y="206"/>
                    </a:lnTo>
                    <a:lnTo>
                      <a:pt x="326" y="201"/>
                    </a:lnTo>
                    <a:lnTo>
                      <a:pt x="356" y="216"/>
                    </a:lnTo>
                    <a:lnTo>
                      <a:pt x="364" y="211"/>
                    </a:lnTo>
                    <a:lnTo>
                      <a:pt x="361" y="195"/>
                    </a:lnTo>
                    <a:lnTo>
                      <a:pt x="347" y="185"/>
                    </a:lnTo>
                    <a:lnTo>
                      <a:pt x="326" y="174"/>
                    </a:lnTo>
                    <a:lnTo>
                      <a:pt x="312" y="161"/>
                    </a:lnTo>
                    <a:lnTo>
                      <a:pt x="309" y="151"/>
                    </a:lnTo>
                    <a:lnTo>
                      <a:pt x="314" y="139"/>
                    </a:lnTo>
                    <a:lnTo>
                      <a:pt x="345" y="135"/>
                    </a:lnTo>
                    <a:lnTo>
                      <a:pt x="377" y="124"/>
                    </a:lnTo>
                    <a:lnTo>
                      <a:pt x="400" y="127"/>
                    </a:lnTo>
                    <a:lnTo>
                      <a:pt x="442" y="117"/>
                    </a:lnTo>
                    <a:lnTo>
                      <a:pt x="450" y="111"/>
                    </a:lnTo>
                    <a:lnTo>
                      <a:pt x="478" y="124"/>
                    </a:lnTo>
                    <a:lnTo>
                      <a:pt x="502" y="138"/>
                    </a:lnTo>
                    <a:lnTo>
                      <a:pt x="513" y="108"/>
                    </a:lnTo>
                    <a:lnTo>
                      <a:pt x="534" y="77"/>
                    </a:lnTo>
                    <a:lnTo>
                      <a:pt x="541" y="68"/>
                    </a:lnTo>
                    <a:lnTo>
                      <a:pt x="543" y="13"/>
                    </a:lnTo>
                    <a:lnTo>
                      <a:pt x="541" y="9"/>
                    </a:lnTo>
                    <a:lnTo>
                      <a:pt x="529" y="0"/>
                    </a:lnTo>
                    <a:lnTo>
                      <a:pt x="516" y="0"/>
                    </a:lnTo>
                    <a:lnTo>
                      <a:pt x="508" y="9"/>
                    </a:lnTo>
                    <a:lnTo>
                      <a:pt x="508" y="28"/>
                    </a:lnTo>
                    <a:lnTo>
                      <a:pt x="510" y="46"/>
                    </a:lnTo>
                    <a:lnTo>
                      <a:pt x="491" y="50"/>
                    </a:lnTo>
                    <a:lnTo>
                      <a:pt x="478" y="61"/>
                    </a:lnTo>
                    <a:lnTo>
                      <a:pt x="469" y="64"/>
                    </a:lnTo>
                    <a:lnTo>
                      <a:pt x="438" y="56"/>
                    </a:lnTo>
                    <a:lnTo>
                      <a:pt x="427" y="47"/>
                    </a:lnTo>
                    <a:lnTo>
                      <a:pt x="410" y="58"/>
                    </a:lnTo>
                    <a:lnTo>
                      <a:pt x="386" y="28"/>
                    </a:lnTo>
                    <a:lnTo>
                      <a:pt x="361" y="50"/>
                    </a:lnTo>
                    <a:lnTo>
                      <a:pt x="342" y="64"/>
                    </a:lnTo>
                    <a:lnTo>
                      <a:pt x="323" y="74"/>
                    </a:lnTo>
                    <a:lnTo>
                      <a:pt x="293" y="80"/>
                    </a:lnTo>
                    <a:lnTo>
                      <a:pt x="272" y="87"/>
                    </a:lnTo>
                    <a:lnTo>
                      <a:pt x="256" y="87"/>
                    </a:lnTo>
                    <a:lnTo>
                      <a:pt x="248" y="90"/>
                    </a:lnTo>
                    <a:lnTo>
                      <a:pt x="232" y="111"/>
                    </a:lnTo>
                    <a:lnTo>
                      <a:pt x="218" y="111"/>
                    </a:lnTo>
                    <a:lnTo>
                      <a:pt x="194" y="117"/>
                    </a:lnTo>
                    <a:lnTo>
                      <a:pt x="171" y="114"/>
                    </a:lnTo>
                    <a:lnTo>
                      <a:pt x="160" y="138"/>
                    </a:lnTo>
                    <a:lnTo>
                      <a:pt x="141" y="139"/>
                    </a:lnTo>
                    <a:lnTo>
                      <a:pt x="124" y="138"/>
                    </a:lnTo>
                    <a:lnTo>
                      <a:pt x="110" y="135"/>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98" name="Freeform 197"/>
              <p:cNvSpPr>
                <a:spLocks noChangeAspect="1"/>
              </p:cNvSpPr>
              <p:nvPr/>
            </p:nvSpPr>
            <p:spPr bwMode="auto">
              <a:xfrm>
                <a:off x="3816513" y="5517804"/>
                <a:ext cx="170" cy="46"/>
              </a:xfrm>
              <a:custGeom>
                <a:avLst/>
                <a:gdLst>
                  <a:gd name="T0" fmla="*/ 52 w 253"/>
                  <a:gd name="T1" fmla="*/ 16 h 77"/>
                  <a:gd name="T2" fmla="*/ 71 w 253"/>
                  <a:gd name="T3" fmla="*/ 6 h 77"/>
                  <a:gd name="T4" fmla="*/ 80 w 253"/>
                  <a:gd name="T5" fmla="*/ 16 h 77"/>
                  <a:gd name="T6" fmla="*/ 88 w 253"/>
                  <a:gd name="T7" fmla="*/ 18 h 77"/>
                  <a:gd name="T8" fmla="*/ 101 w 253"/>
                  <a:gd name="T9" fmla="*/ 10 h 77"/>
                  <a:gd name="T10" fmla="*/ 110 w 253"/>
                  <a:gd name="T11" fmla="*/ 6 h 77"/>
                  <a:gd name="T12" fmla="*/ 151 w 253"/>
                  <a:gd name="T13" fmla="*/ 10 h 77"/>
                  <a:gd name="T14" fmla="*/ 190 w 253"/>
                  <a:gd name="T15" fmla="*/ 8 h 77"/>
                  <a:gd name="T16" fmla="*/ 202 w 253"/>
                  <a:gd name="T17" fmla="*/ 21 h 77"/>
                  <a:gd name="T18" fmla="*/ 202 w 253"/>
                  <a:gd name="T19" fmla="*/ 28 h 77"/>
                  <a:gd name="T20" fmla="*/ 229 w 253"/>
                  <a:gd name="T21" fmla="*/ 24 h 77"/>
                  <a:gd name="T22" fmla="*/ 245 w 253"/>
                  <a:gd name="T23" fmla="*/ 27 h 77"/>
                  <a:gd name="T24" fmla="*/ 253 w 253"/>
                  <a:gd name="T25" fmla="*/ 37 h 77"/>
                  <a:gd name="T26" fmla="*/ 245 w 253"/>
                  <a:gd name="T27" fmla="*/ 50 h 77"/>
                  <a:gd name="T28" fmla="*/ 220 w 253"/>
                  <a:gd name="T29" fmla="*/ 48 h 77"/>
                  <a:gd name="T30" fmla="*/ 204 w 253"/>
                  <a:gd name="T31" fmla="*/ 58 h 77"/>
                  <a:gd name="T32" fmla="*/ 176 w 253"/>
                  <a:gd name="T33" fmla="*/ 58 h 77"/>
                  <a:gd name="T34" fmla="*/ 148 w 253"/>
                  <a:gd name="T35" fmla="*/ 71 h 77"/>
                  <a:gd name="T36" fmla="*/ 124 w 253"/>
                  <a:gd name="T37" fmla="*/ 77 h 77"/>
                  <a:gd name="T38" fmla="*/ 105 w 253"/>
                  <a:gd name="T39" fmla="*/ 64 h 77"/>
                  <a:gd name="T40" fmla="*/ 80 w 253"/>
                  <a:gd name="T41" fmla="*/ 48 h 77"/>
                  <a:gd name="T42" fmla="*/ 55 w 253"/>
                  <a:gd name="T43" fmla="*/ 48 h 77"/>
                  <a:gd name="T44" fmla="*/ 22 w 253"/>
                  <a:gd name="T45" fmla="*/ 40 h 77"/>
                  <a:gd name="T46" fmla="*/ 9 w 253"/>
                  <a:gd name="T47" fmla="*/ 28 h 77"/>
                  <a:gd name="T48" fmla="*/ 0 w 253"/>
                  <a:gd name="T49" fmla="*/ 8 h 77"/>
                  <a:gd name="T50" fmla="*/ 5 w 253"/>
                  <a:gd name="T51" fmla="*/ 0 h 77"/>
                  <a:gd name="T52" fmla="*/ 33 w 253"/>
                  <a:gd name="T53" fmla="*/ 6 h 77"/>
                  <a:gd name="T54" fmla="*/ 52 w 253"/>
                  <a:gd name="T55"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3" h="77">
                    <a:moveTo>
                      <a:pt x="52" y="16"/>
                    </a:moveTo>
                    <a:lnTo>
                      <a:pt x="71" y="6"/>
                    </a:lnTo>
                    <a:lnTo>
                      <a:pt x="80" y="16"/>
                    </a:lnTo>
                    <a:lnTo>
                      <a:pt x="88" y="18"/>
                    </a:lnTo>
                    <a:lnTo>
                      <a:pt x="101" y="10"/>
                    </a:lnTo>
                    <a:lnTo>
                      <a:pt x="110" y="6"/>
                    </a:lnTo>
                    <a:lnTo>
                      <a:pt x="151" y="10"/>
                    </a:lnTo>
                    <a:lnTo>
                      <a:pt x="190" y="8"/>
                    </a:lnTo>
                    <a:lnTo>
                      <a:pt x="202" y="21"/>
                    </a:lnTo>
                    <a:lnTo>
                      <a:pt x="202" y="28"/>
                    </a:lnTo>
                    <a:lnTo>
                      <a:pt x="229" y="24"/>
                    </a:lnTo>
                    <a:lnTo>
                      <a:pt x="245" y="27"/>
                    </a:lnTo>
                    <a:lnTo>
                      <a:pt x="253" y="37"/>
                    </a:lnTo>
                    <a:lnTo>
                      <a:pt x="245" y="50"/>
                    </a:lnTo>
                    <a:lnTo>
                      <a:pt x="220" y="48"/>
                    </a:lnTo>
                    <a:lnTo>
                      <a:pt x="204" y="58"/>
                    </a:lnTo>
                    <a:lnTo>
                      <a:pt x="176" y="58"/>
                    </a:lnTo>
                    <a:lnTo>
                      <a:pt x="148" y="71"/>
                    </a:lnTo>
                    <a:lnTo>
                      <a:pt x="124" y="77"/>
                    </a:lnTo>
                    <a:lnTo>
                      <a:pt x="105" y="64"/>
                    </a:lnTo>
                    <a:lnTo>
                      <a:pt x="80" y="48"/>
                    </a:lnTo>
                    <a:lnTo>
                      <a:pt x="55" y="48"/>
                    </a:lnTo>
                    <a:lnTo>
                      <a:pt x="22" y="40"/>
                    </a:lnTo>
                    <a:lnTo>
                      <a:pt x="9" y="28"/>
                    </a:lnTo>
                    <a:lnTo>
                      <a:pt x="0" y="8"/>
                    </a:lnTo>
                    <a:lnTo>
                      <a:pt x="5" y="0"/>
                    </a:lnTo>
                    <a:lnTo>
                      <a:pt x="33" y="6"/>
                    </a:lnTo>
                    <a:lnTo>
                      <a:pt x="52" y="16"/>
                    </a:lnTo>
                    <a:close/>
                  </a:path>
                </a:pathLst>
              </a:custGeom>
              <a:grp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sp>
          <p:nvSpPr>
            <p:cNvPr id="162" name="HU"/>
            <p:cNvSpPr>
              <a:spLocks noChangeAspect="1"/>
            </p:cNvSpPr>
            <p:nvPr/>
          </p:nvSpPr>
          <p:spPr bwMode="auto">
            <a:xfrm>
              <a:off x="4725753" y="4538251"/>
              <a:ext cx="378014" cy="204932"/>
            </a:xfrm>
            <a:custGeom>
              <a:avLst/>
              <a:gdLst>
                <a:gd name="T0" fmla="*/ 3 w 532"/>
                <a:gd name="T1" fmla="*/ 229 h 361"/>
                <a:gd name="T2" fmla="*/ 19 w 532"/>
                <a:gd name="T3" fmla="*/ 245 h 361"/>
                <a:gd name="T4" fmla="*/ 17 w 532"/>
                <a:gd name="T5" fmla="*/ 253 h 361"/>
                <a:gd name="T6" fmla="*/ 22 w 532"/>
                <a:gd name="T7" fmla="*/ 269 h 361"/>
                <a:gd name="T8" fmla="*/ 36 w 532"/>
                <a:gd name="T9" fmla="*/ 269 h 361"/>
                <a:gd name="T10" fmla="*/ 89 w 532"/>
                <a:gd name="T11" fmla="*/ 327 h 361"/>
                <a:gd name="T12" fmla="*/ 105 w 532"/>
                <a:gd name="T13" fmla="*/ 330 h 361"/>
                <a:gd name="T14" fmla="*/ 148 w 532"/>
                <a:gd name="T15" fmla="*/ 361 h 361"/>
                <a:gd name="T16" fmla="*/ 169 w 532"/>
                <a:gd name="T17" fmla="*/ 343 h 361"/>
                <a:gd name="T18" fmla="*/ 199 w 532"/>
                <a:gd name="T19" fmla="*/ 346 h 361"/>
                <a:gd name="T20" fmla="*/ 209 w 532"/>
                <a:gd name="T21" fmla="*/ 353 h 361"/>
                <a:gd name="T22" fmla="*/ 232 w 532"/>
                <a:gd name="T23" fmla="*/ 343 h 361"/>
                <a:gd name="T24" fmla="*/ 279 w 532"/>
                <a:gd name="T25" fmla="*/ 321 h 361"/>
                <a:gd name="T26" fmla="*/ 333 w 532"/>
                <a:gd name="T27" fmla="*/ 311 h 361"/>
                <a:gd name="T28" fmla="*/ 356 w 532"/>
                <a:gd name="T29" fmla="*/ 316 h 361"/>
                <a:gd name="T30" fmla="*/ 364 w 532"/>
                <a:gd name="T31" fmla="*/ 330 h 361"/>
                <a:gd name="T32" fmla="*/ 383 w 532"/>
                <a:gd name="T33" fmla="*/ 306 h 361"/>
                <a:gd name="T34" fmla="*/ 408 w 532"/>
                <a:gd name="T35" fmla="*/ 296 h 361"/>
                <a:gd name="T36" fmla="*/ 432 w 532"/>
                <a:gd name="T37" fmla="*/ 292 h 361"/>
                <a:gd name="T38" fmla="*/ 474 w 532"/>
                <a:gd name="T39" fmla="*/ 245 h 361"/>
                <a:gd name="T40" fmla="*/ 485 w 532"/>
                <a:gd name="T41" fmla="*/ 216 h 361"/>
                <a:gd name="T42" fmla="*/ 490 w 532"/>
                <a:gd name="T43" fmla="*/ 161 h 361"/>
                <a:gd name="T44" fmla="*/ 495 w 532"/>
                <a:gd name="T45" fmla="*/ 115 h 361"/>
                <a:gd name="T46" fmla="*/ 512 w 532"/>
                <a:gd name="T47" fmla="*/ 114 h 361"/>
                <a:gd name="T48" fmla="*/ 525 w 532"/>
                <a:gd name="T49" fmla="*/ 97 h 361"/>
                <a:gd name="T50" fmla="*/ 532 w 532"/>
                <a:gd name="T51" fmla="*/ 84 h 361"/>
                <a:gd name="T52" fmla="*/ 516 w 532"/>
                <a:gd name="T53" fmla="*/ 71 h 361"/>
                <a:gd name="T54" fmla="*/ 507 w 532"/>
                <a:gd name="T55" fmla="*/ 77 h 361"/>
                <a:gd name="T56" fmla="*/ 483 w 532"/>
                <a:gd name="T57" fmla="*/ 71 h 361"/>
                <a:gd name="T58" fmla="*/ 469 w 532"/>
                <a:gd name="T59" fmla="*/ 50 h 361"/>
                <a:gd name="T60" fmla="*/ 455 w 532"/>
                <a:gd name="T61" fmla="*/ 21 h 361"/>
                <a:gd name="T62" fmla="*/ 439 w 532"/>
                <a:gd name="T63" fmla="*/ 21 h 361"/>
                <a:gd name="T64" fmla="*/ 413 w 532"/>
                <a:gd name="T65" fmla="*/ 0 h 361"/>
                <a:gd name="T66" fmla="*/ 399 w 532"/>
                <a:gd name="T67" fmla="*/ 3 h 361"/>
                <a:gd name="T68" fmla="*/ 347 w 532"/>
                <a:gd name="T69" fmla="*/ 10 h 361"/>
                <a:gd name="T70" fmla="*/ 337 w 532"/>
                <a:gd name="T71" fmla="*/ 27 h 361"/>
                <a:gd name="T72" fmla="*/ 323 w 532"/>
                <a:gd name="T73" fmla="*/ 47 h 361"/>
                <a:gd name="T74" fmla="*/ 304 w 532"/>
                <a:gd name="T75" fmla="*/ 58 h 361"/>
                <a:gd name="T76" fmla="*/ 287 w 532"/>
                <a:gd name="T77" fmla="*/ 63 h 361"/>
                <a:gd name="T78" fmla="*/ 274 w 532"/>
                <a:gd name="T79" fmla="*/ 58 h 361"/>
                <a:gd name="T80" fmla="*/ 262 w 532"/>
                <a:gd name="T81" fmla="*/ 50 h 361"/>
                <a:gd name="T82" fmla="*/ 254 w 532"/>
                <a:gd name="T83" fmla="*/ 47 h 361"/>
                <a:gd name="T84" fmla="*/ 237 w 532"/>
                <a:gd name="T85" fmla="*/ 55 h 361"/>
                <a:gd name="T86" fmla="*/ 216 w 532"/>
                <a:gd name="T87" fmla="*/ 68 h 361"/>
                <a:gd name="T88" fmla="*/ 171 w 532"/>
                <a:gd name="T89" fmla="*/ 90 h 361"/>
                <a:gd name="T90" fmla="*/ 152 w 532"/>
                <a:gd name="T91" fmla="*/ 92 h 361"/>
                <a:gd name="T92" fmla="*/ 105 w 532"/>
                <a:gd name="T93" fmla="*/ 90 h 361"/>
                <a:gd name="T94" fmla="*/ 99 w 532"/>
                <a:gd name="T95" fmla="*/ 87 h 361"/>
                <a:gd name="T96" fmla="*/ 86 w 532"/>
                <a:gd name="T97" fmla="*/ 65 h 361"/>
                <a:gd name="T98" fmla="*/ 71 w 532"/>
                <a:gd name="T99" fmla="*/ 55 h 361"/>
                <a:gd name="T100" fmla="*/ 66 w 532"/>
                <a:gd name="T101" fmla="*/ 63 h 361"/>
                <a:gd name="T102" fmla="*/ 64 w 532"/>
                <a:gd name="T103" fmla="*/ 84 h 361"/>
                <a:gd name="T104" fmla="*/ 55 w 532"/>
                <a:gd name="T105" fmla="*/ 105 h 361"/>
                <a:gd name="T106" fmla="*/ 38 w 532"/>
                <a:gd name="T107" fmla="*/ 105 h 361"/>
                <a:gd name="T108" fmla="*/ 33 w 532"/>
                <a:gd name="T109" fmla="*/ 111 h 361"/>
                <a:gd name="T110" fmla="*/ 42 w 532"/>
                <a:gd name="T111" fmla="*/ 132 h 361"/>
                <a:gd name="T112" fmla="*/ 40 w 532"/>
                <a:gd name="T113" fmla="*/ 154 h 361"/>
                <a:gd name="T114" fmla="*/ 28 w 532"/>
                <a:gd name="T115" fmla="*/ 173 h 361"/>
                <a:gd name="T116" fmla="*/ 19 w 532"/>
                <a:gd name="T117" fmla="*/ 182 h 361"/>
                <a:gd name="T118" fmla="*/ 5 w 532"/>
                <a:gd name="T119" fmla="*/ 189 h 361"/>
                <a:gd name="T120" fmla="*/ 0 w 532"/>
                <a:gd name="T121" fmla="*/ 206 h 361"/>
                <a:gd name="T122" fmla="*/ 3 w 532"/>
                <a:gd name="T123" fmla="*/ 22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 h="361">
                  <a:moveTo>
                    <a:pt x="3" y="229"/>
                  </a:moveTo>
                  <a:lnTo>
                    <a:pt x="19" y="245"/>
                  </a:lnTo>
                  <a:lnTo>
                    <a:pt x="17" y="253"/>
                  </a:lnTo>
                  <a:lnTo>
                    <a:pt x="22" y="269"/>
                  </a:lnTo>
                  <a:lnTo>
                    <a:pt x="36" y="269"/>
                  </a:lnTo>
                  <a:lnTo>
                    <a:pt x="89" y="327"/>
                  </a:lnTo>
                  <a:lnTo>
                    <a:pt x="105" y="330"/>
                  </a:lnTo>
                  <a:lnTo>
                    <a:pt x="148" y="361"/>
                  </a:lnTo>
                  <a:lnTo>
                    <a:pt x="169" y="343"/>
                  </a:lnTo>
                  <a:lnTo>
                    <a:pt x="199" y="346"/>
                  </a:lnTo>
                  <a:lnTo>
                    <a:pt x="209" y="353"/>
                  </a:lnTo>
                  <a:lnTo>
                    <a:pt x="232" y="343"/>
                  </a:lnTo>
                  <a:lnTo>
                    <a:pt x="279" y="321"/>
                  </a:lnTo>
                  <a:lnTo>
                    <a:pt x="333" y="311"/>
                  </a:lnTo>
                  <a:lnTo>
                    <a:pt x="356" y="316"/>
                  </a:lnTo>
                  <a:lnTo>
                    <a:pt x="364" y="330"/>
                  </a:lnTo>
                  <a:lnTo>
                    <a:pt x="383" y="306"/>
                  </a:lnTo>
                  <a:lnTo>
                    <a:pt x="408" y="296"/>
                  </a:lnTo>
                  <a:lnTo>
                    <a:pt x="432" y="292"/>
                  </a:lnTo>
                  <a:lnTo>
                    <a:pt x="474" y="245"/>
                  </a:lnTo>
                  <a:lnTo>
                    <a:pt x="485" y="216"/>
                  </a:lnTo>
                  <a:lnTo>
                    <a:pt x="490" y="161"/>
                  </a:lnTo>
                  <a:lnTo>
                    <a:pt x="495" y="115"/>
                  </a:lnTo>
                  <a:lnTo>
                    <a:pt x="512" y="114"/>
                  </a:lnTo>
                  <a:lnTo>
                    <a:pt x="525" y="97"/>
                  </a:lnTo>
                  <a:lnTo>
                    <a:pt x="532" y="84"/>
                  </a:lnTo>
                  <a:lnTo>
                    <a:pt x="516" y="71"/>
                  </a:lnTo>
                  <a:lnTo>
                    <a:pt x="507" y="77"/>
                  </a:lnTo>
                  <a:lnTo>
                    <a:pt x="483" y="71"/>
                  </a:lnTo>
                  <a:lnTo>
                    <a:pt x="469" y="50"/>
                  </a:lnTo>
                  <a:lnTo>
                    <a:pt x="455" y="21"/>
                  </a:lnTo>
                  <a:lnTo>
                    <a:pt x="439" y="21"/>
                  </a:lnTo>
                  <a:lnTo>
                    <a:pt x="413" y="0"/>
                  </a:lnTo>
                  <a:lnTo>
                    <a:pt x="399" y="3"/>
                  </a:lnTo>
                  <a:lnTo>
                    <a:pt x="347" y="10"/>
                  </a:lnTo>
                  <a:lnTo>
                    <a:pt x="337" y="27"/>
                  </a:lnTo>
                  <a:lnTo>
                    <a:pt x="323" y="47"/>
                  </a:lnTo>
                  <a:lnTo>
                    <a:pt x="304" y="58"/>
                  </a:lnTo>
                  <a:lnTo>
                    <a:pt x="287" y="63"/>
                  </a:lnTo>
                  <a:lnTo>
                    <a:pt x="274" y="58"/>
                  </a:lnTo>
                  <a:lnTo>
                    <a:pt x="262" y="50"/>
                  </a:lnTo>
                  <a:lnTo>
                    <a:pt x="254" y="47"/>
                  </a:lnTo>
                  <a:lnTo>
                    <a:pt x="237" y="55"/>
                  </a:lnTo>
                  <a:lnTo>
                    <a:pt x="216" y="68"/>
                  </a:lnTo>
                  <a:lnTo>
                    <a:pt x="171" y="90"/>
                  </a:lnTo>
                  <a:lnTo>
                    <a:pt x="152" y="92"/>
                  </a:lnTo>
                  <a:lnTo>
                    <a:pt x="105" y="90"/>
                  </a:lnTo>
                  <a:lnTo>
                    <a:pt x="99" y="87"/>
                  </a:lnTo>
                  <a:lnTo>
                    <a:pt x="86" y="65"/>
                  </a:lnTo>
                  <a:lnTo>
                    <a:pt x="71" y="55"/>
                  </a:lnTo>
                  <a:lnTo>
                    <a:pt x="66" y="63"/>
                  </a:lnTo>
                  <a:lnTo>
                    <a:pt x="64" y="84"/>
                  </a:lnTo>
                  <a:lnTo>
                    <a:pt x="55" y="105"/>
                  </a:lnTo>
                  <a:lnTo>
                    <a:pt x="38" y="105"/>
                  </a:lnTo>
                  <a:lnTo>
                    <a:pt x="33" y="111"/>
                  </a:lnTo>
                  <a:lnTo>
                    <a:pt x="42" y="132"/>
                  </a:lnTo>
                  <a:lnTo>
                    <a:pt x="40" y="154"/>
                  </a:lnTo>
                  <a:lnTo>
                    <a:pt x="28" y="173"/>
                  </a:lnTo>
                  <a:lnTo>
                    <a:pt x="19" y="182"/>
                  </a:lnTo>
                  <a:lnTo>
                    <a:pt x="5" y="189"/>
                  </a:lnTo>
                  <a:lnTo>
                    <a:pt x="0" y="206"/>
                  </a:lnTo>
                  <a:lnTo>
                    <a:pt x="3" y="229"/>
                  </a:lnTo>
                  <a:close/>
                </a:path>
              </a:pathLst>
            </a:custGeom>
            <a:solidFill>
              <a:schemeClr val="accent1">
                <a:lumMod val="75000"/>
              </a:schemeClr>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63" name="RO"/>
            <p:cNvSpPr>
              <a:spLocks noChangeAspect="1"/>
            </p:cNvSpPr>
            <p:nvPr/>
          </p:nvSpPr>
          <p:spPr bwMode="auto">
            <a:xfrm>
              <a:off x="4980726" y="4556163"/>
              <a:ext cx="496862" cy="321713"/>
            </a:xfrm>
            <a:custGeom>
              <a:avLst/>
              <a:gdLst>
                <a:gd name="T0" fmla="*/ 155 w 696"/>
                <a:gd name="T1" fmla="*/ 65 h 572"/>
                <a:gd name="T2" fmla="*/ 129 w 696"/>
                <a:gd name="T3" fmla="*/ 81 h 572"/>
                <a:gd name="T4" fmla="*/ 121 w 696"/>
                <a:gd name="T5" fmla="*/ 185 h 572"/>
                <a:gd name="T6" fmla="*/ 79 w 696"/>
                <a:gd name="T7" fmla="*/ 240 h 572"/>
                <a:gd name="T8" fmla="*/ 24 w 696"/>
                <a:gd name="T9" fmla="*/ 269 h 572"/>
                <a:gd name="T10" fmla="*/ 0 w 696"/>
                <a:gd name="T11" fmla="*/ 306 h 572"/>
                <a:gd name="T12" fmla="*/ 22 w 696"/>
                <a:gd name="T13" fmla="*/ 337 h 572"/>
                <a:gd name="T14" fmla="*/ 22 w 696"/>
                <a:gd name="T15" fmla="*/ 367 h 572"/>
                <a:gd name="T16" fmla="*/ 52 w 696"/>
                <a:gd name="T17" fmla="*/ 374 h 572"/>
                <a:gd name="T18" fmla="*/ 66 w 696"/>
                <a:gd name="T19" fmla="*/ 420 h 572"/>
                <a:gd name="T20" fmla="*/ 75 w 696"/>
                <a:gd name="T21" fmla="*/ 461 h 572"/>
                <a:gd name="T22" fmla="*/ 97 w 696"/>
                <a:gd name="T23" fmla="*/ 461 h 572"/>
                <a:gd name="T24" fmla="*/ 132 w 696"/>
                <a:gd name="T25" fmla="*/ 464 h 572"/>
                <a:gd name="T26" fmla="*/ 132 w 696"/>
                <a:gd name="T27" fmla="*/ 488 h 572"/>
                <a:gd name="T28" fmla="*/ 155 w 696"/>
                <a:gd name="T29" fmla="*/ 509 h 572"/>
                <a:gd name="T30" fmla="*/ 155 w 696"/>
                <a:gd name="T31" fmla="*/ 538 h 572"/>
                <a:gd name="T32" fmla="*/ 203 w 696"/>
                <a:gd name="T33" fmla="*/ 551 h 572"/>
                <a:gd name="T34" fmla="*/ 270 w 696"/>
                <a:gd name="T35" fmla="*/ 572 h 572"/>
                <a:gd name="T36" fmla="*/ 319 w 696"/>
                <a:gd name="T37" fmla="*/ 556 h 572"/>
                <a:gd name="T38" fmla="*/ 376 w 696"/>
                <a:gd name="T39" fmla="*/ 562 h 572"/>
                <a:gd name="T40" fmla="*/ 409 w 696"/>
                <a:gd name="T41" fmla="*/ 541 h 572"/>
                <a:gd name="T42" fmla="*/ 503 w 696"/>
                <a:gd name="T43" fmla="*/ 492 h 572"/>
                <a:gd name="T44" fmla="*/ 558 w 696"/>
                <a:gd name="T45" fmla="*/ 498 h 572"/>
                <a:gd name="T46" fmla="*/ 599 w 696"/>
                <a:gd name="T47" fmla="*/ 506 h 572"/>
                <a:gd name="T48" fmla="*/ 625 w 696"/>
                <a:gd name="T49" fmla="*/ 482 h 572"/>
                <a:gd name="T50" fmla="*/ 627 w 696"/>
                <a:gd name="T51" fmla="*/ 401 h 572"/>
                <a:gd name="T52" fmla="*/ 651 w 696"/>
                <a:gd name="T53" fmla="*/ 374 h 572"/>
                <a:gd name="T54" fmla="*/ 674 w 696"/>
                <a:gd name="T55" fmla="*/ 374 h 572"/>
                <a:gd name="T56" fmla="*/ 679 w 696"/>
                <a:gd name="T57" fmla="*/ 353 h 572"/>
                <a:gd name="T58" fmla="*/ 696 w 696"/>
                <a:gd name="T59" fmla="*/ 334 h 572"/>
                <a:gd name="T60" fmla="*/ 660 w 696"/>
                <a:gd name="T61" fmla="*/ 322 h 572"/>
                <a:gd name="T62" fmla="*/ 618 w 696"/>
                <a:gd name="T63" fmla="*/ 331 h 572"/>
                <a:gd name="T64" fmla="*/ 578 w 696"/>
                <a:gd name="T65" fmla="*/ 322 h 572"/>
                <a:gd name="T66" fmla="*/ 571 w 696"/>
                <a:gd name="T67" fmla="*/ 285 h 572"/>
                <a:gd name="T68" fmla="*/ 558 w 696"/>
                <a:gd name="T69" fmla="*/ 248 h 572"/>
                <a:gd name="T70" fmla="*/ 550 w 696"/>
                <a:gd name="T71" fmla="*/ 211 h 572"/>
                <a:gd name="T72" fmla="*/ 552 w 696"/>
                <a:gd name="T73" fmla="*/ 176 h 572"/>
                <a:gd name="T74" fmla="*/ 522 w 696"/>
                <a:gd name="T75" fmla="*/ 124 h 572"/>
                <a:gd name="T76" fmla="*/ 512 w 696"/>
                <a:gd name="T77" fmla="*/ 87 h 572"/>
                <a:gd name="T78" fmla="*/ 482 w 696"/>
                <a:gd name="T79" fmla="*/ 58 h 572"/>
                <a:gd name="T80" fmla="*/ 461 w 696"/>
                <a:gd name="T81" fmla="*/ 13 h 572"/>
                <a:gd name="T82" fmla="*/ 440 w 696"/>
                <a:gd name="T83" fmla="*/ 0 h 572"/>
                <a:gd name="T84" fmla="*/ 416 w 696"/>
                <a:gd name="T85" fmla="*/ 19 h 572"/>
                <a:gd name="T86" fmla="*/ 388 w 696"/>
                <a:gd name="T87" fmla="*/ 21 h 572"/>
                <a:gd name="T88" fmla="*/ 364 w 696"/>
                <a:gd name="T89" fmla="*/ 37 h 572"/>
                <a:gd name="T90" fmla="*/ 327 w 696"/>
                <a:gd name="T91" fmla="*/ 43 h 572"/>
                <a:gd name="T92" fmla="*/ 297 w 696"/>
                <a:gd name="T93" fmla="*/ 19 h 572"/>
                <a:gd name="T94" fmla="*/ 259 w 696"/>
                <a:gd name="T95" fmla="*/ 34 h 572"/>
                <a:gd name="T96" fmla="*/ 228 w 696"/>
                <a:gd name="T97" fmla="*/ 31 h 572"/>
                <a:gd name="T98" fmla="*/ 190 w 696"/>
                <a:gd name="T99" fmla="*/ 29 h 572"/>
                <a:gd name="T100" fmla="*/ 171 w 696"/>
                <a:gd name="T101" fmla="*/ 40 h 572"/>
                <a:gd name="T102" fmla="*/ 162 w 696"/>
                <a:gd name="T103" fmla="*/ 44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6" h="572">
                  <a:moveTo>
                    <a:pt x="167" y="50"/>
                  </a:moveTo>
                  <a:lnTo>
                    <a:pt x="155" y="65"/>
                  </a:lnTo>
                  <a:lnTo>
                    <a:pt x="146" y="77"/>
                  </a:lnTo>
                  <a:lnTo>
                    <a:pt x="129" y="81"/>
                  </a:lnTo>
                  <a:lnTo>
                    <a:pt x="122" y="169"/>
                  </a:lnTo>
                  <a:lnTo>
                    <a:pt x="121" y="185"/>
                  </a:lnTo>
                  <a:lnTo>
                    <a:pt x="102" y="219"/>
                  </a:lnTo>
                  <a:lnTo>
                    <a:pt x="79" y="240"/>
                  </a:lnTo>
                  <a:lnTo>
                    <a:pt x="64" y="259"/>
                  </a:lnTo>
                  <a:lnTo>
                    <a:pt x="24" y="269"/>
                  </a:lnTo>
                  <a:lnTo>
                    <a:pt x="4" y="289"/>
                  </a:lnTo>
                  <a:lnTo>
                    <a:pt x="0" y="306"/>
                  </a:lnTo>
                  <a:lnTo>
                    <a:pt x="14" y="319"/>
                  </a:lnTo>
                  <a:lnTo>
                    <a:pt x="22" y="337"/>
                  </a:lnTo>
                  <a:lnTo>
                    <a:pt x="19" y="350"/>
                  </a:lnTo>
                  <a:lnTo>
                    <a:pt x="22" y="367"/>
                  </a:lnTo>
                  <a:lnTo>
                    <a:pt x="33" y="374"/>
                  </a:lnTo>
                  <a:lnTo>
                    <a:pt x="52" y="374"/>
                  </a:lnTo>
                  <a:lnTo>
                    <a:pt x="59" y="390"/>
                  </a:lnTo>
                  <a:lnTo>
                    <a:pt x="66" y="420"/>
                  </a:lnTo>
                  <a:lnTo>
                    <a:pt x="69" y="442"/>
                  </a:lnTo>
                  <a:lnTo>
                    <a:pt x="75" y="461"/>
                  </a:lnTo>
                  <a:lnTo>
                    <a:pt x="88" y="467"/>
                  </a:lnTo>
                  <a:lnTo>
                    <a:pt x="97" y="461"/>
                  </a:lnTo>
                  <a:lnTo>
                    <a:pt x="113" y="448"/>
                  </a:lnTo>
                  <a:lnTo>
                    <a:pt x="132" y="464"/>
                  </a:lnTo>
                  <a:lnTo>
                    <a:pt x="129" y="479"/>
                  </a:lnTo>
                  <a:lnTo>
                    <a:pt x="132" y="488"/>
                  </a:lnTo>
                  <a:lnTo>
                    <a:pt x="141" y="492"/>
                  </a:lnTo>
                  <a:lnTo>
                    <a:pt x="155" y="509"/>
                  </a:lnTo>
                  <a:lnTo>
                    <a:pt x="151" y="528"/>
                  </a:lnTo>
                  <a:lnTo>
                    <a:pt x="155" y="538"/>
                  </a:lnTo>
                  <a:lnTo>
                    <a:pt x="176" y="538"/>
                  </a:lnTo>
                  <a:lnTo>
                    <a:pt x="203" y="551"/>
                  </a:lnTo>
                  <a:lnTo>
                    <a:pt x="251" y="572"/>
                  </a:lnTo>
                  <a:lnTo>
                    <a:pt x="270" y="572"/>
                  </a:lnTo>
                  <a:lnTo>
                    <a:pt x="297" y="566"/>
                  </a:lnTo>
                  <a:lnTo>
                    <a:pt x="319" y="556"/>
                  </a:lnTo>
                  <a:lnTo>
                    <a:pt x="357" y="563"/>
                  </a:lnTo>
                  <a:lnTo>
                    <a:pt x="376" y="562"/>
                  </a:lnTo>
                  <a:lnTo>
                    <a:pt x="385" y="559"/>
                  </a:lnTo>
                  <a:lnTo>
                    <a:pt x="409" y="541"/>
                  </a:lnTo>
                  <a:lnTo>
                    <a:pt x="463" y="506"/>
                  </a:lnTo>
                  <a:lnTo>
                    <a:pt x="503" y="492"/>
                  </a:lnTo>
                  <a:lnTo>
                    <a:pt x="525" y="491"/>
                  </a:lnTo>
                  <a:lnTo>
                    <a:pt x="558" y="498"/>
                  </a:lnTo>
                  <a:lnTo>
                    <a:pt x="585" y="501"/>
                  </a:lnTo>
                  <a:lnTo>
                    <a:pt x="599" y="506"/>
                  </a:lnTo>
                  <a:lnTo>
                    <a:pt x="621" y="504"/>
                  </a:lnTo>
                  <a:lnTo>
                    <a:pt x="625" y="482"/>
                  </a:lnTo>
                  <a:lnTo>
                    <a:pt x="625" y="442"/>
                  </a:lnTo>
                  <a:lnTo>
                    <a:pt x="627" y="401"/>
                  </a:lnTo>
                  <a:lnTo>
                    <a:pt x="639" y="380"/>
                  </a:lnTo>
                  <a:lnTo>
                    <a:pt x="651" y="374"/>
                  </a:lnTo>
                  <a:lnTo>
                    <a:pt x="663" y="383"/>
                  </a:lnTo>
                  <a:lnTo>
                    <a:pt x="674" y="374"/>
                  </a:lnTo>
                  <a:lnTo>
                    <a:pt x="682" y="364"/>
                  </a:lnTo>
                  <a:lnTo>
                    <a:pt x="679" y="353"/>
                  </a:lnTo>
                  <a:lnTo>
                    <a:pt x="693" y="349"/>
                  </a:lnTo>
                  <a:lnTo>
                    <a:pt x="696" y="334"/>
                  </a:lnTo>
                  <a:lnTo>
                    <a:pt x="682" y="327"/>
                  </a:lnTo>
                  <a:lnTo>
                    <a:pt x="660" y="322"/>
                  </a:lnTo>
                  <a:lnTo>
                    <a:pt x="644" y="327"/>
                  </a:lnTo>
                  <a:lnTo>
                    <a:pt x="618" y="331"/>
                  </a:lnTo>
                  <a:lnTo>
                    <a:pt x="594" y="331"/>
                  </a:lnTo>
                  <a:lnTo>
                    <a:pt x="578" y="322"/>
                  </a:lnTo>
                  <a:lnTo>
                    <a:pt x="571" y="306"/>
                  </a:lnTo>
                  <a:lnTo>
                    <a:pt x="571" y="285"/>
                  </a:lnTo>
                  <a:lnTo>
                    <a:pt x="569" y="263"/>
                  </a:lnTo>
                  <a:lnTo>
                    <a:pt x="558" y="248"/>
                  </a:lnTo>
                  <a:lnTo>
                    <a:pt x="550" y="232"/>
                  </a:lnTo>
                  <a:lnTo>
                    <a:pt x="550" y="211"/>
                  </a:lnTo>
                  <a:lnTo>
                    <a:pt x="552" y="189"/>
                  </a:lnTo>
                  <a:lnTo>
                    <a:pt x="552" y="176"/>
                  </a:lnTo>
                  <a:lnTo>
                    <a:pt x="541" y="145"/>
                  </a:lnTo>
                  <a:lnTo>
                    <a:pt x="522" y="124"/>
                  </a:lnTo>
                  <a:lnTo>
                    <a:pt x="514" y="102"/>
                  </a:lnTo>
                  <a:lnTo>
                    <a:pt x="512" y="87"/>
                  </a:lnTo>
                  <a:lnTo>
                    <a:pt x="508" y="80"/>
                  </a:lnTo>
                  <a:lnTo>
                    <a:pt x="482" y="58"/>
                  </a:lnTo>
                  <a:lnTo>
                    <a:pt x="473" y="40"/>
                  </a:lnTo>
                  <a:lnTo>
                    <a:pt x="461" y="13"/>
                  </a:lnTo>
                  <a:lnTo>
                    <a:pt x="451" y="3"/>
                  </a:lnTo>
                  <a:lnTo>
                    <a:pt x="440" y="0"/>
                  </a:lnTo>
                  <a:lnTo>
                    <a:pt x="428" y="6"/>
                  </a:lnTo>
                  <a:lnTo>
                    <a:pt x="416" y="19"/>
                  </a:lnTo>
                  <a:lnTo>
                    <a:pt x="409" y="21"/>
                  </a:lnTo>
                  <a:lnTo>
                    <a:pt x="388" y="21"/>
                  </a:lnTo>
                  <a:lnTo>
                    <a:pt x="374" y="24"/>
                  </a:lnTo>
                  <a:lnTo>
                    <a:pt x="364" y="37"/>
                  </a:lnTo>
                  <a:lnTo>
                    <a:pt x="346" y="44"/>
                  </a:lnTo>
                  <a:lnTo>
                    <a:pt x="327" y="43"/>
                  </a:lnTo>
                  <a:lnTo>
                    <a:pt x="317" y="31"/>
                  </a:lnTo>
                  <a:lnTo>
                    <a:pt x="297" y="19"/>
                  </a:lnTo>
                  <a:lnTo>
                    <a:pt x="280" y="24"/>
                  </a:lnTo>
                  <a:lnTo>
                    <a:pt x="259" y="34"/>
                  </a:lnTo>
                  <a:lnTo>
                    <a:pt x="242" y="37"/>
                  </a:lnTo>
                  <a:lnTo>
                    <a:pt x="228" y="31"/>
                  </a:lnTo>
                  <a:lnTo>
                    <a:pt x="212" y="21"/>
                  </a:lnTo>
                  <a:lnTo>
                    <a:pt x="190" y="29"/>
                  </a:lnTo>
                  <a:lnTo>
                    <a:pt x="176" y="37"/>
                  </a:lnTo>
                  <a:lnTo>
                    <a:pt x="171" y="40"/>
                  </a:lnTo>
                  <a:lnTo>
                    <a:pt x="167" y="43"/>
                  </a:lnTo>
                  <a:lnTo>
                    <a:pt x="162" y="44"/>
                  </a:lnTo>
                  <a:lnTo>
                    <a:pt x="167" y="50"/>
                  </a:lnTo>
                  <a:close/>
                </a:path>
              </a:pathLst>
            </a:custGeom>
            <a:solidFill>
              <a:srgbClr val="1F497D"/>
            </a:solid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64" name="LT"/>
            <p:cNvSpPr>
              <a:spLocks noChangeAspect="1"/>
            </p:cNvSpPr>
            <p:nvPr/>
          </p:nvSpPr>
          <p:spPr bwMode="auto">
            <a:xfrm>
              <a:off x="4971426" y="4000302"/>
              <a:ext cx="309273" cy="188996"/>
            </a:xfrm>
            <a:custGeom>
              <a:avLst/>
              <a:gdLst>
                <a:gd name="T0" fmla="*/ 3 w 364"/>
                <a:gd name="T1" fmla="*/ 34 h 318"/>
                <a:gd name="T2" fmla="*/ 0 w 364"/>
                <a:gd name="T3" fmla="*/ 44 h 318"/>
                <a:gd name="T4" fmla="*/ 6 w 364"/>
                <a:gd name="T5" fmla="*/ 81 h 318"/>
                <a:gd name="T6" fmla="*/ 22 w 364"/>
                <a:gd name="T7" fmla="*/ 136 h 318"/>
                <a:gd name="T8" fmla="*/ 36 w 364"/>
                <a:gd name="T9" fmla="*/ 152 h 318"/>
                <a:gd name="T10" fmla="*/ 69 w 364"/>
                <a:gd name="T11" fmla="*/ 166 h 318"/>
                <a:gd name="T12" fmla="*/ 83 w 364"/>
                <a:gd name="T13" fmla="*/ 170 h 318"/>
                <a:gd name="T14" fmla="*/ 85 w 364"/>
                <a:gd name="T15" fmla="*/ 189 h 318"/>
                <a:gd name="T16" fmla="*/ 85 w 364"/>
                <a:gd name="T17" fmla="*/ 220 h 318"/>
                <a:gd name="T18" fmla="*/ 118 w 364"/>
                <a:gd name="T19" fmla="*/ 257 h 318"/>
                <a:gd name="T20" fmla="*/ 138 w 364"/>
                <a:gd name="T21" fmla="*/ 268 h 318"/>
                <a:gd name="T22" fmla="*/ 149 w 364"/>
                <a:gd name="T23" fmla="*/ 274 h 318"/>
                <a:gd name="T24" fmla="*/ 176 w 364"/>
                <a:gd name="T25" fmla="*/ 312 h 318"/>
                <a:gd name="T26" fmla="*/ 185 w 364"/>
                <a:gd name="T27" fmla="*/ 305 h 318"/>
                <a:gd name="T28" fmla="*/ 204 w 364"/>
                <a:gd name="T29" fmla="*/ 303 h 318"/>
                <a:gd name="T30" fmla="*/ 226 w 364"/>
                <a:gd name="T31" fmla="*/ 318 h 318"/>
                <a:gd name="T32" fmla="*/ 242 w 364"/>
                <a:gd name="T33" fmla="*/ 308 h 318"/>
                <a:gd name="T34" fmla="*/ 265 w 364"/>
                <a:gd name="T35" fmla="*/ 278 h 318"/>
                <a:gd name="T36" fmla="*/ 282 w 364"/>
                <a:gd name="T37" fmla="*/ 268 h 318"/>
                <a:gd name="T38" fmla="*/ 298 w 364"/>
                <a:gd name="T39" fmla="*/ 276 h 318"/>
                <a:gd name="T40" fmla="*/ 308 w 364"/>
                <a:gd name="T41" fmla="*/ 271 h 318"/>
                <a:gd name="T42" fmla="*/ 309 w 364"/>
                <a:gd name="T43" fmla="*/ 260 h 318"/>
                <a:gd name="T44" fmla="*/ 312 w 364"/>
                <a:gd name="T45" fmla="*/ 200 h 318"/>
                <a:gd name="T46" fmla="*/ 322 w 364"/>
                <a:gd name="T47" fmla="*/ 182 h 318"/>
                <a:gd name="T48" fmla="*/ 322 w 364"/>
                <a:gd name="T49" fmla="*/ 155 h 318"/>
                <a:gd name="T50" fmla="*/ 326 w 364"/>
                <a:gd name="T51" fmla="*/ 145 h 318"/>
                <a:gd name="T52" fmla="*/ 345 w 364"/>
                <a:gd name="T53" fmla="*/ 129 h 318"/>
                <a:gd name="T54" fmla="*/ 364 w 364"/>
                <a:gd name="T55" fmla="*/ 126 h 318"/>
                <a:gd name="T56" fmla="*/ 364 w 364"/>
                <a:gd name="T57" fmla="*/ 96 h 318"/>
                <a:gd name="T58" fmla="*/ 359 w 364"/>
                <a:gd name="T59" fmla="*/ 74 h 318"/>
                <a:gd name="T60" fmla="*/ 345 w 364"/>
                <a:gd name="T61" fmla="*/ 65 h 318"/>
                <a:gd name="T62" fmla="*/ 339 w 364"/>
                <a:gd name="T63" fmla="*/ 68 h 318"/>
                <a:gd name="T64" fmla="*/ 315 w 364"/>
                <a:gd name="T65" fmla="*/ 44 h 318"/>
                <a:gd name="T66" fmla="*/ 301 w 364"/>
                <a:gd name="T67" fmla="*/ 27 h 318"/>
                <a:gd name="T68" fmla="*/ 284 w 364"/>
                <a:gd name="T69" fmla="*/ 27 h 318"/>
                <a:gd name="T70" fmla="*/ 251 w 364"/>
                <a:gd name="T71" fmla="*/ 27 h 318"/>
                <a:gd name="T72" fmla="*/ 245 w 364"/>
                <a:gd name="T73" fmla="*/ 21 h 318"/>
                <a:gd name="T74" fmla="*/ 237 w 364"/>
                <a:gd name="T75" fmla="*/ 2 h 318"/>
                <a:gd name="T76" fmla="*/ 228 w 364"/>
                <a:gd name="T77" fmla="*/ 0 h 318"/>
                <a:gd name="T78" fmla="*/ 199 w 364"/>
                <a:gd name="T79" fmla="*/ 0 h 318"/>
                <a:gd name="T80" fmla="*/ 188 w 364"/>
                <a:gd name="T81" fmla="*/ 15 h 318"/>
                <a:gd name="T82" fmla="*/ 176 w 364"/>
                <a:gd name="T83" fmla="*/ 12 h 318"/>
                <a:gd name="T84" fmla="*/ 157 w 364"/>
                <a:gd name="T85" fmla="*/ 8 h 318"/>
                <a:gd name="T86" fmla="*/ 149 w 364"/>
                <a:gd name="T87" fmla="*/ 5 h 318"/>
                <a:gd name="T88" fmla="*/ 135 w 364"/>
                <a:gd name="T89" fmla="*/ 10 h 318"/>
                <a:gd name="T90" fmla="*/ 125 w 364"/>
                <a:gd name="T91" fmla="*/ 18 h 318"/>
                <a:gd name="T92" fmla="*/ 106 w 364"/>
                <a:gd name="T93" fmla="*/ 10 h 318"/>
                <a:gd name="T94" fmla="*/ 66 w 364"/>
                <a:gd name="T95" fmla="*/ 2 h 318"/>
                <a:gd name="T96" fmla="*/ 56 w 364"/>
                <a:gd name="T97" fmla="*/ 0 h 318"/>
                <a:gd name="T98" fmla="*/ 45 w 364"/>
                <a:gd name="T99" fmla="*/ 10 h 318"/>
                <a:gd name="T100" fmla="*/ 26 w 364"/>
                <a:gd name="T101" fmla="*/ 24 h 318"/>
                <a:gd name="T102" fmla="*/ 3 w 364"/>
                <a:gd name="T103" fmla="*/ 3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4" h="318">
                  <a:moveTo>
                    <a:pt x="3" y="34"/>
                  </a:moveTo>
                  <a:lnTo>
                    <a:pt x="0" y="44"/>
                  </a:lnTo>
                  <a:lnTo>
                    <a:pt x="6" y="81"/>
                  </a:lnTo>
                  <a:lnTo>
                    <a:pt x="22" y="136"/>
                  </a:lnTo>
                  <a:lnTo>
                    <a:pt x="36" y="152"/>
                  </a:lnTo>
                  <a:lnTo>
                    <a:pt x="69" y="166"/>
                  </a:lnTo>
                  <a:lnTo>
                    <a:pt x="83" y="170"/>
                  </a:lnTo>
                  <a:lnTo>
                    <a:pt x="85" y="189"/>
                  </a:lnTo>
                  <a:lnTo>
                    <a:pt x="85" y="220"/>
                  </a:lnTo>
                  <a:lnTo>
                    <a:pt x="118" y="257"/>
                  </a:lnTo>
                  <a:lnTo>
                    <a:pt x="138" y="268"/>
                  </a:lnTo>
                  <a:lnTo>
                    <a:pt x="149" y="274"/>
                  </a:lnTo>
                  <a:lnTo>
                    <a:pt x="176" y="312"/>
                  </a:lnTo>
                  <a:lnTo>
                    <a:pt x="185" y="305"/>
                  </a:lnTo>
                  <a:lnTo>
                    <a:pt x="204" y="303"/>
                  </a:lnTo>
                  <a:lnTo>
                    <a:pt x="226" y="318"/>
                  </a:lnTo>
                  <a:lnTo>
                    <a:pt x="242" y="308"/>
                  </a:lnTo>
                  <a:lnTo>
                    <a:pt x="265" y="278"/>
                  </a:lnTo>
                  <a:lnTo>
                    <a:pt x="282" y="268"/>
                  </a:lnTo>
                  <a:lnTo>
                    <a:pt x="298" y="276"/>
                  </a:lnTo>
                  <a:lnTo>
                    <a:pt x="308" y="271"/>
                  </a:lnTo>
                  <a:lnTo>
                    <a:pt x="309" y="260"/>
                  </a:lnTo>
                  <a:lnTo>
                    <a:pt x="312" y="200"/>
                  </a:lnTo>
                  <a:lnTo>
                    <a:pt x="322" y="182"/>
                  </a:lnTo>
                  <a:lnTo>
                    <a:pt x="322" y="155"/>
                  </a:lnTo>
                  <a:lnTo>
                    <a:pt x="326" y="145"/>
                  </a:lnTo>
                  <a:lnTo>
                    <a:pt x="345" y="129"/>
                  </a:lnTo>
                  <a:lnTo>
                    <a:pt x="364" y="126"/>
                  </a:lnTo>
                  <a:lnTo>
                    <a:pt x="364" y="96"/>
                  </a:lnTo>
                  <a:lnTo>
                    <a:pt x="359" y="74"/>
                  </a:lnTo>
                  <a:lnTo>
                    <a:pt x="345" y="65"/>
                  </a:lnTo>
                  <a:lnTo>
                    <a:pt x="339" y="68"/>
                  </a:lnTo>
                  <a:lnTo>
                    <a:pt x="315" y="44"/>
                  </a:lnTo>
                  <a:lnTo>
                    <a:pt x="301" y="27"/>
                  </a:lnTo>
                  <a:lnTo>
                    <a:pt x="284" y="27"/>
                  </a:lnTo>
                  <a:lnTo>
                    <a:pt x="251" y="27"/>
                  </a:lnTo>
                  <a:lnTo>
                    <a:pt x="245" y="21"/>
                  </a:lnTo>
                  <a:lnTo>
                    <a:pt x="237" y="2"/>
                  </a:lnTo>
                  <a:lnTo>
                    <a:pt x="228" y="0"/>
                  </a:lnTo>
                  <a:lnTo>
                    <a:pt x="199" y="0"/>
                  </a:lnTo>
                  <a:lnTo>
                    <a:pt x="188" y="15"/>
                  </a:lnTo>
                  <a:lnTo>
                    <a:pt x="176" y="12"/>
                  </a:lnTo>
                  <a:lnTo>
                    <a:pt x="157" y="8"/>
                  </a:lnTo>
                  <a:lnTo>
                    <a:pt x="149" y="5"/>
                  </a:lnTo>
                  <a:lnTo>
                    <a:pt x="135" y="10"/>
                  </a:lnTo>
                  <a:lnTo>
                    <a:pt x="125" y="18"/>
                  </a:lnTo>
                  <a:lnTo>
                    <a:pt x="106" y="10"/>
                  </a:lnTo>
                  <a:lnTo>
                    <a:pt x="66" y="2"/>
                  </a:lnTo>
                  <a:lnTo>
                    <a:pt x="56" y="0"/>
                  </a:lnTo>
                  <a:lnTo>
                    <a:pt x="45" y="10"/>
                  </a:lnTo>
                  <a:lnTo>
                    <a:pt x="26" y="24"/>
                  </a:lnTo>
                  <a:lnTo>
                    <a:pt x="3" y="34"/>
                  </a:lnTo>
                  <a:close/>
                </a:path>
              </a:pathLst>
            </a:custGeom>
            <a:solidFill>
              <a:srgbClr val="1F497D"/>
            </a:solidFill>
            <a:ln w="3175" cap="flat" cmpd="sng" algn="ctr">
              <a:solidFill>
                <a:srgbClr val="FFFFFF"/>
              </a:solidFill>
              <a:prstDash val="solid"/>
            </a:ln>
            <a:effectLst/>
            <a:extLst/>
          </p:spPr>
          <p:txBody>
            <a:bodyPr rtlCol="0" anchor="ctr"/>
            <a:lstStyle/>
            <a:p>
              <a:pPr algn="ctr" fontAlgn="base">
                <a:spcBef>
                  <a:spcPct val="50000"/>
                </a:spcBef>
                <a:spcAft>
                  <a:spcPct val="0"/>
                </a:spcAft>
                <a:defRPr/>
              </a:pPr>
              <a:endParaRPr lang="de-CH" kern="0" dirty="0" smtClean="0">
                <a:solidFill>
                  <a:srgbClr val="FFFFFF"/>
                </a:solidFill>
                <a:latin typeface="Arial"/>
              </a:endParaRPr>
            </a:p>
          </p:txBody>
        </p:sp>
        <p:grpSp>
          <p:nvGrpSpPr>
            <p:cNvPr id="165" name="EE"/>
            <p:cNvGrpSpPr>
              <a:grpSpLocks/>
            </p:cNvGrpSpPr>
            <p:nvPr/>
          </p:nvGrpSpPr>
          <p:grpSpPr bwMode="auto">
            <a:xfrm>
              <a:off x="4996463" y="3743216"/>
              <a:ext cx="264496" cy="155206"/>
              <a:chOff x="3930663" y="2840718"/>
              <a:chExt cx="247" cy="169"/>
            </a:xfrm>
            <a:solidFill>
              <a:srgbClr val="BFBFBF"/>
            </a:solidFill>
            <a:effectLst/>
          </p:grpSpPr>
          <p:sp>
            <p:nvSpPr>
              <p:cNvPr id="188" name="Freeform 187" descr="80%"/>
              <p:cNvSpPr>
                <a:spLocks noChangeAspect="1"/>
              </p:cNvSpPr>
              <p:nvPr/>
            </p:nvSpPr>
            <p:spPr bwMode="auto">
              <a:xfrm>
                <a:off x="3930663" y="2840813"/>
                <a:ext cx="55" cy="59"/>
              </a:xfrm>
              <a:custGeom>
                <a:avLst/>
                <a:gdLst>
                  <a:gd name="T0" fmla="*/ 69 w 83"/>
                  <a:gd name="T1" fmla="*/ 0 h 95"/>
                  <a:gd name="T2" fmla="*/ 41 w 83"/>
                  <a:gd name="T3" fmla="*/ 6 h 95"/>
                  <a:gd name="T4" fmla="*/ 31 w 83"/>
                  <a:gd name="T5" fmla="*/ 0 h 95"/>
                  <a:gd name="T6" fmla="*/ 14 w 83"/>
                  <a:gd name="T7" fmla="*/ 24 h 95"/>
                  <a:gd name="T8" fmla="*/ 8 w 83"/>
                  <a:gd name="T9" fmla="*/ 18 h 95"/>
                  <a:gd name="T10" fmla="*/ 0 w 83"/>
                  <a:gd name="T11" fmla="*/ 34 h 95"/>
                  <a:gd name="T12" fmla="*/ 9 w 83"/>
                  <a:gd name="T13" fmla="*/ 43 h 95"/>
                  <a:gd name="T14" fmla="*/ 9 w 83"/>
                  <a:gd name="T15" fmla="*/ 82 h 95"/>
                  <a:gd name="T16" fmla="*/ 17 w 83"/>
                  <a:gd name="T17" fmla="*/ 95 h 95"/>
                  <a:gd name="T18" fmla="*/ 59 w 83"/>
                  <a:gd name="T19" fmla="*/ 43 h 95"/>
                  <a:gd name="T20" fmla="*/ 75 w 83"/>
                  <a:gd name="T21" fmla="*/ 43 h 95"/>
                  <a:gd name="T22" fmla="*/ 83 w 83"/>
                  <a:gd name="T23" fmla="*/ 28 h 95"/>
                  <a:gd name="T24" fmla="*/ 80 w 83"/>
                  <a:gd name="T25" fmla="*/ 21 h 95"/>
                  <a:gd name="T26" fmla="*/ 69 w 83"/>
                  <a:gd name="T27"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95">
                    <a:moveTo>
                      <a:pt x="69" y="0"/>
                    </a:moveTo>
                    <a:lnTo>
                      <a:pt x="41" y="6"/>
                    </a:lnTo>
                    <a:lnTo>
                      <a:pt x="31" y="0"/>
                    </a:lnTo>
                    <a:lnTo>
                      <a:pt x="14" y="24"/>
                    </a:lnTo>
                    <a:lnTo>
                      <a:pt x="8" y="18"/>
                    </a:lnTo>
                    <a:lnTo>
                      <a:pt x="0" y="34"/>
                    </a:lnTo>
                    <a:lnTo>
                      <a:pt x="9" y="43"/>
                    </a:lnTo>
                    <a:lnTo>
                      <a:pt x="9" y="82"/>
                    </a:lnTo>
                    <a:lnTo>
                      <a:pt x="17" y="95"/>
                    </a:lnTo>
                    <a:lnTo>
                      <a:pt x="59" y="43"/>
                    </a:lnTo>
                    <a:lnTo>
                      <a:pt x="75" y="43"/>
                    </a:lnTo>
                    <a:lnTo>
                      <a:pt x="83" y="28"/>
                    </a:lnTo>
                    <a:lnTo>
                      <a:pt x="80" y="21"/>
                    </a:lnTo>
                    <a:lnTo>
                      <a:pt x="69" y="0"/>
                    </a:lnTo>
                    <a:close/>
                  </a:path>
                </a:pathLst>
              </a:custGeom>
              <a:grpFill/>
              <a:ln w="3175" cap="flat" cmpd="sng" algn="ctr">
                <a:solidFill>
                  <a:srgbClr val="FFFFFF"/>
                </a:solidFill>
                <a:prstDash val="solid"/>
              </a:ln>
              <a:effectLst/>
              <a:extLst/>
            </p:spPr>
            <p:txBody>
              <a:bodyPr rtlCol="0" anchor="ctr"/>
              <a:lstStyle/>
              <a:p>
                <a:pPr algn="ctr" fontAlgn="base">
                  <a:spcBef>
                    <a:spcPct val="50000"/>
                  </a:spcBef>
                  <a:spcAft>
                    <a:spcPct val="0"/>
                  </a:spcAft>
                  <a:defRPr/>
                </a:pPr>
                <a:endParaRPr lang="de-CH" kern="0" dirty="0" smtClean="0">
                  <a:solidFill>
                    <a:srgbClr val="FFFFFF"/>
                  </a:solidFill>
                  <a:latin typeface="Arial"/>
                </a:endParaRPr>
              </a:p>
            </p:txBody>
          </p:sp>
          <p:sp>
            <p:nvSpPr>
              <p:cNvPr id="189" name="Freeform 188" descr="80%"/>
              <p:cNvSpPr>
                <a:spLocks noChangeAspect="1"/>
              </p:cNvSpPr>
              <p:nvPr/>
            </p:nvSpPr>
            <p:spPr bwMode="auto">
              <a:xfrm>
                <a:off x="3930728" y="2840718"/>
                <a:ext cx="182" cy="169"/>
              </a:xfrm>
              <a:custGeom>
                <a:avLst/>
                <a:gdLst>
                  <a:gd name="T0" fmla="*/ 262 w 271"/>
                  <a:gd name="T1" fmla="*/ 256 h 272"/>
                  <a:gd name="T2" fmla="*/ 260 w 271"/>
                  <a:gd name="T3" fmla="*/ 241 h 272"/>
                  <a:gd name="T4" fmla="*/ 269 w 271"/>
                  <a:gd name="T5" fmla="*/ 226 h 272"/>
                  <a:gd name="T6" fmla="*/ 269 w 271"/>
                  <a:gd name="T7" fmla="*/ 206 h 272"/>
                  <a:gd name="T8" fmla="*/ 250 w 271"/>
                  <a:gd name="T9" fmla="*/ 191 h 272"/>
                  <a:gd name="T10" fmla="*/ 243 w 271"/>
                  <a:gd name="T11" fmla="*/ 182 h 272"/>
                  <a:gd name="T12" fmla="*/ 238 w 271"/>
                  <a:gd name="T13" fmla="*/ 155 h 272"/>
                  <a:gd name="T14" fmla="*/ 227 w 271"/>
                  <a:gd name="T15" fmla="*/ 132 h 272"/>
                  <a:gd name="T16" fmla="*/ 214 w 271"/>
                  <a:gd name="T17" fmla="*/ 114 h 272"/>
                  <a:gd name="T18" fmla="*/ 214 w 271"/>
                  <a:gd name="T19" fmla="*/ 98 h 272"/>
                  <a:gd name="T20" fmla="*/ 222 w 271"/>
                  <a:gd name="T21" fmla="*/ 87 h 272"/>
                  <a:gd name="T22" fmla="*/ 252 w 271"/>
                  <a:gd name="T23" fmla="*/ 90 h 272"/>
                  <a:gd name="T24" fmla="*/ 264 w 271"/>
                  <a:gd name="T25" fmla="*/ 74 h 272"/>
                  <a:gd name="T26" fmla="*/ 271 w 271"/>
                  <a:gd name="T27" fmla="*/ 34 h 272"/>
                  <a:gd name="T28" fmla="*/ 269 w 271"/>
                  <a:gd name="T29" fmla="*/ 21 h 272"/>
                  <a:gd name="T30" fmla="*/ 255 w 271"/>
                  <a:gd name="T31" fmla="*/ 19 h 272"/>
                  <a:gd name="T32" fmla="*/ 230 w 271"/>
                  <a:gd name="T33" fmla="*/ 21 h 272"/>
                  <a:gd name="T34" fmla="*/ 194 w 271"/>
                  <a:gd name="T35" fmla="*/ 21 h 272"/>
                  <a:gd name="T36" fmla="*/ 167 w 271"/>
                  <a:gd name="T37" fmla="*/ 9 h 272"/>
                  <a:gd name="T38" fmla="*/ 148 w 271"/>
                  <a:gd name="T39" fmla="*/ 3 h 272"/>
                  <a:gd name="T40" fmla="*/ 132 w 271"/>
                  <a:gd name="T41" fmla="*/ 0 h 272"/>
                  <a:gd name="T42" fmla="*/ 116 w 271"/>
                  <a:gd name="T43" fmla="*/ 24 h 272"/>
                  <a:gd name="T44" fmla="*/ 97 w 271"/>
                  <a:gd name="T45" fmla="*/ 40 h 272"/>
                  <a:gd name="T46" fmla="*/ 69 w 271"/>
                  <a:gd name="T47" fmla="*/ 37 h 272"/>
                  <a:gd name="T48" fmla="*/ 52 w 271"/>
                  <a:gd name="T49" fmla="*/ 50 h 272"/>
                  <a:gd name="T50" fmla="*/ 26 w 271"/>
                  <a:gd name="T51" fmla="*/ 80 h 272"/>
                  <a:gd name="T52" fmla="*/ 5 w 271"/>
                  <a:gd name="T53" fmla="*/ 98 h 272"/>
                  <a:gd name="T54" fmla="*/ 0 w 271"/>
                  <a:gd name="T55" fmla="*/ 111 h 272"/>
                  <a:gd name="T56" fmla="*/ 12 w 271"/>
                  <a:gd name="T57" fmla="*/ 135 h 272"/>
                  <a:gd name="T58" fmla="*/ 24 w 271"/>
                  <a:gd name="T59" fmla="*/ 167 h 272"/>
                  <a:gd name="T60" fmla="*/ 38 w 271"/>
                  <a:gd name="T61" fmla="*/ 185 h 272"/>
                  <a:gd name="T62" fmla="*/ 52 w 271"/>
                  <a:gd name="T63" fmla="*/ 179 h 272"/>
                  <a:gd name="T64" fmla="*/ 76 w 271"/>
                  <a:gd name="T65" fmla="*/ 169 h 272"/>
                  <a:gd name="T66" fmla="*/ 74 w 271"/>
                  <a:gd name="T67" fmla="*/ 195 h 272"/>
                  <a:gd name="T68" fmla="*/ 66 w 271"/>
                  <a:gd name="T69" fmla="*/ 226 h 272"/>
                  <a:gd name="T70" fmla="*/ 69 w 271"/>
                  <a:gd name="T71" fmla="*/ 232 h 272"/>
                  <a:gd name="T72" fmla="*/ 80 w 271"/>
                  <a:gd name="T73" fmla="*/ 232 h 272"/>
                  <a:gd name="T74" fmla="*/ 97 w 271"/>
                  <a:gd name="T75" fmla="*/ 226 h 272"/>
                  <a:gd name="T76" fmla="*/ 132 w 271"/>
                  <a:gd name="T77" fmla="*/ 231 h 272"/>
                  <a:gd name="T78" fmla="*/ 142 w 271"/>
                  <a:gd name="T79" fmla="*/ 245 h 272"/>
                  <a:gd name="T80" fmla="*/ 162 w 271"/>
                  <a:gd name="T81" fmla="*/ 253 h 272"/>
                  <a:gd name="T82" fmla="*/ 179 w 271"/>
                  <a:gd name="T83" fmla="*/ 272 h 272"/>
                  <a:gd name="T84" fmla="*/ 190 w 271"/>
                  <a:gd name="T85" fmla="*/ 269 h 272"/>
                  <a:gd name="T86" fmla="*/ 212 w 271"/>
                  <a:gd name="T87" fmla="*/ 256 h 272"/>
                  <a:gd name="T88" fmla="*/ 233 w 271"/>
                  <a:gd name="T89" fmla="*/ 253 h 272"/>
                  <a:gd name="T90" fmla="*/ 262 w 271"/>
                  <a:gd name="T91" fmla="*/ 25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1" h="272">
                    <a:moveTo>
                      <a:pt x="262" y="256"/>
                    </a:moveTo>
                    <a:lnTo>
                      <a:pt x="260" y="241"/>
                    </a:lnTo>
                    <a:lnTo>
                      <a:pt x="269" y="226"/>
                    </a:lnTo>
                    <a:lnTo>
                      <a:pt x="269" y="206"/>
                    </a:lnTo>
                    <a:lnTo>
                      <a:pt x="250" y="191"/>
                    </a:lnTo>
                    <a:lnTo>
                      <a:pt x="243" y="182"/>
                    </a:lnTo>
                    <a:lnTo>
                      <a:pt x="238" y="155"/>
                    </a:lnTo>
                    <a:lnTo>
                      <a:pt x="227" y="132"/>
                    </a:lnTo>
                    <a:lnTo>
                      <a:pt x="214" y="114"/>
                    </a:lnTo>
                    <a:lnTo>
                      <a:pt x="214" y="98"/>
                    </a:lnTo>
                    <a:lnTo>
                      <a:pt x="222" y="87"/>
                    </a:lnTo>
                    <a:lnTo>
                      <a:pt x="252" y="90"/>
                    </a:lnTo>
                    <a:lnTo>
                      <a:pt x="264" y="74"/>
                    </a:lnTo>
                    <a:lnTo>
                      <a:pt x="271" y="34"/>
                    </a:lnTo>
                    <a:lnTo>
                      <a:pt x="269" y="21"/>
                    </a:lnTo>
                    <a:lnTo>
                      <a:pt x="255" y="19"/>
                    </a:lnTo>
                    <a:lnTo>
                      <a:pt x="230" y="21"/>
                    </a:lnTo>
                    <a:lnTo>
                      <a:pt x="194" y="21"/>
                    </a:lnTo>
                    <a:lnTo>
                      <a:pt x="167" y="9"/>
                    </a:lnTo>
                    <a:lnTo>
                      <a:pt x="148" y="3"/>
                    </a:lnTo>
                    <a:lnTo>
                      <a:pt x="132" y="0"/>
                    </a:lnTo>
                    <a:lnTo>
                      <a:pt x="116" y="24"/>
                    </a:lnTo>
                    <a:lnTo>
                      <a:pt x="97" y="40"/>
                    </a:lnTo>
                    <a:lnTo>
                      <a:pt x="69" y="37"/>
                    </a:lnTo>
                    <a:lnTo>
                      <a:pt x="52" y="50"/>
                    </a:lnTo>
                    <a:lnTo>
                      <a:pt x="26" y="80"/>
                    </a:lnTo>
                    <a:lnTo>
                      <a:pt x="5" y="98"/>
                    </a:lnTo>
                    <a:lnTo>
                      <a:pt x="0" y="111"/>
                    </a:lnTo>
                    <a:lnTo>
                      <a:pt x="12" y="135"/>
                    </a:lnTo>
                    <a:lnTo>
                      <a:pt x="24" y="167"/>
                    </a:lnTo>
                    <a:lnTo>
                      <a:pt x="38" y="185"/>
                    </a:lnTo>
                    <a:lnTo>
                      <a:pt x="52" y="179"/>
                    </a:lnTo>
                    <a:lnTo>
                      <a:pt x="76" y="169"/>
                    </a:lnTo>
                    <a:lnTo>
                      <a:pt x="74" y="195"/>
                    </a:lnTo>
                    <a:lnTo>
                      <a:pt x="66" y="226"/>
                    </a:lnTo>
                    <a:lnTo>
                      <a:pt x="69" y="232"/>
                    </a:lnTo>
                    <a:lnTo>
                      <a:pt x="80" y="232"/>
                    </a:lnTo>
                    <a:lnTo>
                      <a:pt x="97" y="226"/>
                    </a:lnTo>
                    <a:lnTo>
                      <a:pt x="132" y="231"/>
                    </a:lnTo>
                    <a:lnTo>
                      <a:pt x="142" y="245"/>
                    </a:lnTo>
                    <a:lnTo>
                      <a:pt x="162" y="253"/>
                    </a:lnTo>
                    <a:lnTo>
                      <a:pt x="179" y="272"/>
                    </a:lnTo>
                    <a:lnTo>
                      <a:pt x="190" y="269"/>
                    </a:lnTo>
                    <a:lnTo>
                      <a:pt x="212" y="256"/>
                    </a:lnTo>
                    <a:lnTo>
                      <a:pt x="233" y="253"/>
                    </a:lnTo>
                    <a:lnTo>
                      <a:pt x="262" y="256"/>
                    </a:lnTo>
                    <a:close/>
                  </a:path>
                </a:pathLst>
              </a:custGeom>
              <a:solidFill>
                <a:srgbClr val="1F497D"/>
              </a:solidFill>
              <a:ln w="3175" cap="flat" cmpd="sng" algn="ctr">
                <a:solidFill>
                  <a:srgbClr val="FFFFFF"/>
                </a:solidFill>
                <a:prstDash val="solid"/>
              </a:ln>
              <a:effectLst/>
              <a:extLst/>
            </p:spPr>
            <p:txBody>
              <a:bodyPr rtlCol="0" anchor="ctr"/>
              <a:lstStyle/>
              <a:p>
                <a:pPr algn="ctr" fontAlgn="base">
                  <a:spcBef>
                    <a:spcPct val="50000"/>
                  </a:spcBef>
                  <a:spcAft>
                    <a:spcPct val="0"/>
                  </a:spcAft>
                  <a:defRPr/>
                </a:pPr>
                <a:endParaRPr lang="de-CH" kern="0" dirty="0" smtClean="0">
                  <a:solidFill>
                    <a:srgbClr val="FFFFFF"/>
                  </a:solidFill>
                  <a:latin typeface="Arial"/>
                </a:endParaRPr>
              </a:p>
            </p:txBody>
          </p:sp>
        </p:grpSp>
        <p:sp>
          <p:nvSpPr>
            <p:cNvPr id="166" name="LV"/>
            <p:cNvSpPr>
              <a:spLocks noChangeAspect="1"/>
            </p:cNvSpPr>
            <p:nvPr/>
          </p:nvSpPr>
          <p:spPr bwMode="auto">
            <a:xfrm>
              <a:off x="4969583" y="3881920"/>
              <a:ext cx="335843" cy="155206"/>
            </a:xfrm>
            <a:custGeom>
              <a:avLst/>
              <a:gdLst>
                <a:gd name="T0" fmla="*/ 115 w 468"/>
                <a:gd name="T1" fmla="*/ 93 h 275"/>
                <a:gd name="T2" fmla="*/ 105 w 468"/>
                <a:gd name="T3" fmla="*/ 56 h 275"/>
                <a:gd name="T4" fmla="*/ 74 w 468"/>
                <a:gd name="T5" fmla="*/ 37 h 275"/>
                <a:gd name="T6" fmla="*/ 41 w 468"/>
                <a:gd name="T7" fmla="*/ 66 h 275"/>
                <a:gd name="T8" fmla="*/ 21 w 468"/>
                <a:gd name="T9" fmla="*/ 127 h 275"/>
                <a:gd name="T10" fmla="*/ 16 w 468"/>
                <a:gd name="T11" fmla="*/ 148 h 275"/>
                <a:gd name="T12" fmla="*/ 0 w 468"/>
                <a:gd name="T13" fmla="*/ 170 h 275"/>
                <a:gd name="T14" fmla="*/ 5 w 468"/>
                <a:gd name="T15" fmla="*/ 212 h 275"/>
                <a:gd name="T16" fmla="*/ 19 w 468"/>
                <a:gd name="T17" fmla="*/ 241 h 275"/>
                <a:gd name="T18" fmla="*/ 60 w 468"/>
                <a:gd name="T19" fmla="*/ 217 h 275"/>
                <a:gd name="T20" fmla="*/ 88 w 468"/>
                <a:gd name="T21" fmla="*/ 212 h 275"/>
                <a:gd name="T22" fmla="*/ 124 w 468"/>
                <a:gd name="T23" fmla="*/ 222 h 275"/>
                <a:gd name="T24" fmla="*/ 159 w 468"/>
                <a:gd name="T25" fmla="*/ 212 h 275"/>
                <a:gd name="T26" fmla="*/ 182 w 468"/>
                <a:gd name="T27" fmla="*/ 219 h 275"/>
                <a:gd name="T28" fmla="*/ 212 w 468"/>
                <a:gd name="T29" fmla="*/ 212 h 275"/>
                <a:gd name="T30" fmla="*/ 248 w 468"/>
                <a:gd name="T31" fmla="*/ 209 h 275"/>
                <a:gd name="T32" fmla="*/ 283 w 468"/>
                <a:gd name="T33" fmla="*/ 235 h 275"/>
                <a:gd name="T34" fmla="*/ 330 w 468"/>
                <a:gd name="T35" fmla="*/ 258 h 275"/>
                <a:gd name="T36" fmla="*/ 358 w 468"/>
                <a:gd name="T37" fmla="*/ 275 h 275"/>
                <a:gd name="T38" fmla="*/ 400 w 468"/>
                <a:gd name="T39" fmla="*/ 262 h 275"/>
                <a:gd name="T40" fmla="*/ 421 w 468"/>
                <a:gd name="T41" fmla="*/ 238 h 275"/>
                <a:gd name="T42" fmla="*/ 461 w 468"/>
                <a:gd name="T43" fmla="*/ 191 h 275"/>
                <a:gd name="T44" fmla="*/ 463 w 468"/>
                <a:gd name="T45" fmla="*/ 130 h 275"/>
                <a:gd name="T46" fmla="*/ 430 w 468"/>
                <a:gd name="T47" fmla="*/ 98 h 275"/>
                <a:gd name="T48" fmla="*/ 412 w 468"/>
                <a:gd name="T49" fmla="*/ 47 h 275"/>
                <a:gd name="T50" fmla="*/ 382 w 468"/>
                <a:gd name="T51" fmla="*/ 27 h 275"/>
                <a:gd name="T52" fmla="*/ 328 w 468"/>
                <a:gd name="T53" fmla="*/ 43 h 275"/>
                <a:gd name="T54" fmla="*/ 297 w 468"/>
                <a:gd name="T55" fmla="*/ 27 h 275"/>
                <a:gd name="T56" fmla="*/ 269 w 468"/>
                <a:gd name="T57" fmla="*/ 6 h 275"/>
                <a:gd name="T58" fmla="*/ 241 w 468"/>
                <a:gd name="T59" fmla="*/ 0 h 275"/>
                <a:gd name="T60" fmla="*/ 211 w 468"/>
                <a:gd name="T61" fmla="*/ 6 h 275"/>
                <a:gd name="T62" fmla="*/ 196 w 468"/>
                <a:gd name="T63" fmla="*/ 27 h 275"/>
                <a:gd name="T64" fmla="*/ 201 w 468"/>
                <a:gd name="T65" fmla="*/ 87 h 275"/>
                <a:gd name="T66" fmla="*/ 182 w 468"/>
                <a:gd name="T67" fmla="*/ 121 h 275"/>
                <a:gd name="T68" fmla="*/ 162 w 468"/>
                <a:gd name="T69" fmla="*/ 12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275">
                  <a:moveTo>
                    <a:pt x="138" y="108"/>
                  </a:moveTo>
                  <a:lnTo>
                    <a:pt x="115" y="93"/>
                  </a:lnTo>
                  <a:lnTo>
                    <a:pt x="110" y="74"/>
                  </a:lnTo>
                  <a:lnTo>
                    <a:pt x="105" y="56"/>
                  </a:lnTo>
                  <a:lnTo>
                    <a:pt x="93" y="37"/>
                  </a:lnTo>
                  <a:lnTo>
                    <a:pt x="74" y="37"/>
                  </a:lnTo>
                  <a:lnTo>
                    <a:pt x="60" y="46"/>
                  </a:lnTo>
                  <a:lnTo>
                    <a:pt x="41" y="66"/>
                  </a:lnTo>
                  <a:lnTo>
                    <a:pt x="19" y="114"/>
                  </a:lnTo>
                  <a:lnTo>
                    <a:pt x="21" y="127"/>
                  </a:lnTo>
                  <a:lnTo>
                    <a:pt x="21" y="140"/>
                  </a:lnTo>
                  <a:lnTo>
                    <a:pt x="16" y="148"/>
                  </a:lnTo>
                  <a:lnTo>
                    <a:pt x="7" y="158"/>
                  </a:lnTo>
                  <a:lnTo>
                    <a:pt x="0" y="170"/>
                  </a:lnTo>
                  <a:lnTo>
                    <a:pt x="5" y="182"/>
                  </a:lnTo>
                  <a:lnTo>
                    <a:pt x="5" y="212"/>
                  </a:lnTo>
                  <a:lnTo>
                    <a:pt x="8" y="235"/>
                  </a:lnTo>
                  <a:lnTo>
                    <a:pt x="19" y="241"/>
                  </a:lnTo>
                  <a:lnTo>
                    <a:pt x="38" y="232"/>
                  </a:lnTo>
                  <a:lnTo>
                    <a:pt x="60" y="217"/>
                  </a:lnTo>
                  <a:lnTo>
                    <a:pt x="70" y="207"/>
                  </a:lnTo>
                  <a:lnTo>
                    <a:pt x="88" y="212"/>
                  </a:lnTo>
                  <a:lnTo>
                    <a:pt x="107" y="217"/>
                  </a:lnTo>
                  <a:lnTo>
                    <a:pt x="124" y="222"/>
                  </a:lnTo>
                  <a:lnTo>
                    <a:pt x="135" y="228"/>
                  </a:lnTo>
                  <a:lnTo>
                    <a:pt x="159" y="212"/>
                  </a:lnTo>
                  <a:lnTo>
                    <a:pt x="170" y="212"/>
                  </a:lnTo>
                  <a:lnTo>
                    <a:pt x="182" y="219"/>
                  </a:lnTo>
                  <a:lnTo>
                    <a:pt x="198" y="225"/>
                  </a:lnTo>
                  <a:lnTo>
                    <a:pt x="212" y="212"/>
                  </a:lnTo>
                  <a:lnTo>
                    <a:pt x="234" y="207"/>
                  </a:lnTo>
                  <a:lnTo>
                    <a:pt x="248" y="209"/>
                  </a:lnTo>
                  <a:lnTo>
                    <a:pt x="259" y="232"/>
                  </a:lnTo>
                  <a:lnTo>
                    <a:pt x="283" y="235"/>
                  </a:lnTo>
                  <a:lnTo>
                    <a:pt x="311" y="232"/>
                  </a:lnTo>
                  <a:lnTo>
                    <a:pt x="330" y="258"/>
                  </a:lnTo>
                  <a:lnTo>
                    <a:pt x="344" y="272"/>
                  </a:lnTo>
                  <a:lnTo>
                    <a:pt x="358" y="275"/>
                  </a:lnTo>
                  <a:lnTo>
                    <a:pt x="379" y="265"/>
                  </a:lnTo>
                  <a:lnTo>
                    <a:pt x="400" y="262"/>
                  </a:lnTo>
                  <a:lnTo>
                    <a:pt x="414" y="251"/>
                  </a:lnTo>
                  <a:lnTo>
                    <a:pt x="421" y="238"/>
                  </a:lnTo>
                  <a:lnTo>
                    <a:pt x="447" y="207"/>
                  </a:lnTo>
                  <a:lnTo>
                    <a:pt x="461" y="191"/>
                  </a:lnTo>
                  <a:lnTo>
                    <a:pt x="468" y="167"/>
                  </a:lnTo>
                  <a:lnTo>
                    <a:pt x="463" y="130"/>
                  </a:lnTo>
                  <a:lnTo>
                    <a:pt x="452" y="121"/>
                  </a:lnTo>
                  <a:lnTo>
                    <a:pt x="430" y="98"/>
                  </a:lnTo>
                  <a:lnTo>
                    <a:pt x="421" y="74"/>
                  </a:lnTo>
                  <a:lnTo>
                    <a:pt x="412" y="47"/>
                  </a:lnTo>
                  <a:lnTo>
                    <a:pt x="393" y="29"/>
                  </a:lnTo>
                  <a:lnTo>
                    <a:pt x="382" y="27"/>
                  </a:lnTo>
                  <a:lnTo>
                    <a:pt x="344" y="29"/>
                  </a:lnTo>
                  <a:lnTo>
                    <a:pt x="328" y="43"/>
                  </a:lnTo>
                  <a:lnTo>
                    <a:pt x="316" y="47"/>
                  </a:lnTo>
                  <a:lnTo>
                    <a:pt x="297" y="27"/>
                  </a:lnTo>
                  <a:lnTo>
                    <a:pt x="281" y="19"/>
                  </a:lnTo>
                  <a:lnTo>
                    <a:pt x="269" y="6"/>
                  </a:lnTo>
                  <a:lnTo>
                    <a:pt x="262" y="3"/>
                  </a:lnTo>
                  <a:lnTo>
                    <a:pt x="241" y="0"/>
                  </a:lnTo>
                  <a:lnTo>
                    <a:pt x="225" y="6"/>
                  </a:lnTo>
                  <a:lnTo>
                    <a:pt x="211" y="6"/>
                  </a:lnTo>
                  <a:lnTo>
                    <a:pt x="203" y="13"/>
                  </a:lnTo>
                  <a:lnTo>
                    <a:pt x="196" y="27"/>
                  </a:lnTo>
                  <a:lnTo>
                    <a:pt x="196" y="56"/>
                  </a:lnTo>
                  <a:lnTo>
                    <a:pt x="201" y="87"/>
                  </a:lnTo>
                  <a:lnTo>
                    <a:pt x="201" y="101"/>
                  </a:lnTo>
                  <a:lnTo>
                    <a:pt x="182" y="121"/>
                  </a:lnTo>
                  <a:lnTo>
                    <a:pt x="170" y="133"/>
                  </a:lnTo>
                  <a:lnTo>
                    <a:pt x="162" y="120"/>
                  </a:lnTo>
                  <a:lnTo>
                    <a:pt x="138" y="108"/>
                  </a:lnTo>
                  <a:close/>
                </a:path>
              </a:pathLst>
            </a:custGeom>
            <a:solidFill>
              <a:srgbClr val="1F497D"/>
            </a:solidFill>
            <a:ln w="3175" cap="flat" cmpd="sng" algn="ctr">
              <a:solidFill>
                <a:srgbClr val="FFFFFF"/>
              </a:solidFill>
              <a:prstDash val="solid"/>
            </a:ln>
            <a:effectLst/>
            <a:extLst/>
          </p:spPr>
          <p:txBody>
            <a:bodyPr rtlCol="0" anchor="ctr"/>
            <a:lstStyle/>
            <a:p>
              <a:pPr algn="ctr" fontAlgn="base">
                <a:spcBef>
                  <a:spcPct val="50000"/>
                </a:spcBef>
                <a:spcAft>
                  <a:spcPct val="0"/>
                </a:spcAft>
                <a:defRPr/>
              </a:pPr>
              <a:endParaRPr lang="de-CH" kern="0" dirty="0" smtClean="0">
                <a:solidFill>
                  <a:srgbClr val="FFFFFF"/>
                </a:solidFill>
                <a:latin typeface="Arial"/>
              </a:endParaRPr>
            </a:p>
          </p:txBody>
        </p:sp>
        <p:sp>
          <p:nvSpPr>
            <p:cNvPr id="167" name="SK"/>
            <p:cNvSpPr>
              <a:spLocks noChangeAspect="1"/>
            </p:cNvSpPr>
            <p:nvPr/>
          </p:nvSpPr>
          <p:spPr bwMode="auto">
            <a:xfrm>
              <a:off x="4763324" y="4463661"/>
              <a:ext cx="318207" cy="126576"/>
            </a:xfrm>
            <a:custGeom>
              <a:avLst/>
              <a:gdLst>
                <a:gd name="T0" fmla="*/ 151 w 445"/>
                <a:gd name="T1" fmla="*/ 11 h 222"/>
                <a:gd name="T2" fmla="*/ 167 w 445"/>
                <a:gd name="T3" fmla="*/ 0 h 222"/>
                <a:gd name="T4" fmla="*/ 184 w 445"/>
                <a:gd name="T5" fmla="*/ 0 h 222"/>
                <a:gd name="T6" fmla="*/ 192 w 445"/>
                <a:gd name="T7" fmla="*/ 16 h 222"/>
                <a:gd name="T8" fmla="*/ 208 w 445"/>
                <a:gd name="T9" fmla="*/ 3 h 222"/>
                <a:gd name="T10" fmla="*/ 225 w 445"/>
                <a:gd name="T11" fmla="*/ 9 h 222"/>
                <a:gd name="T12" fmla="*/ 250 w 445"/>
                <a:gd name="T13" fmla="*/ 37 h 222"/>
                <a:gd name="T14" fmla="*/ 278 w 445"/>
                <a:gd name="T15" fmla="*/ 50 h 222"/>
                <a:gd name="T16" fmla="*/ 288 w 445"/>
                <a:gd name="T17" fmla="*/ 53 h 222"/>
                <a:gd name="T18" fmla="*/ 302 w 445"/>
                <a:gd name="T19" fmla="*/ 40 h 222"/>
                <a:gd name="T20" fmla="*/ 316 w 445"/>
                <a:gd name="T21" fmla="*/ 34 h 222"/>
                <a:gd name="T22" fmla="*/ 354 w 445"/>
                <a:gd name="T23" fmla="*/ 46 h 222"/>
                <a:gd name="T24" fmla="*/ 405 w 445"/>
                <a:gd name="T25" fmla="*/ 58 h 222"/>
                <a:gd name="T26" fmla="*/ 445 w 445"/>
                <a:gd name="T27" fmla="*/ 71 h 222"/>
                <a:gd name="T28" fmla="*/ 431 w 445"/>
                <a:gd name="T29" fmla="*/ 90 h 222"/>
                <a:gd name="T30" fmla="*/ 405 w 445"/>
                <a:gd name="T31" fmla="*/ 120 h 222"/>
                <a:gd name="T32" fmla="*/ 398 w 445"/>
                <a:gd name="T33" fmla="*/ 129 h 222"/>
                <a:gd name="T34" fmla="*/ 401 w 445"/>
                <a:gd name="T35" fmla="*/ 151 h 222"/>
                <a:gd name="T36" fmla="*/ 382 w 445"/>
                <a:gd name="T37" fmla="*/ 151 h 222"/>
                <a:gd name="T38" fmla="*/ 363 w 445"/>
                <a:gd name="T39" fmla="*/ 135 h 222"/>
                <a:gd name="T40" fmla="*/ 344 w 445"/>
                <a:gd name="T41" fmla="*/ 129 h 222"/>
                <a:gd name="T42" fmla="*/ 295 w 445"/>
                <a:gd name="T43" fmla="*/ 142 h 222"/>
                <a:gd name="T44" fmla="*/ 282 w 445"/>
                <a:gd name="T45" fmla="*/ 155 h 222"/>
                <a:gd name="T46" fmla="*/ 268 w 445"/>
                <a:gd name="T47" fmla="*/ 175 h 222"/>
                <a:gd name="T48" fmla="*/ 241 w 445"/>
                <a:gd name="T49" fmla="*/ 194 h 222"/>
                <a:gd name="T50" fmla="*/ 226 w 445"/>
                <a:gd name="T51" fmla="*/ 194 h 222"/>
                <a:gd name="T52" fmla="*/ 210 w 445"/>
                <a:gd name="T53" fmla="*/ 178 h 222"/>
                <a:gd name="T54" fmla="*/ 196 w 445"/>
                <a:gd name="T55" fmla="*/ 178 h 222"/>
                <a:gd name="T56" fmla="*/ 145 w 445"/>
                <a:gd name="T57" fmla="*/ 205 h 222"/>
                <a:gd name="T58" fmla="*/ 121 w 445"/>
                <a:gd name="T59" fmla="*/ 219 h 222"/>
                <a:gd name="T60" fmla="*/ 103 w 445"/>
                <a:gd name="T61" fmla="*/ 222 h 222"/>
                <a:gd name="T62" fmla="*/ 63 w 445"/>
                <a:gd name="T63" fmla="*/ 219 h 222"/>
                <a:gd name="T64" fmla="*/ 46 w 445"/>
                <a:gd name="T65" fmla="*/ 219 h 222"/>
                <a:gd name="T66" fmla="*/ 34 w 445"/>
                <a:gd name="T67" fmla="*/ 198 h 222"/>
                <a:gd name="T68" fmla="*/ 27 w 445"/>
                <a:gd name="T69" fmla="*/ 191 h 222"/>
                <a:gd name="T70" fmla="*/ 13 w 445"/>
                <a:gd name="T71" fmla="*/ 182 h 222"/>
                <a:gd name="T72" fmla="*/ 6 w 445"/>
                <a:gd name="T73" fmla="*/ 172 h 222"/>
                <a:gd name="T74" fmla="*/ 0 w 445"/>
                <a:gd name="T75" fmla="*/ 151 h 222"/>
                <a:gd name="T76" fmla="*/ 0 w 445"/>
                <a:gd name="T77" fmla="*/ 127 h 222"/>
                <a:gd name="T78" fmla="*/ 43 w 445"/>
                <a:gd name="T79" fmla="*/ 107 h 222"/>
                <a:gd name="T80" fmla="*/ 91 w 445"/>
                <a:gd name="T81" fmla="*/ 107 h 222"/>
                <a:gd name="T82" fmla="*/ 120 w 445"/>
                <a:gd name="T83" fmla="*/ 77 h 222"/>
                <a:gd name="T84" fmla="*/ 124 w 445"/>
                <a:gd name="T85" fmla="*/ 26 h 222"/>
                <a:gd name="T86" fmla="*/ 151 w 445"/>
                <a:gd name="T87" fmla="*/ 11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222">
                  <a:moveTo>
                    <a:pt x="151" y="11"/>
                  </a:moveTo>
                  <a:lnTo>
                    <a:pt x="167" y="0"/>
                  </a:lnTo>
                  <a:lnTo>
                    <a:pt x="184" y="0"/>
                  </a:lnTo>
                  <a:lnTo>
                    <a:pt x="192" y="16"/>
                  </a:lnTo>
                  <a:lnTo>
                    <a:pt x="208" y="3"/>
                  </a:lnTo>
                  <a:lnTo>
                    <a:pt x="225" y="9"/>
                  </a:lnTo>
                  <a:lnTo>
                    <a:pt x="250" y="37"/>
                  </a:lnTo>
                  <a:lnTo>
                    <a:pt x="278" y="50"/>
                  </a:lnTo>
                  <a:lnTo>
                    <a:pt x="288" y="53"/>
                  </a:lnTo>
                  <a:lnTo>
                    <a:pt x="302" y="40"/>
                  </a:lnTo>
                  <a:lnTo>
                    <a:pt x="316" y="34"/>
                  </a:lnTo>
                  <a:lnTo>
                    <a:pt x="354" y="46"/>
                  </a:lnTo>
                  <a:lnTo>
                    <a:pt x="405" y="58"/>
                  </a:lnTo>
                  <a:lnTo>
                    <a:pt x="445" y="71"/>
                  </a:lnTo>
                  <a:lnTo>
                    <a:pt x="431" y="90"/>
                  </a:lnTo>
                  <a:lnTo>
                    <a:pt x="405" y="120"/>
                  </a:lnTo>
                  <a:lnTo>
                    <a:pt x="398" y="129"/>
                  </a:lnTo>
                  <a:lnTo>
                    <a:pt x="401" y="151"/>
                  </a:lnTo>
                  <a:lnTo>
                    <a:pt x="382" y="151"/>
                  </a:lnTo>
                  <a:lnTo>
                    <a:pt x="363" y="135"/>
                  </a:lnTo>
                  <a:lnTo>
                    <a:pt x="344" y="129"/>
                  </a:lnTo>
                  <a:lnTo>
                    <a:pt x="295" y="142"/>
                  </a:lnTo>
                  <a:lnTo>
                    <a:pt x="282" y="155"/>
                  </a:lnTo>
                  <a:lnTo>
                    <a:pt x="268" y="175"/>
                  </a:lnTo>
                  <a:lnTo>
                    <a:pt x="241" y="194"/>
                  </a:lnTo>
                  <a:lnTo>
                    <a:pt x="226" y="194"/>
                  </a:lnTo>
                  <a:lnTo>
                    <a:pt x="210" y="178"/>
                  </a:lnTo>
                  <a:lnTo>
                    <a:pt x="196" y="178"/>
                  </a:lnTo>
                  <a:lnTo>
                    <a:pt x="145" y="205"/>
                  </a:lnTo>
                  <a:lnTo>
                    <a:pt x="121" y="219"/>
                  </a:lnTo>
                  <a:lnTo>
                    <a:pt x="103" y="222"/>
                  </a:lnTo>
                  <a:lnTo>
                    <a:pt x="63" y="219"/>
                  </a:lnTo>
                  <a:lnTo>
                    <a:pt x="46" y="219"/>
                  </a:lnTo>
                  <a:lnTo>
                    <a:pt x="34" y="198"/>
                  </a:lnTo>
                  <a:lnTo>
                    <a:pt x="27" y="191"/>
                  </a:lnTo>
                  <a:lnTo>
                    <a:pt x="13" y="182"/>
                  </a:lnTo>
                  <a:lnTo>
                    <a:pt x="6" y="172"/>
                  </a:lnTo>
                  <a:lnTo>
                    <a:pt x="0" y="151"/>
                  </a:lnTo>
                  <a:lnTo>
                    <a:pt x="0" y="127"/>
                  </a:lnTo>
                  <a:lnTo>
                    <a:pt x="43" y="107"/>
                  </a:lnTo>
                  <a:lnTo>
                    <a:pt x="91" y="107"/>
                  </a:lnTo>
                  <a:lnTo>
                    <a:pt x="120" y="77"/>
                  </a:lnTo>
                  <a:lnTo>
                    <a:pt x="124" y="26"/>
                  </a:lnTo>
                  <a:lnTo>
                    <a:pt x="151" y="11"/>
                  </a:lnTo>
                  <a:close/>
                </a:path>
              </a:pathLst>
            </a:custGeom>
            <a:solidFill>
              <a:schemeClr val="tx1">
                <a:lumMod val="65000"/>
                <a:lumOff val="35000"/>
              </a:schemeClr>
            </a:solid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68" name="xb"/>
            <p:cNvSpPr>
              <a:spLocks noChangeAspect="1"/>
            </p:cNvSpPr>
            <p:nvPr/>
          </p:nvSpPr>
          <p:spPr bwMode="auto">
            <a:xfrm>
              <a:off x="5291270" y="4539941"/>
              <a:ext cx="213344" cy="208843"/>
            </a:xfrm>
            <a:custGeom>
              <a:avLst/>
              <a:gdLst>
                <a:gd name="T0" fmla="*/ 153 w 285"/>
                <a:gd name="T1" fmla="*/ 355 h 355"/>
                <a:gd name="T2" fmla="*/ 136 w 285"/>
                <a:gd name="T3" fmla="*/ 335 h 355"/>
                <a:gd name="T4" fmla="*/ 133 w 285"/>
                <a:gd name="T5" fmla="*/ 288 h 355"/>
                <a:gd name="T6" fmla="*/ 115 w 285"/>
                <a:gd name="T7" fmla="*/ 254 h 355"/>
                <a:gd name="T8" fmla="*/ 114 w 285"/>
                <a:gd name="T9" fmla="*/ 224 h 355"/>
                <a:gd name="T10" fmla="*/ 119 w 285"/>
                <a:gd name="T11" fmla="*/ 202 h 355"/>
                <a:gd name="T12" fmla="*/ 104 w 285"/>
                <a:gd name="T13" fmla="*/ 171 h 355"/>
                <a:gd name="T14" fmla="*/ 85 w 285"/>
                <a:gd name="T15" fmla="*/ 147 h 355"/>
                <a:gd name="T16" fmla="*/ 77 w 285"/>
                <a:gd name="T17" fmla="*/ 121 h 355"/>
                <a:gd name="T18" fmla="*/ 73 w 285"/>
                <a:gd name="T19" fmla="*/ 104 h 355"/>
                <a:gd name="T20" fmla="*/ 50 w 285"/>
                <a:gd name="T21" fmla="*/ 87 h 355"/>
                <a:gd name="T22" fmla="*/ 38 w 285"/>
                <a:gd name="T23" fmla="*/ 64 h 355"/>
                <a:gd name="T24" fmla="*/ 24 w 285"/>
                <a:gd name="T25" fmla="*/ 39 h 355"/>
                <a:gd name="T26" fmla="*/ 0 w 285"/>
                <a:gd name="T27" fmla="*/ 22 h 355"/>
                <a:gd name="T28" fmla="*/ 38 w 285"/>
                <a:gd name="T29" fmla="*/ 0 h 355"/>
                <a:gd name="T30" fmla="*/ 68 w 285"/>
                <a:gd name="T31" fmla="*/ 5 h 355"/>
                <a:gd name="T32" fmla="*/ 87 w 285"/>
                <a:gd name="T33" fmla="*/ 9 h 355"/>
                <a:gd name="T34" fmla="*/ 136 w 285"/>
                <a:gd name="T35" fmla="*/ 49 h 355"/>
                <a:gd name="T36" fmla="*/ 148 w 285"/>
                <a:gd name="T37" fmla="*/ 56 h 355"/>
                <a:gd name="T38" fmla="*/ 183 w 285"/>
                <a:gd name="T39" fmla="*/ 64 h 355"/>
                <a:gd name="T40" fmla="*/ 205 w 285"/>
                <a:gd name="T41" fmla="*/ 99 h 355"/>
                <a:gd name="T42" fmla="*/ 195 w 285"/>
                <a:gd name="T43" fmla="*/ 124 h 355"/>
                <a:gd name="T44" fmla="*/ 209 w 285"/>
                <a:gd name="T45" fmla="*/ 158 h 355"/>
                <a:gd name="T46" fmla="*/ 243 w 285"/>
                <a:gd name="T47" fmla="*/ 184 h 355"/>
                <a:gd name="T48" fmla="*/ 256 w 285"/>
                <a:gd name="T49" fmla="*/ 205 h 355"/>
                <a:gd name="T50" fmla="*/ 277 w 285"/>
                <a:gd name="T51" fmla="*/ 214 h 355"/>
                <a:gd name="T52" fmla="*/ 285 w 285"/>
                <a:gd name="T53" fmla="*/ 215 h 355"/>
                <a:gd name="T54" fmla="*/ 271 w 285"/>
                <a:gd name="T55" fmla="*/ 227 h 355"/>
                <a:gd name="T56" fmla="*/ 235 w 285"/>
                <a:gd name="T57" fmla="*/ 227 h 355"/>
                <a:gd name="T58" fmla="*/ 205 w 285"/>
                <a:gd name="T59" fmla="*/ 224 h 355"/>
                <a:gd name="T60" fmla="*/ 191 w 285"/>
                <a:gd name="T61" fmla="*/ 231 h 355"/>
                <a:gd name="T62" fmla="*/ 195 w 285"/>
                <a:gd name="T63" fmla="*/ 269 h 355"/>
                <a:gd name="T64" fmla="*/ 190 w 285"/>
                <a:gd name="T65" fmla="*/ 299 h 355"/>
                <a:gd name="T66" fmla="*/ 159 w 285"/>
                <a:gd name="T67" fmla="*/ 335 h 355"/>
                <a:gd name="T68" fmla="*/ 153 w 285"/>
                <a:gd name="T6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355">
                  <a:moveTo>
                    <a:pt x="153" y="355"/>
                  </a:moveTo>
                  <a:lnTo>
                    <a:pt x="136" y="335"/>
                  </a:lnTo>
                  <a:lnTo>
                    <a:pt x="133" y="288"/>
                  </a:lnTo>
                  <a:lnTo>
                    <a:pt x="115" y="254"/>
                  </a:lnTo>
                  <a:lnTo>
                    <a:pt x="114" y="224"/>
                  </a:lnTo>
                  <a:lnTo>
                    <a:pt x="119" y="202"/>
                  </a:lnTo>
                  <a:lnTo>
                    <a:pt x="104" y="171"/>
                  </a:lnTo>
                  <a:lnTo>
                    <a:pt x="85" y="147"/>
                  </a:lnTo>
                  <a:lnTo>
                    <a:pt x="77" y="121"/>
                  </a:lnTo>
                  <a:lnTo>
                    <a:pt x="73" y="104"/>
                  </a:lnTo>
                  <a:lnTo>
                    <a:pt x="50" y="87"/>
                  </a:lnTo>
                  <a:lnTo>
                    <a:pt x="38" y="64"/>
                  </a:lnTo>
                  <a:lnTo>
                    <a:pt x="24" y="39"/>
                  </a:lnTo>
                  <a:lnTo>
                    <a:pt x="0" y="22"/>
                  </a:lnTo>
                  <a:lnTo>
                    <a:pt x="38" y="0"/>
                  </a:lnTo>
                  <a:lnTo>
                    <a:pt x="68" y="5"/>
                  </a:lnTo>
                  <a:lnTo>
                    <a:pt x="87" y="9"/>
                  </a:lnTo>
                  <a:lnTo>
                    <a:pt x="136" y="49"/>
                  </a:lnTo>
                  <a:lnTo>
                    <a:pt x="148" y="56"/>
                  </a:lnTo>
                  <a:lnTo>
                    <a:pt x="183" y="64"/>
                  </a:lnTo>
                  <a:lnTo>
                    <a:pt x="205" y="99"/>
                  </a:lnTo>
                  <a:lnTo>
                    <a:pt x="195" y="124"/>
                  </a:lnTo>
                  <a:lnTo>
                    <a:pt x="209" y="158"/>
                  </a:lnTo>
                  <a:lnTo>
                    <a:pt x="243" y="184"/>
                  </a:lnTo>
                  <a:lnTo>
                    <a:pt x="256" y="205"/>
                  </a:lnTo>
                  <a:lnTo>
                    <a:pt x="277" y="214"/>
                  </a:lnTo>
                  <a:lnTo>
                    <a:pt x="285" y="215"/>
                  </a:lnTo>
                  <a:lnTo>
                    <a:pt x="271" y="227"/>
                  </a:lnTo>
                  <a:lnTo>
                    <a:pt x="235" y="227"/>
                  </a:lnTo>
                  <a:lnTo>
                    <a:pt x="205" y="224"/>
                  </a:lnTo>
                  <a:lnTo>
                    <a:pt x="191" y="231"/>
                  </a:lnTo>
                  <a:lnTo>
                    <a:pt x="195" y="269"/>
                  </a:lnTo>
                  <a:lnTo>
                    <a:pt x="190" y="299"/>
                  </a:lnTo>
                  <a:lnTo>
                    <a:pt x="159" y="335"/>
                  </a:lnTo>
                  <a:lnTo>
                    <a:pt x="153" y="355"/>
                  </a:lnTo>
                  <a:close/>
                </a:path>
              </a:pathLst>
            </a:custGeom>
            <a:solidFill>
              <a:srgbClr val="FFFFFF">
                <a:lumMod val="75000"/>
              </a:srgbClr>
            </a:solid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69" name="xa"/>
            <p:cNvSpPr>
              <a:spLocks noChangeAspect="1"/>
            </p:cNvSpPr>
            <p:nvPr/>
          </p:nvSpPr>
          <p:spPr bwMode="auto">
            <a:xfrm>
              <a:off x="5046298" y="4253521"/>
              <a:ext cx="934684" cy="543975"/>
            </a:xfrm>
            <a:custGeom>
              <a:avLst/>
              <a:gdLst>
                <a:gd name="T0" fmla="*/ 754 w 1304"/>
                <a:gd name="T1" fmla="*/ 9 h 962"/>
                <a:gd name="T2" fmla="*/ 861 w 1304"/>
                <a:gd name="T3" fmla="*/ 52 h 962"/>
                <a:gd name="T4" fmla="*/ 987 w 1304"/>
                <a:gd name="T5" fmla="*/ 160 h 962"/>
                <a:gd name="T6" fmla="*/ 1127 w 1304"/>
                <a:gd name="T7" fmla="*/ 220 h 962"/>
                <a:gd name="T8" fmla="*/ 1279 w 1304"/>
                <a:gd name="T9" fmla="*/ 259 h 962"/>
                <a:gd name="T10" fmla="*/ 1264 w 1304"/>
                <a:gd name="T11" fmla="*/ 456 h 962"/>
                <a:gd name="T12" fmla="*/ 1198 w 1304"/>
                <a:gd name="T13" fmla="*/ 521 h 962"/>
                <a:gd name="T14" fmla="*/ 947 w 1304"/>
                <a:gd name="T15" fmla="*/ 641 h 962"/>
                <a:gd name="T16" fmla="*/ 879 w 1304"/>
                <a:gd name="T17" fmla="*/ 715 h 962"/>
                <a:gd name="T18" fmla="*/ 967 w 1304"/>
                <a:gd name="T19" fmla="*/ 806 h 962"/>
                <a:gd name="T20" fmla="*/ 1023 w 1304"/>
                <a:gd name="T21" fmla="*/ 794 h 962"/>
                <a:gd name="T22" fmla="*/ 1081 w 1304"/>
                <a:gd name="T23" fmla="*/ 797 h 962"/>
                <a:gd name="T24" fmla="*/ 1005 w 1304"/>
                <a:gd name="T25" fmla="*/ 845 h 962"/>
                <a:gd name="T26" fmla="*/ 932 w 1304"/>
                <a:gd name="T27" fmla="*/ 905 h 962"/>
                <a:gd name="T28" fmla="*/ 863 w 1304"/>
                <a:gd name="T29" fmla="*/ 951 h 962"/>
                <a:gd name="T30" fmla="*/ 856 w 1304"/>
                <a:gd name="T31" fmla="*/ 854 h 962"/>
                <a:gd name="T32" fmla="*/ 780 w 1304"/>
                <a:gd name="T33" fmla="*/ 840 h 962"/>
                <a:gd name="T34" fmla="*/ 810 w 1304"/>
                <a:gd name="T35" fmla="*/ 754 h 962"/>
                <a:gd name="T36" fmla="*/ 797 w 1304"/>
                <a:gd name="T37" fmla="*/ 715 h 962"/>
                <a:gd name="T38" fmla="*/ 749 w 1304"/>
                <a:gd name="T39" fmla="*/ 732 h 962"/>
                <a:gd name="T40" fmla="*/ 747 w 1304"/>
                <a:gd name="T41" fmla="*/ 689 h 962"/>
                <a:gd name="T42" fmla="*/ 689 w 1304"/>
                <a:gd name="T43" fmla="*/ 692 h 962"/>
                <a:gd name="T44" fmla="*/ 653 w 1304"/>
                <a:gd name="T45" fmla="*/ 729 h 962"/>
                <a:gd name="T46" fmla="*/ 651 w 1304"/>
                <a:gd name="T47" fmla="*/ 794 h 962"/>
                <a:gd name="T48" fmla="*/ 633 w 1304"/>
                <a:gd name="T49" fmla="*/ 817 h 962"/>
                <a:gd name="T50" fmla="*/ 633 w 1304"/>
                <a:gd name="T51" fmla="*/ 845 h 962"/>
                <a:gd name="T52" fmla="*/ 575 w 1304"/>
                <a:gd name="T53" fmla="*/ 854 h 962"/>
                <a:gd name="T54" fmla="*/ 509 w 1304"/>
                <a:gd name="T55" fmla="*/ 840 h 962"/>
                <a:gd name="T56" fmla="*/ 549 w 1304"/>
                <a:gd name="T57" fmla="*/ 734 h 962"/>
                <a:gd name="T58" fmla="*/ 635 w 1304"/>
                <a:gd name="T59" fmla="*/ 720 h 962"/>
                <a:gd name="T60" fmla="*/ 559 w 1304"/>
                <a:gd name="T61" fmla="*/ 666 h 962"/>
                <a:gd name="T62" fmla="*/ 534 w 1304"/>
                <a:gd name="T63" fmla="*/ 567 h 962"/>
                <a:gd name="T64" fmla="*/ 390 w 1304"/>
                <a:gd name="T65" fmla="*/ 510 h 962"/>
                <a:gd name="T66" fmla="*/ 329 w 1304"/>
                <a:gd name="T67" fmla="*/ 552 h 962"/>
                <a:gd name="T68" fmla="*/ 235 w 1304"/>
                <a:gd name="T69" fmla="*/ 575 h 962"/>
                <a:gd name="T70" fmla="*/ 172 w 1304"/>
                <a:gd name="T71" fmla="*/ 567 h 962"/>
                <a:gd name="T72" fmla="*/ 101 w 1304"/>
                <a:gd name="T73" fmla="*/ 558 h 962"/>
                <a:gd name="T74" fmla="*/ 30 w 1304"/>
                <a:gd name="T75" fmla="*/ 569 h 962"/>
                <a:gd name="T76" fmla="*/ 63 w 1304"/>
                <a:gd name="T77" fmla="*/ 427 h 962"/>
                <a:gd name="T78" fmla="*/ 134 w 1304"/>
                <a:gd name="T79" fmla="*/ 259 h 962"/>
                <a:gd name="T80" fmla="*/ 98 w 1304"/>
                <a:gd name="T81" fmla="*/ 137 h 962"/>
                <a:gd name="T82" fmla="*/ 129 w 1304"/>
                <a:gd name="T83" fmla="*/ 100 h 962"/>
                <a:gd name="T84" fmla="*/ 286 w 1304"/>
                <a:gd name="T85" fmla="*/ 97 h 962"/>
                <a:gd name="T86" fmla="*/ 471 w 1304"/>
                <a:gd name="T87" fmla="*/ 109 h 962"/>
                <a:gd name="T88" fmla="*/ 580 w 1304"/>
                <a:gd name="T89" fmla="*/ 111 h 962"/>
                <a:gd name="T90" fmla="*/ 608 w 1304"/>
                <a:gd name="T91" fmla="*/ 6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4" h="962">
                  <a:moveTo>
                    <a:pt x="678" y="29"/>
                  </a:moveTo>
                  <a:lnTo>
                    <a:pt x="711" y="23"/>
                  </a:lnTo>
                  <a:lnTo>
                    <a:pt x="754" y="9"/>
                  </a:lnTo>
                  <a:lnTo>
                    <a:pt x="797" y="0"/>
                  </a:lnTo>
                  <a:lnTo>
                    <a:pt x="841" y="9"/>
                  </a:lnTo>
                  <a:lnTo>
                    <a:pt x="861" y="52"/>
                  </a:lnTo>
                  <a:lnTo>
                    <a:pt x="891" y="89"/>
                  </a:lnTo>
                  <a:lnTo>
                    <a:pt x="949" y="123"/>
                  </a:lnTo>
                  <a:lnTo>
                    <a:pt x="987" y="160"/>
                  </a:lnTo>
                  <a:lnTo>
                    <a:pt x="1020" y="200"/>
                  </a:lnTo>
                  <a:lnTo>
                    <a:pt x="1101" y="200"/>
                  </a:lnTo>
                  <a:lnTo>
                    <a:pt x="1127" y="220"/>
                  </a:lnTo>
                  <a:lnTo>
                    <a:pt x="1172" y="239"/>
                  </a:lnTo>
                  <a:lnTo>
                    <a:pt x="1223" y="242"/>
                  </a:lnTo>
                  <a:lnTo>
                    <a:pt x="1279" y="259"/>
                  </a:lnTo>
                  <a:lnTo>
                    <a:pt x="1304" y="333"/>
                  </a:lnTo>
                  <a:lnTo>
                    <a:pt x="1291" y="416"/>
                  </a:lnTo>
                  <a:lnTo>
                    <a:pt x="1264" y="456"/>
                  </a:lnTo>
                  <a:lnTo>
                    <a:pt x="1218" y="473"/>
                  </a:lnTo>
                  <a:lnTo>
                    <a:pt x="1203" y="495"/>
                  </a:lnTo>
                  <a:lnTo>
                    <a:pt x="1198" y="521"/>
                  </a:lnTo>
                  <a:lnTo>
                    <a:pt x="1094" y="555"/>
                  </a:lnTo>
                  <a:lnTo>
                    <a:pt x="1036" y="601"/>
                  </a:lnTo>
                  <a:lnTo>
                    <a:pt x="947" y="641"/>
                  </a:lnTo>
                  <a:lnTo>
                    <a:pt x="922" y="672"/>
                  </a:lnTo>
                  <a:lnTo>
                    <a:pt x="853" y="683"/>
                  </a:lnTo>
                  <a:lnTo>
                    <a:pt x="879" y="715"/>
                  </a:lnTo>
                  <a:lnTo>
                    <a:pt x="911" y="715"/>
                  </a:lnTo>
                  <a:lnTo>
                    <a:pt x="962" y="769"/>
                  </a:lnTo>
                  <a:lnTo>
                    <a:pt x="967" y="806"/>
                  </a:lnTo>
                  <a:lnTo>
                    <a:pt x="995" y="811"/>
                  </a:lnTo>
                  <a:lnTo>
                    <a:pt x="1010" y="811"/>
                  </a:lnTo>
                  <a:lnTo>
                    <a:pt x="1023" y="794"/>
                  </a:lnTo>
                  <a:lnTo>
                    <a:pt x="1041" y="811"/>
                  </a:lnTo>
                  <a:lnTo>
                    <a:pt x="1058" y="794"/>
                  </a:lnTo>
                  <a:lnTo>
                    <a:pt x="1081" y="797"/>
                  </a:lnTo>
                  <a:lnTo>
                    <a:pt x="1061" y="843"/>
                  </a:lnTo>
                  <a:lnTo>
                    <a:pt x="1036" y="860"/>
                  </a:lnTo>
                  <a:lnTo>
                    <a:pt x="1005" y="845"/>
                  </a:lnTo>
                  <a:lnTo>
                    <a:pt x="990" y="837"/>
                  </a:lnTo>
                  <a:lnTo>
                    <a:pt x="982" y="865"/>
                  </a:lnTo>
                  <a:lnTo>
                    <a:pt x="932" y="905"/>
                  </a:lnTo>
                  <a:lnTo>
                    <a:pt x="917" y="931"/>
                  </a:lnTo>
                  <a:lnTo>
                    <a:pt x="901" y="962"/>
                  </a:lnTo>
                  <a:lnTo>
                    <a:pt x="863" y="951"/>
                  </a:lnTo>
                  <a:lnTo>
                    <a:pt x="863" y="934"/>
                  </a:lnTo>
                  <a:lnTo>
                    <a:pt x="871" y="905"/>
                  </a:lnTo>
                  <a:lnTo>
                    <a:pt x="856" y="854"/>
                  </a:lnTo>
                  <a:lnTo>
                    <a:pt x="835" y="851"/>
                  </a:lnTo>
                  <a:lnTo>
                    <a:pt x="815" y="851"/>
                  </a:lnTo>
                  <a:lnTo>
                    <a:pt x="780" y="840"/>
                  </a:lnTo>
                  <a:lnTo>
                    <a:pt x="787" y="811"/>
                  </a:lnTo>
                  <a:lnTo>
                    <a:pt x="805" y="783"/>
                  </a:lnTo>
                  <a:lnTo>
                    <a:pt x="810" y="754"/>
                  </a:lnTo>
                  <a:lnTo>
                    <a:pt x="843" y="729"/>
                  </a:lnTo>
                  <a:lnTo>
                    <a:pt x="835" y="703"/>
                  </a:lnTo>
                  <a:lnTo>
                    <a:pt x="797" y="715"/>
                  </a:lnTo>
                  <a:lnTo>
                    <a:pt x="775" y="726"/>
                  </a:lnTo>
                  <a:lnTo>
                    <a:pt x="749" y="720"/>
                  </a:lnTo>
                  <a:lnTo>
                    <a:pt x="749" y="732"/>
                  </a:lnTo>
                  <a:lnTo>
                    <a:pt x="716" y="712"/>
                  </a:lnTo>
                  <a:lnTo>
                    <a:pt x="719" y="700"/>
                  </a:lnTo>
                  <a:lnTo>
                    <a:pt x="747" y="689"/>
                  </a:lnTo>
                  <a:lnTo>
                    <a:pt x="732" y="666"/>
                  </a:lnTo>
                  <a:lnTo>
                    <a:pt x="706" y="672"/>
                  </a:lnTo>
                  <a:lnTo>
                    <a:pt x="689" y="692"/>
                  </a:lnTo>
                  <a:lnTo>
                    <a:pt x="673" y="700"/>
                  </a:lnTo>
                  <a:lnTo>
                    <a:pt x="671" y="726"/>
                  </a:lnTo>
                  <a:lnTo>
                    <a:pt x="653" y="729"/>
                  </a:lnTo>
                  <a:lnTo>
                    <a:pt x="671" y="749"/>
                  </a:lnTo>
                  <a:lnTo>
                    <a:pt x="671" y="769"/>
                  </a:lnTo>
                  <a:lnTo>
                    <a:pt x="651" y="794"/>
                  </a:lnTo>
                  <a:lnTo>
                    <a:pt x="625" y="783"/>
                  </a:lnTo>
                  <a:lnTo>
                    <a:pt x="643" y="811"/>
                  </a:lnTo>
                  <a:lnTo>
                    <a:pt x="633" y="817"/>
                  </a:lnTo>
                  <a:lnTo>
                    <a:pt x="600" y="783"/>
                  </a:lnTo>
                  <a:lnTo>
                    <a:pt x="610" y="828"/>
                  </a:lnTo>
                  <a:lnTo>
                    <a:pt x="633" y="845"/>
                  </a:lnTo>
                  <a:lnTo>
                    <a:pt x="610" y="871"/>
                  </a:lnTo>
                  <a:lnTo>
                    <a:pt x="600" y="857"/>
                  </a:lnTo>
                  <a:lnTo>
                    <a:pt x="575" y="854"/>
                  </a:lnTo>
                  <a:lnTo>
                    <a:pt x="559" y="862"/>
                  </a:lnTo>
                  <a:lnTo>
                    <a:pt x="506" y="865"/>
                  </a:lnTo>
                  <a:lnTo>
                    <a:pt x="509" y="840"/>
                  </a:lnTo>
                  <a:lnTo>
                    <a:pt x="544" y="800"/>
                  </a:lnTo>
                  <a:lnTo>
                    <a:pt x="547" y="763"/>
                  </a:lnTo>
                  <a:lnTo>
                    <a:pt x="549" y="734"/>
                  </a:lnTo>
                  <a:lnTo>
                    <a:pt x="580" y="729"/>
                  </a:lnTo>
                  <a:lnTo>
                    <a:pt x="625" y="732"/>
                  </a:lnTo>
                  <a:lnTo>
                    <a:pt x="635" y="720"/>
                  </a:lnTo>
                  <a:lnTo>
                    <a:pt x="605" y="709"/>
                  </a:lnTo>
                  <a:lnTo>
                    <a:pt x="595" y="689"/>
                  </a:lnTo>
                  <a:lnTo>
                    <a:pt x="559" y="666"/>
                  </a:lnTo>
                  <a:lnTo>
                    <a:pt x="547" y="626"/>
                  </a:lnTo>
                  <a:lnTo>
                    <a:pt x="554" y="606"/>
                  </a:lnTo>
                  <a:lnTo>
                    <a:pt x="534" y="567"/>
                  </a:lnTo>
                  <a:lnTo>
                    <a:pt x="486" y="558"/>
                  </a:lnTo>
                  <a:lnTo>
                    <a:pt x="435" y="513"/>
                  </a:lnTo>
                  <a:lnTo>
                    <a:pt x="390" y="510"/>
                  </a:lnTo>
                  <a:lnTo>
                    <a:pt x="357" y="521"/>
                  </a:lnTo>
                  <a:lnTo>
                    <a:pt x="344" y="541"/>
                  </a:lnTo>
                  <a:lnTo>
                    <a:pt x="329" y="552"/>
                  </a:lnTo>
                  <a:lnTo>
                    <a:pt x="291" y="555"/>
                  </a:lnTo>
                  <a:lnTo>
                    <a:pt x="271" y="575"/>
                  </a:lnTo>
                  <a:lnTo>
                    <a:pt x="235" y="575"/>
                  </a:lnTo>
                  <a:lnTo>
                    <a:pt x="223" y="558"/>
                  </a:lnTo>
                  <a:lnTo>
                    <a:pt x="207" y="552"/>
                  </a:lnTo>
                  <a:lnTo>
                    <a:pt x="172" y="567"/>
                  </a:lnTo>
                  <a:lnTo>
                    <a:pt x="147" y="569"/>
                  </a:lnTo>
                  <a:lnTo>
                    <a:pt x="129" y="552"/>
                  </a:lnTo>
                  <a:lnTo>
                    <a:pt x="101" y="558"/>
                  </a:lnTo>
                  <a:lnTo>
                    <a:pt x="76" y="575"/>
                  </a:lnTo>
                  <a:lnTo>
                    <a:pt x="63" y="569"/>
                  </a:lnTo>
                  <a:lnTo>
                    <a:pt x="30" y="569"/>
                  </a:lnTo>
                  <a:lnTo>
                    <a:pt x="0" y="513"/>
                  </a:lnTo>
                  <a:lnTo>
                    <a:pt x="5" y="487"/>
                  </a:lnTo>
                  <a:lnTo>
                    <a:pt x="63" y="427"/>
                  </a:lnTo>
                  <a:lnTo>
                    <a:pt x="45" y="359"/>
                  </a:lnTo>
                  <a:lnTo>
                    <a:pt x="114" y="296"/>
                  </a:lnTo>
                  <a:lnTo>
                    <a:pt x="134" y="259"/>
                  </a:lnTo>
                  <a:lnTo>
                    <a:pt x="131" y="222"/>
                  </a:lnTo>
                  <a:lnTo>
                    <a:pt x="116" y="177"/>
                  </a:lnTo>
                  <a:lnTo>
                    <a:pt x="98" y="137"/>
                  </a:lnTo>
                  <a:lnTo>
                    <a:pt x="76" y="117"/>
                  </a:lnTo>
                  <a:lnTo>
                    <a:pt x="114" y="120"/>
                  </a:lnTo>
                  <a:lnTo>
                    <a:pt x="129" y="100"/>
                  </a:lnTo>
                  <a:lnTo>
                    <a:pt x="200" y="97"/>
                  </a:lnTo>
                  <a:lnTo>
                    <a:pt x="268" y="97"/>
                  </a:lnTo>
                  <a:lnTo>
                    <a:pt x="286" y="97"/>
                  </a:lnTo>
                  <a:lnTo>
                    <a:pt x="377" y="120"/>
                  </a:lnTo>
                  <a:lnTo>
                    <a:pt x="443" y="120"/>
                  </a:lnTo>
                  <a:lnTo>
                    <a:pt x="471" y="109"/>
                  </a:lnTo>
                  <a:lnTo>
                    <a:pt x="496" y="109"/>
                  </a:lnTo>
                  <a:lnTo>
                    <a:pt x="524" y="120"/>
                  </a:lnTo>
                  <a:lnTo>
                    <a:pt x="580" y="111"/>
                  </a:lnTo>
                  <a:lnTo>
                    <a:pt x="590" y="131"/>
                  </a:lnTo>
                  <a:lnTo>
                    <a:pt x="610" y="106"/>
                  </a:lnTo>
                  <a:lnTo>
                    <a:pt x="608" y="60"/>
                  </a:lnTo>
                  <a:lnTo>
                    <a:pt x="653" y="32"/>
                  </a:lnTo>
                  <a:lnTo>
                    <a:pt x="678" y="29"/>
                  </a:lnTo>
                  <a:close/>
                </a:path>
              </a:pathLst>
            </a:custGeom>
            <a:solidFill>
              <a:srgbClr val="BFBFBF"/>
            </a:solidFill>
            <a:ln w="3175" cap="flat" cmpd="sng" algn="ctr">
              <a:solidFill>
                <a:sysClr val="window" lastClr="FFFFFF"/>
              </a:solidFill>
              <a:prstDash val="solid"/>
              <a:headEnd type="none" w="med" len="med"/>
              <a:tailEnd type="none" w="med" len="med"/>
            </a:ln>
            <a:effectLst/>
            <a:ex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nvGrpSpPr>
            <p:cNvPr id="170" name="xx"/>
            <p:cNvGrpSpPr/>
            <p:nvPr/>
          </p:nvGrpSpPr>
          <p:grpSpPr>
            <a:xfrm>
              <a:off x="4396045" y="3869207"/>
              <a:ext cx="131575" cy="192385"/>
              <a:chOff x="2681289" y="3112181"/>
              <a:chExt cx="272411" cy="405362"/>
            </a:xfrm>
            <a:solidFill>
              <a:srgbClr val="1F497D"/>
            </a:solidFill>
            <a:effectLst/>
          </p:grpSpPr>
          <p:sp>
            <p:nvSpPr>
              <p:cNvPr id="186" name="Freeform 69"/>
              <p:cNvSpPr>
                <a:spLocks noChangeAspect="1"/>
              </p:cNvSpPr>
              <p:nvPr/>
            </p:nvSpPr>
            <p:spPr bwMode="auto">
              <a:xfrm>
                <a:off x="2681289" y="3211096"/>
                <a:ext cx="272411" cy="306447"/>
              </a:xfrm>
              <a:custGeom>
                <a:avLst/>
                <a:gdLst>
                  <a:gd name="T0" fmla="*/ 14 w 183"/>
                  <a:gd name="T1" fmla="*/ 216 h 253"/>
                  <a:gd name="T2" fmla="*/ 24 w 183"/>
                  <a:gd name="T3" fmla="*/ 234 h 253"/>
                  <a:gd name="T4" fmla="*/ 44 w 183"/>
                  <a:gd name="T5" fmla="*/ 234 h 253"/>
                  <a:gd name="T6" fmla="*/ 63 w 183"/>
                  <a:gd name="T7" fmla="*/ 240 h 253"/>
                  <a:gd name="T8" fmla="*/ 77 w 183"/>
                  <a:gd name="T9" fmla="*/ 253 h 253"/>
                  <a:gd name="T10" fmla="*/ 92 w 183"/>
                  <a:gd name="T11" fmla="*/ 253 h 253"/>
                  <a:gd name="T12" fmla="*/ 82 w 183"/>
                  <a:gd name="T13" fmla="*/ 237 h 253"/>
                  <a:gd name="T14" fmla="*/ 90 w 183"/>
                  <a:gd name="T15" fmla="*/ 216 h 253"/>
                  <a:gd name="T16" fmla="*/ 98 w 183"/>
                  <a:gd name="T17" fmla="*/ 192 h 253"/>
                  <a:gd name="T18" fmla="*/ 103 w 183"/>
                  <a:gd name="T19" fmla="*/ 166 h 253"/>
                  <a:gd name="T20" fmla="*/ 125 w 183"/>
                  <a:gd name="T21" fmla="*/ 150 h 253"/>
                  <a:gd name="T22" fmla="*/ 143 w 183"/>
                  <a:gd name="T23" fmla="*/ 139 h 253"/>
                  <a:gd name="T24" fmla="*/ 141 w 183"/>
                  <a:gd name="T25" fmla="*/ 123 h 253"/>
                  <a:gd name="T26" fmla="*/ 141 w 183"/>
                  <a:gd name="T27" fmla="*/ 98 h 253"/>
                  <a:gd name="T28" fmla="*/ 145 w 183"/>
                  <a:gd name="T29" fmla="*/ 86 h 253"/>
                  <a:gd name="T30" fmla="*/ 162 w 183"/>
                  <a:gd name="T31" fmla="*/ 83 h 253"/>
                  <a:gd name="T32" fmla="*/ 169 w 183"/>
                  <a:gd name="T33" fmla="*/ 89 h 253"/>
                  <a:gd name="T34" fmla="*/ 183 w 183"/>
                  <a:gd name="T35" fmla="*/ 71 h 253"/>
                  <a:gd name="T36" fmla="*/ 178 w 183"/>
                  <a:gd name="T37" fmla="*/ 55 h 253"/>
                  <a:gd name="T38" fmla="*/ 169 w 183"/>
                  <a:gd name="T39" fmla="*/ 52 h 253"/>
                  <a:gd name="T40" fmla="*/ 153 w 183"/>
                  <a:gd name="T41" fmla="*/ 52 h 253"/>
                  <a:gd name="T42" fmla="*/ 145 w 183"/>
                  <a:gd name="T43" fmla="*/ 52 h 253"/>
                  <a:gd name="T44" fmla="*/ 141 w 183"/>
                  <a:gd name="T45" fmla="*/ 28 h 253"/>
                  <a:gd name="T46" fmla="*/ 143 w 183"/>
                  <a:gd name="T47" fmla="*/ 5 h 253"/>
                  <a:gd name="T48" fmla="*/ 131 w 183"/>
                  <a:gd name="T49" fmla="*/ 0 h 253"/>
                  <a:gd name="T50" fmla="*/ 126 w 183"/>
                  <a:gd name="T51" fmla="*/ 8 h 253"/>
                  <a:gd name="T52" fmla="*/ 98 w 183"/>
                  <a:gd name="T53" fmla="*/ 2 h 253"/>
                  <a:gd name="T54" fmla="*/ 92 w 183"/>
                  <a:gd name="T55" fmla="*/ 9 h 253"/>
                  <a:gd name="T56" fmla="*/ 98 w 183"/>
                  <a:gd name="T57" fmla="*/ 31 h 253"/>
                  <a:gd name="T58" fmla="*/ 96 w 183"/>
                  <a:gd name="T59" fmla="*/ 52 h 253"/>
                  <a:gd name="T60" fmla="*/ 84 w 183"/>
                  <a:gd name="T61" fmla="*/ 37 h 253"/>
                  <a:gd name="T62" fmla="*/ 79 w 183"/>
                  <a:gd name="T63" fmla="*/ 24 h 253"/>
                  <a:gd name="T64" fmla="*/ 63 w 183"/>
                  <a:gd name="T65" fmla="*/ 27 h 253"/>
                  <a:gd name="T66" fmla="*/ 57 w 183"/>
                  <a:gd name="T67" fmla="*/ 39 h 253"/>
                  <a:gd name="T68" fmla="*/ 52 w 183"/>
                  <a:gd name="T69" fmla="*/ 45 h 253"/>
                  <a:gd name="T70" fmla="*/ 52 w 183"/>
                  <a:gd name="T71" fmla="*/ 64 h 253"/>
                  <a:gd name="T72" fmla="*/ 49 w 183"/>
                  <a:gd name="T73" fmla="*/ 61 h 253"/>
                  <a:gd name="T74" fmla="*/ 35 w 183"/>
                  <a:gd name="T75" fmla="*/ 37 h 253"/>
                  <a:gd name="T76" fmla="*/ 27 w 183"/>
                  <a:gd name="T77" fmla="*/ 28 h 253"/>
                  <a:gd name="T78" fmla="*/ 19 w 183"/>
                  <a:gd name="T79" fmla="*/ 34 h 253"/>
                  <a:gd name="T80" fmla="*/ 21 w 183"/>
                  <a:gd name="T81" fmla="*/ 46 h 253"/>
                  <a:gd name="T82" fmla="*/ 21 w 183"/>
                  <a:gd name="T83" fmla="*/ 55 h 253"/>
                  <a:gd name="T84" fmla="*/ 8 w 183"/>
                  <a:gd name="T85" fmla="*/ 61 h 253"/>
                  <a:gd name="T86" fmla="*/ 8 w 183"/>
                  <a:gd name="T87" fmla="*/ 79 h 253"/>
                  <a:gd name="T88" fmla="*/ 19 w 183"/>
                  <a:gd name="T89" fmla="*/ 98 h 253"/>
                  <a:gd name="T90" fmla="*/ 19 w 183"/>
                  <a:gd name="T91" fmla="*/ 110 h 253"/>
                  <a:gd name="T92" fmla="*/ 14 w 183"/>
                  <a:gd name="T93" fmla="*/ 123 h 253"/>
                  <a:gd name="T94" fmla="*/ 0 w 183"/>
                  <a:gd name="T95" fmla="*/ 136 h 253"/>
                  <a:gd name="T96" fmla="*/ 2 w 183"/>
                  <a:gd name="T97" fmla="*/ 150 h 253"/>
                  <a:gd name="T98" fmla="*/ 16 w 183"/>
                  <a:gd name="T99" fmla="*/ 163 h 253"/>
                  <a:gd name="T100" fmla="*/ 21 w 183"/>
                  <a:gd name="T101" fmla="*/ 176 h 253"/>
                  <a:gd name="T102" fmla="*/ 19 w 183"/>
                  <a:gd name="T103" fmla="*/ 200 h 253"/>
                  <a:gd name="T104" fmla="*/ 14 w 183"/>
                  <a:gd name="T105" fmla="*/ 21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3" h="253">
                    <a:moveTo>
                      <a:pt x="14" y="216"/>
                    </a:moveTo>
                    <a:lnTo>
                      <a:pt x="24" y="234"/>
                    </a:lnTo>
                    <a:lnTo>
                      <a:pt x="44" y="234"/>
                    </a:lnTo>
                    <a:lnTo>
                      <a:pt x="63" y="240"/>
                    </a:lnTo>
                    <a:lnTo>
                      <a:pt x="77" y="253"/>
                    </a:lnTo>
                    <a:lnTo>
                      <a:pt x="92" y="253"/>
                    </a:lnTo>
                    <a:lnTo>
                      <a:pt x="82" y="237"/>
                    </a:lnTo>
                    <a:lnTo>
                      <a:pt x="90" y="216"/>
                    </a:lnTo>
                    <a:lnTo>
                      <a:pt x="98" y="192"/>
                    </a:lnTo>
                    <a:lnTo>
                      <a:pt x="103" y="166"/>
                    </a:lnTo>
                    <a:lnTo>
                      <a:pt x="125" y="150"/>
                    </a:lnTo>
                    <a:lnTo>
                      <a:pt x="143" y="139"/>
                    </a:lnTo>
                    <a:lnTo>
                      <a:pt x="141" y="123"/>
                    </a:lnTo>
                    <a:lnTo>
                      <a:pt x="141" y="98"/>
                    </a:lnTo>
                    <a:lnTo>
                      <a:pt x="145" y="86"/>
                    </a:lnTo>
                    <a:lnTo>
                      <a:pt x="162" y="83"/>
                    </a:lnTo>
                    <a:lnTo>
                      <a:pt x="169" y="89"/>
                    </a:lnTo>
                    <a:lnTo>
                      <a:pt x="183" y="71"/>
                    </a:lnTo>
                    <a:lnTo>
                      <a:pt x="178" y="55"/>
                    </a:lnTo>
                    <a:lnTo>
                      <a:pt x="169" y="52"/>
                    </a:lnTo>
                    <a:lnTo>
                      <a:pt x="153" y="52"/>
                    </a:lnTo>
                    <a:lnTo>
                      <a:pt x="145" y="52"/>
                    </a:lnTo>
                    <a:lnTo>
                      <a:pt x="141" y="28"/>
                    </a:lnTo>
                    <a:lnTo>
                      <a:pt x="143" y="5"/>
                    </a:lnTo>
                    <a:lnTo>
                      <a:pt x="131" y="0"/>
                    </a:lnTo>
                    <a:lnTo>
                      <a:pt x="126" y="8"/>
                    </a:lnTo>
                    <a:lnTo>
                      <a:pt x="98" y="2"/>
                    </a:lnTo>
                    <a:lnTo>
                      <a:pt x="92" y="9"/>
                    </a:lnTo>
                    <a:lnTo>
                      <a:pt x="98" y="31"/>
                    </a:lnTo>
                    <a:lnTo>
                      <a:pt x="96" y="52"/>
                    </a:lnTo>
                    <a:lnTo>
                      <a:pt x="84" y="37"/>
                    </a:lnTo>
                    <a:lnTo>
                      <a:pt x="79" y="24"/>
                    </a:lnTo>
                    <a:lnTo>
                      <a:pt x="63" y="27"/>
                    </a:lnTo>
                    <a:lnTo>
                      <a:pt x="57" y="39"/>
                    </a:lnTo>
                    <a:lnTo>
                      <a:pt x="52" y="45"/>
                    </a:lnTo>
                    <a:lnTo>
                      <a:pt x="52" y="64"/>
                    </a:lnTo>
                    <a:lnTo>
                      <a:pt x="49" y="61"/>
                    </a:lnTo>
                    <a:lnTo>
                      <a:pt x="35" y="37"/>
                    </a:lnTo>
                    <a:lnTo>
                      <a:pt x="27" y="28"/>
                    </a:lnTo>
                    <a:lnTo>
                      <a:pt x="19" y="34"/>
                    </a:lnTo>
                    <a:lnTo>
                      <a:pt x="21" y="46"/>
                    </a:lnTo>
                    <a:lnTo>
                      <a:pt x="21" y="55"/>
                    </a:lnTo>
                    <a:lnTo>
                      <a:pt x="8" y="61"/>
                    </a:lnTo>
                    <a:lnTo>
                      <a:pt x="8" y="79"/>
                    </a:lnTo>
                    <a:lnTo>
                      <a:pt x="19" y="98"/>
                    </a:lnTo>
                    <a:lnTo>
                      <a:pt x="19" y="110"/>
                    </a:lnTo>
                    <a:lnTo>
                      <a:pt x="14" y="123"/>
                    </a:lnTo>
                    <a:lnTo>
                      <a:pt x="0" y="136"/>
                    </a:lnTo>
                    <a:lnTo>
                      <a:pt x="2" y="150"/>
                    </a:lnTo>
                    <a:lnTo>
                      <a:pt x="16" y="163"/>
                    </a:lnTo>
                    <a:lnTo>
                      <a:pt x="21" y="176"/>
                    </a:lnTo>
                    <a:lnTo>
                      <a:pt x="19" y="200"/>
                    </a:lnTo>
                    <a:lnTo>
                      <a:pt x="14" y="216"/>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87" name="Freeform 70"/>
              <p:cNvSpPr>
                <a:spLocks noChangeAspect="1"/>
              </p:cNvSpPr>
              <p:nvPr/>
            </p:nvSpPr>
            <p:spPr bwMode="auto">
              <a:xfrm>
                <a:off x="2741167" y="3112181"/>
                <a:ext cx="202674" cy="118312"/>
              </a:xfrm>
              <a:custGeom>
                <a:avLst/>
                <a:gdLst>
                  <a:gd name="T0" fmla="*/ 0 w 138"/>
                  <a:gd name="T1" fmla="*/ 94 h 97"/>
                  <a:gd name="T2" fmla="*/ 11 w 138"/>
                  <a:gd name="T3" fmla="*/ 97 h 97"/>
                  <a:gd name="T4" fmla="*/ 25 w 138"/>
                  <a:gd name="T5" fmla="*/ 86 h 97"/>
                  <a:gd name="T6" fmla="*/ 39 w 138"/>
                  <a:gd name="T7" fmla="*/ 67 h 97"/>
                  <a:gd name="T8" fmla="*/ 77 w 138"/>
                  <a:gd name="T9" fmla="*/ 67 h 97"/>
                  <a:gd name="T10" fmla="*/ 110 w 138"/>
                  <a:gd name="T11" fmla="*/ 60 h 97"/>
                  <a:gd name="T12" fmla="*/ 129 w 138"/>
                  <a:gd name="T13" fmla="*/ 43 h 97"/>
                  <a:gd name="T14" fmla="*/ 135 w 138"/>
                  <a:gd name="T15" fmla="*/ 22 h 97"/>
                  <a:gd name="T16" fmla="*/ 138 w 138"/>
                  <a:gd name="T17" fmla="*/ 0 h 97"/>
                  <a:gd name="T18" fmla="*/ 112 w 138"/>
                  <a:gd name="T19" fmla="*/ 13 h 97"/>
                  <a:gd name="T20" fmla="*/ 65 w 138"/>
                  <a:gd name="T21" fmla="*/ 37 h 97"/>
                  <a:gd name="T22" fmla="*/ 53 w 138"/>
                  <a:gd name="T23" fmla="*/ 40 h 97"/>
                  <a:gd name="T24" fmla="*/ 39 w 138"/>
                  <a:gd name="T25" fmla="*/ 52 h 97"/>
                  <a:gd name="T26" fmla="*/ 11 w 138"/>
                  <a:gd name="T27" fmla="*/ 57 h 97"/>
                  <a:gd name="T28" fmla="*/ 0 w 138"/>
                  <a:gd name="T29" fmla="*/ 64 h 97"/>
                  <a:gd name="T30" fmla="*/ 0 w 138"/>
                  <a:gd name="T3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8" h="97">
                    <a:moveTo>
                      <a:pt x="0" y="94"/>
                    </a:moveTo>
                    <a:lnTo>
                      <a:pt x="11" y="97"/>
                    </a:lnTo>
                    <a:lnTo>
                      <a:pt x="25" y="86"/>
                    </a:lnTo>
                    <a:lnTo>
                      <a:pt x="39" y="67"/>
                    </a:lnTo>
                    <a:lnTo>
                      <a:pt x="77" y="67"/>
                    </a:lnTo>
                    <a:lnTo>
                      <a:pt x="110" y="60"/>
                    </a:lnTo>
                    <a:lnTo>
                      <a:pt x="129" y="43"/>
                    </a:lnTo>
                    <a:lnTo>
                      <a:pt x="135" y="22"/>
                    </a:lnTo>
                    <a:lnTo>
                      <a:pt x="138" y="0"/>
                    </a:lnTo>
                    <a:lnTo>
                      <a:pt x="112" y="13"/>
                    </a:lnTo>
                    <a:lnTo>
                      <a:pt x="65" y="37"/>
                    </a:lnTo>
                    <a:lnTo>
                      <a:pt x="53" y="40"/>
                    </a:lnTo>
                    <a:lnTo>
                      <a:pt x="39" y="52"/>
                    </a:lnTo>
                    <a:lnTo>
                      <a:pt x="11" y="57"/>
                    </a:lnTo>
                    <a:lnTo>
                      <a:pt x="0" y="64"/>
                    </a:lnTo>
                    <a:lnTo>
                      <a:pt x="0" y="94"/>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grpSp>
          <p:nvGrpSpPr>
            <p:cNvPr id="171" name="DD"/>
            <p:cNvGrpSpPr/>
            <p:nvPr/>
          </p:nvGrpSpPr>
          <p:grpSpPr>
            <a:xfrm>
              <a:off x="4470265" y="3976646"/>
              <a:ext cx="108523" cy="108343"/>
              <a:chOff x="2834953" y="3338559"/>
              <a:chExt cx="224685" cy="228282"/>
            </a:xfrm>
            <a:solidFill>
              <a:srgbClr val="1F497D"/>
            </a:solidFill>
            <a:effectLst/>
          </p:grpSpPr>
          <p:sp>
            <p:nvSpPr>
              <p:cNvPr id="183" name="Freeform 66"/>
              <p:cNvSpPr>
                <a:spLocks noChangeAspect="1"/>
              </p:cNvSpPr>
              <p:nvPr/>
            </p:nvSpPr>
            <p:spPr bwMode="auto">
              <a:xfrm>
                <a:off x="2834953" y="3388403"/>
                <a:ext cx="89352" cy="96976"/>
              </a:xfrm>
              <a:custGeom>
                <a:avLst/>
                <a:gdLst>
                  <a:gd name="T0" fmla="*/ 19 w 59"/>
                  <a:gd name="T1" fmla="*/ 0 h 80"/>
                  <a:gd name="T2" fmla="*/ 57 w 59"/>
                  <a:gd name="T3" fmla="*/ 27 h 80"/>
                  <a:gd name="T4" fmla="*/ 59 w 59"/>
                  <a:gd name="T5" fmla="*/ 40 h 80"/>
                  <a:gd name="T6" fmla="*/ 45 w 59"/>
                  <a:gd name="T7" fmla="*/ 55 h 80"/>
                  <a:gd name="T8" fmla="*/ 32 w 59"/>
                  <a:gd name="T9" fmla="*/ 67 h 80"/>
                  <a:gd name="T10" fmla="*/ 35 w 59"/>
                  <a:gd name="T11" fmla="*/ 80 h 80"/>
                  <a:gd name="T12" fmla="*/ 19 w 59"/>
                  <a:gd name="T13" fmla="*/ 77 h 80"/>
                  <a:gd name="T14" fmla="*/ 2 w 59"/>
                  <a:gd name="T15" fmla="*/ 55 h 80"/>
                  <a:gd name="T16" fmla="*/ 0 w 59"/>
                  <a:gd name="T17" fmla="*/ 40 h 80"/>
                  <a:gd name="T18" fmla="*/ 7 w 59"/>
                  <a:gd name="T19" fmla="*/ 23 h 80"/>
                  <a:gd name="T20" fmla="*/ 19 w 59"/>
                  <a:gd name="T2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0">
                    <a:moveTo>
                      <a:pt x="19" y="0"/>
                    </a:moveTo>
                    <a:lnTo>
                      <a:pt x="57" y="27"/>
                    </a:lnTo>
                    <a:lnTo>
                      <a:pt x="59" y="40"/>
                    </a:lnTo>
                    <a:lnTo>
                      <a:pt x="45" y="55"/>
                    </a:lnTo>
                    <a:lnTo>
                      <a:pt x="32" y="67"/>
                    </a:lnTo>
                    <a:lnTo>
                      <a:pt x="35" y="80"/>
                    </a:lnTo>
                    <a:lnTo>
                      <a:pt x="19" y="77"/>
                    </a:lnTo>
                    <a:lnTo>
                      <a:pt x="2" y="55"/>
                    </a:lnTo>
                    <a:lnTo>
                      <a:pt x="0" y="40"/>
                    </a:lnTo>
                    <a:lnTo>
                      <a:pt x="7" y="23"/>
                    </a:lnTo>
                    <a:lnTo>
                      <a:pt x="19"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84" name="Freeform 67"/>
              <p:cNvSpPr>
                <a:spLocks noChangeAspect="1"/>
              </p:cNvSpPr>
              <p:nvPr/>
            </p:nvSpPr>
            <p:spPr bwMode="auto">
              <a:xfrm>
                <a:off x="2885727" y="3338559"/>
                <a:ext cx="173911" cy="198221"/>
              </a:xfrm>
              <a:custGeom>
                <a:avLst/>
                <a:gdLst>
                  <a:gd name="T0" fmla="*/ 83 w 88"/>
                  <a:gd name="T1" fmla="*/ 0 h 117"/>
                  <a:gd name="T2" fmla="*/ 88 w 88"/>
                  <a:gd name="T3" fmla="*/ 6 h 117"/>
                  <a:gd name="T4" fmla="*/ 83 w 88"/>
                  <a:gd name="T5" fmla="*/ 13 h 117"/>
                  <a:gd name="T6" fmla="*/ 88 w 88"/>
                  <a:gd name="T7" fmla="*/ 26 h 117"/>
                  <a:gd name="T8" fmla="*/ 81 w 88"/>
                  <a:gd name="T9" fmla="*/ 41 h 117"/>
                  <a:gd name="T10" fmla="*/ 69 w 88"/>
                  <a:gd name="T11" fmla="*/ 51 h 117"/>
                  <a:gd name="T12" fmla="*/ 74 w 88"/>
                  <a:gd name="T13" fmla="*/ 64 h 117"/>
                  <a:gd name="T14" fmla="*/ 69 w 88"/>
                  <a:gd name="T15" fmla="*/ 75 h 117"/>
                  <a:gd name="T16" fmla="*/ 74 w 88"/>
                  <a:gd name="T17" fmla="*/ 88 h 117"/>
                  <a:gd name="T18" fmla="*/ 57 w 88"/>
                  <a:gd name="T19" fmla="*/ 117 h 117"/>
                  <a:gd name="T20" fmla="*/ 20 w 88"/>
                  <a:gd name="T21" fmla="*/ 88 h 117"/>
                  <a:gd name="T22" fmla="*/ 0 w 88"/>
                  <a:gd name="T23" fmla="*/ 73 h 117"/>
                  <a:gd name="T24" fmla="*/ 12 w 88"/>
                  <a:gd name="T25" fmla="*/ 64 h 117"/>
                  <a:gd name="T26" fmla="*/ 12 w 88"/>
                  <a:gd name="T27" fmla="*/ 46 h 117"/>
                  <a:gd name="T28" fmla="*/ 34 w 88"/>
                  <a:gd name="T29" fmla="*/ 31 h 117"/>
                  <a:gd name="T30" fmla="*/ 46 w 88"/>
                  <a:gd name="T31" fmla="*/ 37 h 117"/>
                  <a:gd name="T32" fmla="*/ 57 w 88"/>
                  <a:gd name="T33" fmla="*/ 31 h 117"/>
                  <a:gd name="T34" fmla="*/ 76 w 88"/>
                  <a:gd name="T35" fmla="*/ 16 h 117"/>
                  <a:gd name="T36" fmla="*/ 83 w 88"/>
                  <a:gd name="T37"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117">
                    <a:moveTo>
                      <a:pt x="83" y="0"/>
                    </a:moveTo>
                    <a:lnTo>
                      <a:pt x="88" y="6"/>
                    </a:lnTo>
                    <a:lnTo>
                      <a:pt x="83" y="13"/>
                    </a:lnTo>
                    <a:lnTo>
                      <a:pt x="88" y="26"/>
                    </a:lnTo>
                    <a:lnTo>
                      <a:pt x="81" y="41"/>
                    </a:lnTo>
                    <a:lnTo>
                      <a:pt x="69" y="51"/>
                    </a:lnTo>
                    <a:lnTo>
                      <a:pt x="74" y="64"/>
                    </a:lnTo>
                    <a:lnTo>
                      <a:pt x="69" y="75"/>
                    </a:lnTo>
                    <a:lnTo>
                      <a:pt x="74" y="88"/>
                    </a:lnTo>
                    <a:lnTo>
                      <a:pt x="57" y="117"/>
                    </a:lnTo>
                    <a:lnTo>
                      <a:pt x="20" y="88"/>
                    </a:lnTo>
                    <a:lnTo>
                      <a:pt x="0" y="73"/>
                    </a:lnTo>
                    <a:lnTo>
                      <a:pt x="12" y="64"/>
                    </a:lnTo>
                    <a:lnTo>
                      <a:pt x="12" y="46"/>
                    </a:lnTo>
                    <a:lnTo>
                      <a:pt x="34" y="31"/>
                    </a:lnTo>
                    <a:lnTo>
                      <a:pt x="46" y="37"/>
                    </a:lnTo>
                    <a:lnTo>
                      <a:pt x="57" y="31"/>
                    </a:lnTo>
                    <a:lnTo>
                      <a:pt x="76" y="16"/>
                    </a:lnTo>
                    <a:lnTo>
                      <a:pt x="83"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sp>
            <p:nvSpPr>
              <p:cNvPr id="185" name="Freeform 68"/>
              <p:cNvSpPr>
                <a:spLocks noChangeAspect="1"/>
              </p:cNvSpPr>
              <p:nvPr/>
            </p:nvSpPr>
            <p:spPr bwMode="auto">
              <a:xfrm>
                <a:off x="2924305" y="3506715"/>
                <a:ext cx="52302" cy="60126"/>
              </a:xfrm>
              <a:custGeom>
                <a:avLst/>
                <a:gdLst>
                  <a:gd name="T0" fmla="*/ 0 w 35"/>
                  <a:gd name="T1" fmla="*/ 0 h 50"/>
                  <a:gd name="T2" fmla="*/ 24 w 35"/>
                  <a:gd name="T3" fmla="*/ 9 h 50"/>
                  <a:gd name="T4" fmla="*/ 33 w 35"/>
                  <a:gd name="T5" fmla="*/ 21 h 50"/>
                  <a:gd name="T6" fmla="*/ 35 w 35"/>
                  <a:gd name="T7" fmla="*/ 40 h 50"/>
                  <a:gd name="T8" fmla="*/ 24 w 35"/>
                  <a:gd name="T9" fmla="*/ 50 h 50"/>
                  <a:gd name="T10" fmla="*/ 6 w 35"/>
                  <a:gd name="T11" fmla="*/ 41 h 50"/>
                  <a:gd name="T12" fmla="*/ 2 w 35"/>
                  <a:gd name="T13" fmla="*/ 28 h 50"/>
                  <a:gd name="T14" fmla="*/ 0 w 35"/>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50">
                    <a:moveTo>
                      <a:pt x="0" y="0"/>
                    </a:moveTo>
                    <a:lnTo>
                      <a:pt x="24" y="9"/>
                    </a:lnTo>
                    <a:lnTo>
                      <a:pt x="33" y="21"/>
                    </a:lnTo>
                    <a:lnTo>
                      <a:pt x="35" y="40"/>
                    </a:lnTo>
                    <a:lnTo>
                      <a:pt x="24" y="50"/>
                    </a:lnTo>
                    <a:lnTo>
                      <a:pt x="6" y="41"/>
                    </a:lnTo>
                    <a:lnTo>
                      <a:pt x="2" y="28"/>
                    </a:lnTo>
                    <a:lnTo>
                      <a:pt x="0" y="0"/>
                    </a:lnTo>
                    <a:close/>
                  </a:path>
                </a:pathLst>
              </a:custGeom>
              <a:grpFill/>
              <a:ln w="3175" cap="flat" cmpd="sng" algn="ctr">
                <a:solidFill>
                  <a:sysClr val="window" lastClr="FFFFFF"/>
                </a:solidFill>
                <a:prstDash val="solid"/>
                <a:headEnd type="none" w="med" len="med"/>
                <a:tailEnd type="none" w="med" len="med"/>
              </a:ln>
              <a:effectLst/>
              <a:extLst/>
            </p:spPr>
            <p:txBody>
              <a:bodyPr wrap="square">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de-CH" kern="0" dirty="0">
                  <a:solidFill>
                    <a:prstClr val="black"/>
                  </a:solidFill>
                  <a:latin typeface="Arial"/>
                </a:endParaRPr>
              </a:p>
            </p:txBody>
          </p:sp>
        </p:grpSp>
        <p:sp>
          <p:nvSpPr>
            <p:cNvPr id="172" name="ME"/>
            <p:cNvSpPr/>
            <p:nvPr/>
          </p:nvSpPr>
          <p:spPr>
            <a:xfrm>
              <a:off x="4825047" y="4909989"/>
              <a:ext cx="108197" cy="108304"/>
            </a:xfrm>
            <a:custGeom>
              <a:avLst/>
              <a:gdLst>
                <a:gd name="connsiteX0" fmla="*/ 7144 w 116681"/>
                <a:gd name="connsiteY0" fmla="*/ 138113 h 185738"/>
                <a:gd name="connsiteX1" fmla="*/ 92869 w 116681"/>
                <a:gd name="connsiteY1" fmla="*/ 185738 h 185738"/>
                <a:gd name="connsiteX2" fmla="*/ 116681 w 116681"/>
                <a:gd name="connsiteY2" fmla="*/ 111919 h 185738"/>
                <a:gd name="connsiteX3" fmla="*/ 97631 w 116681"/>
                <a:gd name="connsiteY3" fmla="*/ 0 h 185738"/>
                <a:gd name="connsiteX4" fmla="*/ 47625 w 116681"/>
                <a:gd name="connsiteY4" fmla="*/ 16669 h 185738"/>
                <a:gd name="connsiteX5" fmla="*/ 57150 w 116681"/>
                <a:gd name="connsiteY5" fmla="*/ 45244 h 185738"/>
                <a:gd name="connsiteX6" fmla="*/ 30956 w 116681"/>
                <a:gd name="connsiteY6" fmla="*/ 42863 h 185738"/>
                <a:gd name="connsiteX7" fmla="*/ 23813 w 116681"/>
                <a:gd name="connsiteY7" fmla="*/ 73819 h 185738"/>
                <a:gd name="connsiteX8" fmla="*/ 0 w 116681"/>
                <a:gd name="connsiteY8" fmla="*/ 85725 h 185738"/>
                <a:gd name="connsiteX9" fmla="*/ 7144 w 116681"/>
                <a:gd name="connsiteY9" fmla="*/ 138113 h 185738"/>
                <a:gd name="connsiteX0" fmla="*/ 7144 w 161952"/>
                <a:gd name="connsiteY0" fmla="*/ 121444 h 169069"/>
                <a:gd name="connsiteX1" fmla="*/ 92869 w 161952"/>
                <a:gd name="connsiteY1" fmla="*/ 169069 h 169069"/>
                <a:gd name="connsiteX2" fmla="*/ 116681 w 161952"/>
                <a:gd name="connsiteY2" fmla="*/ 95250 h 169069"/>
                <a:gd name="connsiteX3" fmla="*/ 161952 w 161952"/>
                <a:gd name="connsiteY3" fmla="*/ 54183 h 169069"/>
                <a:gd name="connsiteX4" fmla="*/ 47625 w 161952"/>
                <a:gd name="connsiteY4" fmla="*/ 0 h 169069"/>
                <a:gd name="connsiteX5" fmla="*/ 57150 w 161952"/>
                <a:gd name="connsiteY5" fmla="*/ 28575 h 169069"/>
                <a:gd name="connsiteX6" fmla="*/ 30956 w 161952"/>
                <a:gd name="connsiteY6" fmla="*/ 26194 h 169069"/>
                <a:gd name="connsiteX7" fmla="*/ 23813 w 161952"/>
                <a:gd name="connsiteY7" fmla="*/ 57150 h 169069"/>
                <a:gd name="connsiteX8" fmla="*/ 0 w 161952"/>
                <a:gd name="connsiteY8" fmla="*/ 69056 h 169069"/>
                <a:gd name="connsiteX9" fmla="*/ 7144 w 161952"/>
                <a:gd name="connsiteY9" fmla="*/ 121444 h 169069"/>
                <a:gd name="connsiteX0" fmla="*/ 7144 w 161952"/>
                <a:gd name="connsiteY0" fmla="*/ 134728 h 182353"/>
                <a:gd name="connsiteX1" fmla="*/ 92869 w 161952"/>
                <a:gd name="connsiteY1" fmla="*/ 182353 h 182353"/>
                <a:gd name="connsiteX2" fmla="*/ 116681 w 161952"/>
                <a:gd name="connsiteY2" fmla="*/ 108534 h 182353"/>
                <a:gd name="connsiteX3" fmla="*/ 161952 w 161952"/>
                <a:gd name="connsiteY3" fmla="*/ 67467 h 182353"/>
                <a:gd name="connsiteX4" fmla="*/ 104800 w 161952"/>
                <a:gd name="connsiteY4" fmla="*/ 0 h 182353"/>
                <a:gd name="connsiteX5" fmla="*/ 57150 w 161952"/>
                <a:gd name="connsiteY5" fmla="*/ 41859 h 182353"/>
                <a:gd name="connsiteX6" fmla="*/ 30956 w 161952"/>
                <a:gd name="connsiteY6" fmla="*/ 39478 h 182353"/>
                <a:gd name="connsiteX7" fmla="*/ 23813 w 161952"/>
                <a:gd name="connsiteY7" fmla="*/ 70434 h 182353"/>
                <a:gd name="connsiteX8" fmla="*/ 0 w 161952"/>
                <a:gd name="connsiteY8" fmla="*/ 82340 h 182353"/>
                <a:gd name="connsiteX9" fmla="*/ 7144 w 161952"/>
                <a:gd name="connsiteY9" fmla="*/ 134728 h 182353"/>
                <a:gd name="connsiteX0" fmla="*/ 7144 w 161952"/>
                <a:gd name="connsiteY0" fmla="*/ 146009 h 193634"/>
                <a:gd name="connsiteX1" fmla="*/ 92869 w 161952"/>
                <a:gd name="connsiteY1" fmla="*/ 193634 h 193634"/>
                <a:gd name="connsiteX2" fmla="*/ 116681 w 161952"/>
                <a:gd name="connsiteY2" fmla="*/ 119815 h 193634"/>
                <a:gd name="connsiteX3" fmla="*/ 161952 w 161952"/>
                <a:gd name="connsiteY3" fmla="*/ 78748 h 193634"/>
                <a:gd name="connsiteX4" fmla="*/ 104800 w 161952"/>
                <a:gd name="connsiteY4" fmla="*/ 11281 h 193634"/>
                <a:gd name="connsiteX5" fmla="*/ 78591 w 161952"/>
                <a:gd name="connsiteY5" fmla="*/ 0 h 193634"/>
                <a:gd name="connsiteX6" fmla="*/ 30956 w 161952"/>
                <a:gd name="connsiteY6" fmla="*/ 50759 h 193634"/>
                <a:gd name="connsiteX7" fmla="*/ 23813 w 161952"/>
                <a:gd name="connsiteY7" fmla="*/ 81715 h 193634"/>
                <a:gd name="connsiteX8" fmla="*/ 0 w 161952"/>
                <a:gd name="connsiteY8" fmla="*/ 93621 h 193634"/>
                <a:gd name="connsiteX9" fmla="*/ 7144 w 161952"/>
                <a:gd name="connsiteY9" fmla="*/ 146009 h 193634"/>
                <a:gd name="connsiteX0" fmla="*/ 7144 w 161952"/>
                <a:gd name="connsiteY0" fmla="*/ 152818 h 200443"/>
                <a:gd name="connsiteX1" fmla="*/ 92869 w 161952"/>
                <a:gd name="connsiteY1" fmla="*/ 200443 h 200443"/>
                <a:gd name="connsiteX2" fmla="*/ 116681 w 161952"/>
                <a:gd name="connsiteY2" fmla="*/ 126624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200443"/>
                <a:gd name="connsiteX1" fmla="*/ 92869 w 161952"/>
                <a:gd name="connsiteY1" fmla="*/ 200443 h 200443"/>
                <a:gd name="connsiteX2" fmla="*/ 134548 w 161952"/>
                <a:gd name="connsiteY2" fmla="*/ 139910 h 200443"/>
                <a:gd name="connsiteX3" fmla="*/ 161952 w 161952"/>
                <a:gd name="connsiteY3" fmla="*/ 85557 h 200443"/>
                <a:gd name="connsiteX4" fmla="*/ 104800 w 161952"/>
                <a:gd name="connsiteY4" fmla="*/ 18090 h 200443"/>
                <a:gd name="connsiteX5" fmla="*/ 78591 w 161952"/>
                <a:gd name="connsiteY5" fmla="*/ 6809 h 200443"/>
                <a:gd name="connsiteX6" fmla="*/ 52396 w 161952"/>
                <a:gd name="connsiteY6" fmla="*/ 0 h 200443"/>
                <a:gd name="connsiteX7" fmla="*/ 23813 w 161952"/>
                <a:gd name="connsiteY7" fmla="*/ 88524 h 200443"/>
                <a:gd name="connsiteX8" fmla="*/ 0 w 161952"/>
                <a:gd name="connsiteY8" fmla="*/ 100430 h 200443"/>
                <a:gd name="connsiteX9" fmla="*/ 7144 w 161952"/>
                <a:gd name="connsiteY9" fmla="*/ 152818 h 20044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23813 w 161952"/>
                <a:gd name="connsiteY7" fmla="*/ 88524 h 173873"/>
                <a:gd name="connsiteX8" fmla="*/ 0 w 161952"/>
                <a:gd name="connsiteY8" fmla="*/ 100430 h 173873"/>
                <a:gd name="connsiteX9" fmla="*/ 7144 w 161952"/>
                <a:gd name="connsiteY9" fmla="*/ 152818 h 173873"/>
                <a:gd name="connsiteX0" fmla="*/ 7144 w 161952"/>
                <a:gd name="connsiteY0" fmla="*/ 152818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7144 w 161952"/>
                <a:gd name="connsiteY9" fmla="*/ 152818 h 173873"/>
                <a:gd name="connsiteX0" fmla="*/ 42878 w 161952"/>
                <a:gd name="connsiteY0" fmla="*/ 112963 h 173873"/>
                <a:gd name="connsiteX1" fmla="*/ 103589 w 161952"/>
                <a:gd name="connsiteY1" fmla="*/ 173873 h 173873"/>
                <a:gd name="connsiteX2" fmla="*/ 134548 w 161952"/>
                <a:gd name="connsiteY2" fmla="*/ 139910 h 173873"/>
                <a:gd name="connsiteX3" fmla="*/ 161952 w 161952"/>
                <a:gd name="connsiteY3" fmla="*/ 85557 h 173873"/>
                <a:gd name="connsiteX4" fmla="*/ 104800 w 161952"/>
                <a:gd name="connsiteY4" fmla="*/ 18090 h 173873"/>
                <a:gd name="connsiteX5" fmla="*/ 78591 w 161952"/>
                <a:gd name="connsiteY5" fmla="*/ 6809 h 173873"/>
                <a:gd name="connsiteX6" fmla="*/ 52396 w 161952"/>
                <a:gd name="connsiteY6" fmla="*/ 0 h 173873"/>
                <a:gd name="connsiteX7" fmla="*/ 13093 w 161952"/>
                <a:gd name="connsiteY7" fmla="*/ 57526 h 173873"/>
                <a:gd name="connsiteX8" fmla="*/ 0 w 161952"/>
                <a:gd name="connsiteY8" fmla="*/ 100430 h 173873"/>
                <a:gd name="connsiteX9" fmla="*/ 42878 w 161952"/>
                <a:gd name="connsiteY9" fmla="*/ 112963 h 173873"/>
                <a:gd name="connsiteX0" fmla="*/ 29785 w 148859"/>
                <a:gd name="connsiteY0" fmla="*/ 11296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29785 w 148859"/>
                <a:gd name="connsiteY9" fmla="*/ 112963 h 173873"/>
                <a:gd name="connsiteX0" fmla="*/ 44079 w 148859"/>
                <a:gd name="connsiteY0" fmla="*/ 139533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44079 w 148859"/>
                <a:gd name="connsiteY9" fmla="*/ 139533 h 173873"/>
                <a:gd name="connsiteX0" fmla="*/ 65519 w 148859"/>
                <a:gd name="connsiteY0" fmla="*/ 135104 h 173873"/>
                <a:gd name="connsiteX1" fmla="*/ 90496 w 148859"/>
                <a:gd name="connsiteY1" fmla="*/ 173873 h 173873"/>
                <a:gd name="connsiteX2" fmla="*/ 121455 w 148859"/>
                <a:gd name="connsiteY2" fmla="*/ 139910 h 173873"/>
                <a:gd name="connsiteX3" fmla="*/ 148859 w 148859"/>
                <a:gd name="connsiteY3" fmla="*/ 85557 h 173873"/>
                <a:gd name="connsiteX4" fmla="*/ 91707 w 148859"/>
                <a:gd name="connsiteY4" fmla="*/ 18090 h 173873"/>
                <a:gd name="connsiteX5" fmla="*/ 65498 w 148859"/>
                <a:gd name="connsiteY5" fmla="*/ 6809 h 173873"/>
                <a:gd name="connsiteX6" fmla="*/ 39303 w 148859"/>
                <a:gd name="connsiteY6" fmla="*/ 0 h 173873"/>
                <a:gd name="connsiteX7" fmla="*/ 0 w 148859"/>
                <a:gd name="connsiteY7" fmla="*/ 57526 h 173873"/>
                <a:gd name="connsiteX8" fmla="*/ 4775 w 148859"/>
                <a:gd name="connsiteY8" fmla="*/ 91573 h 173873"/>
                <a:gd name="connsiteX9" fmla="*/ 65519 w 148859"/>
                <a:gd name="connsiteY9" fmla="*/ 135104 h 173873"/>
                <a:gd name="connsiteX0" fmla="*/ 60744 w 144084"/>
                <a:gd name="connsiteY0" fmla="*/ 135104 h 173873"/>
                <a:gd name="connsiteX1" fmla="*/ 85721 w 144084"/>
                <a:gd name="connsiteY1" fmla="*/ 173873 h 173873"/>
                <a:gd name="connsiteX2" fmla="*/ 116680 w 144084"/>
                <a:gd name="connsiteY2" fmla="*/ 139910 h 173873"/>
                <a:gd name="connsiteX3" fmla="*/ 144084 w 144084"/>
                <a:gd name="connsiteY3" fmla="*/ 85557 h 173873"/>
                <a:gd name="connsiteX4" fmla="*/ 86932 w 144084"/>
                <a:gd name="connsiteY4" fmla="*/ 18090 h 173873"/>
                <a:gd name="connsiteX5" fmla="*/ 60723 w 144084"/>
                <a:gd name="connsiteY5" fmla="*/ 6809 h 173873"/>
                <a:gd name="connsiteX6" fmla="*/ 34528 w 144084"/>
                <a:gd name="connsiteY6" fmla="*/ 0 h 173873"/>
                <a:gd name="connsiteX7" fmla="*/ 9519 w 144084"/>
                <a:gd name="connsiteY7" fmla="*/ 35385 h 173873"/>
                <a:gd name="connsiteX8" fmla="*/ 0 w 144084"/>
                <a:gd name="connsiteY8" fmla="*/ 91573 h 173873"/>
                <a:gd name="connsiteX9" fmla="*/ 60744 w 144084"/>
                <a:gd name="connsiteY9" fmla="*/ 135104 h 173873"/>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86932 w 144084"/>
                <a:gd name="connsiteY4" fmla="*/ 11281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28295 h 167064"/>
                <a:gd name="connsiteX1" fmla="*/ 85721 w 144084"/>
                <a:gd name="connsiteY1" fmla="*/ 167064 h 167064"/>
                <a:gd name="connsiteX2" fmla="*/ 116680 w 144084"/>
                <a:gd name="connsiteY2" fmla="*/ 133101 h 167064"/>
                <a:gd name="connsiteX3" fmla="*/ 144084 w 144084"/>
                <a:gd name="connsiteY3" fmla="*/ 78748 h 167064"/>
                <a:gd name="connsiteX4" fmla="*/ 97653 w 144084"/>
                <a:gd name="connsiteY4" fmla="*/ 33423 h 167064"/>
                <a:gd name="connsiteX5" fmla="*/ 60723 w 144084"/>
                <a:gd name="connsiteY5" fmla="*/ 0 h 167064"/>
                <a:gd name="connsiteX6" fmla="*/ 41674 w 144084"/>
                <a:gd name="connsiteY6" fmla="*/ 10905 h 167064"/>
                <a:gd name="connsiteX7" fmla="*/ 9519 w 144084"/>
                <a:gd name="connsiteY7" fmla="*/ 28576 h 167064"/>
                <a:gd name="connsiteX8" fmla="*/ 0 w 144084"/>
                <a:gd name="connsiteY8" fmla="*/ 84764 h 167064"/>
                <a:gd name="connsiteX9" fmla="*/ 60744 w 144084"/>
                <a:gd name="connsiteY9" fmla="*/ 128295 h 167064"/>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41674 w 144084"/>
                <a:gd name="connsiteY6" fmla="*/ 23304 h 179463"/>
                <a:gd name="connsiteX7" fmla="*/ 9519 w 144084"/>
                <a:gd name="connsiteY7" fmla="*/ 40975 h 179463"/>
                <a:gd name="connsiteX8" fmla="*/ 0 w 144084"/>
                <a:gd name="connsiteY8" fmla="*/ 97163 h 179463"/>
                <a:gd name="connsiteX9" fmla="*/ 60744 w 144084"/>
                <a:gd name="connsiteY9" fmla="*/ 140694 h 179463"/>
                <a:gd name="connsiteX0" fmla="*/ 60744 w 144084"/>
                <a:gd name="connsiteY0" fmla="*/ 140694 h 179463"/>
                <a:gd name="connsiteX1" fmla="*/ 85721 w 144084"/>
                <a:gd name="connsiteY1" fmla="*/ 179463 h 179463"/>
                <a:gd name="connsiteX2" fmla="*/ 116680 w 144084"/>
                <a:gd name="connsiteY2" fmla="*/ 145500 h 179463"/>
                <a:gd name="connsiteX3" fmla="*/ 144084 w 144084"/>
                <a:gd name="connsiteY3" fmla="*/ 91147 h 179463"/>
                <a:gd name="connsiteX4" fmla="*/ 97653 w 144084"/>
                <a:gd name="connsiteY4" fmla="*/ 45822 h 179463"/>
                <a:gd name="connsiteX5" fmla="*/ 63225 w 144084"/>
                <a:gd name="connsiteY5" fmla="*/ 0 h 179463"/>
                <a:gd name="connsiteX6" fmla="*/ 34170 w 144084"/>
                <a:gd name="connsiteY6" fmla="*/ 7805 h 179463"/>
                <a:gd name="connsiteX7" fmla="*/ 9519 w 144084"/>
                <a:gd name="connsiteY7" fmla="*/ 40975 h 179463"/>
                <a:gd name="connsiteX8" fmla="*/ 0 w 144084"/>
                <a:gd name="connsiteY8" fmla="*/ 97163 h 179463"/>
                <a:gd name="connsiteX9" fmla="*/ 60744 w 144084"/>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07659 w 154090"/>
                <a:gd name="connsiteY4" fmla="*/ 45822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79463"/>
                <a:gd name="connsiteX1" fmla="*/ 95727 w 154090"/>
                <a:gd name="connsiteY1" fmla="*/ 179463 h 179463"/>
                <a:gd name="connsiteX2" fmla="*/ 126686 w 154090"/>
                <a:gd name="connsiteY2" fmla="*/ 145500 h 179463"/>
                <a:gd name="connsiteX3" fmla="*/ 154090 w 154090"/>
                <a:gd name="connsiteY3" fmla="*/ 91147 h 179463"/>
                <a:gd name="connsiteX4" fmla="*/ 125169 w 154090"/>
                <a:gd name="connsiteY4" fmla="*/ 52021 h 179463"/>
                <a:gd name="connsiteX5" fmla="*/ 73231 w 154090"/>
                <a:gd name="connsiteY5" fmla="*/ 0 h 179463"/>
                <a:gd name="connsiteX6" fmla="*/ 44176 w 154090"/>
                <a:gd name="connsiteY6" fmla="*/ 7805 h 179463"/>
                <a:gd name="connsiteX7" fmla="*/ 19525 w 154090"/>
                <a:gd name="connsiteY7" fmla="*/ 40975 h 179463"/>
                <a:gd name="connsiteX8" fmla="*/ 0 w 154090"/>
                <a:gd name="connsiteY8" fmla="*/ 69265 h 179463"/>
                <a:gd name="connsiteX9" fmla="*/ 70750 w 154090"/>
                <a:gd name="connsiteY9" fmla="*/ 140694 h 179463"/>
                <a:gd name="connsiteX0" fmla="*/ 70750 w 154090"/>
                <a:gd name="connsiteY0" fmla="*/ 140694 h 185663"/>
                <a:gd name="connsiteX1" fmla="*/ 108234 w 154090"/>
                <a:gd name="connsiteY1" fmla="*/ 185663 h 185663"/>
                <a:gd name="connsiteX2" fmla="*/ 126686 w 154090"/>
                <a:gd name="connsiteY2" fmla="*/ 145500 h 185663"/>
                <a:gd name="connsiteX3" fmla="*/ 154090 w 154090"/>
                <a:gd name="connsiteY3" fmla="*/ 91147 h 185663"/>
                <a:gd name="connsiteX4" fmla="*/ 125169 w 154090"/>
                <a:gd name="connsiteY4" fmla="*/ 52021 h 185663"/>
                <a:gd name="connsiteX5" fmla="*/ 73231 w 154090"/>
                <a:gd name="connsiteY5" fmla="*/ 0 h 185663"/>
                <a:gd name="connsiteX6" fmla="*/ 44176 w 154090"/>
                <a:gd name="connsiteY6" fmla="*/ 7805 h 185663"/>
                <a:gd name="connsiteX7" fmla="*/ 19525 w 154090"/>
                <a:gd name="connsiteY7" fmla="*/ 40975 h 185663"/>
                <a:gd name="connsiteX8" fmla="*/ 0 w 154090"/>
                <a:gd name="connsiteY8" fmla="*/ 69265 h 185663"/>
                <a:gd name="connsiteX9" fmla="*/ 70750 w 154090"/>
                <a:gd name="connsiteY9" fmla="*/ 140694 h 185663"/>
                <a:gd name="connsiteX0" fmla="*/ 60744 w 144084"/>
                <a:gd name="connsiteY0" fmla="*/ 140694 h 185663"/>
                <a:gd name="connsiteX1" fmla="*/ 98228 w 144084"/>
                <a:gd name="connsiteY1" fmla="*/ 185663 h 185663"/>
                <a:gd name="connsiteX2" fmla="*/ 116680 w 144084"/>
                <a:gd name="connsiteY2" fmla="*/ 145500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91147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44084"/>
                <a:gd name="connsiteY0" fmla="*/ 140694 h 185663"/>
                <a:gd name="connsiteX1" fmla="*/ 98228 w 144084"/>
                <a:gd name="connsiteY1" fmla="*/ 185663 h 185663"/>
                <a:gd name="connsiteX2" fmla="*/ 109176 w 144084"/>
                <a:gd name="connsiteY2" fmla="*/ 126901 h 185663"/>
                <a:gd name="connsiteX3" fmla="*/ 144084 w 144084"/>
                <a:gd name="connsiteY3" fmla="*/ 112846 h 185663"/>
                <a:gd name="connsiteX4" fmla="*/ 115163 w 144084"/>
                <a:gd name="connsiteY4" fmla="*/ 52021 h 185663"/>
                <a:gd name="connsiteX5" fmla="*/ 63225 w 144084"/>
                <a:gd name="connsiteY5" fmla="*/ 0 h 185663"/>
                <a:gd name="connsiteX6" fmla="*/ 34170 w 144084"/>
                <a:gd name="connsiteY6" fmla="*/ 7805 h 185663"/>
                <a:gd name="connsiteX7" fmla="*/ 9519 w 144084"/>
                <a:gd name="connsiteY7" fmla="*/ 40975 h 185663"/>
                <a:gd name="connsiteX8" fmla="*/ 0 w 144084"/>
                <a:gd name="connsiteY8" fmla="*/ 90963 h 185663"/>
                <a:gd name="connsiteX9" fmla="*/ 60744 w 144084"/>
                <a:gd name="connsiteY9" fmla="*/ 140694 h 185663"/>
                <a:gd name="connsiteX0" fmla="*/ 60744 w 159092"/>
                <a:gd name="connsiteY0" fmla="*/ 140694 h 185663"/>
                <a:gd name="connsiteX1" fmla="*/ 98228 w 159092"/>
                <a:gd name="connsiteY1" fmla="*/ 185663 h 185663"/>
                <a:gd name="connsiteX2" fmla="*/ 109176 w 159092"/>
                <a:gd name="connsiteY2" fmla="*/ 126901 h 185663"/>
                <a:gd name="connsiteX3" fmla="*/ 159092 w 159092"/>
                <a:gd name="connsiteY3" fmla="*/ 100447 h 185663"/>
                <a:gd name="connsiteX4" fmla="*/ 115163 w 159092"/>
                <a:gd name="connsiteY4" fmla="*/ 52021 h 185663"/>
                <a:gd name="connsiteX5" fmla="*/ 63225 w 159092"/>
                <a:gd name="connsiteY5" fmla="*/ 0 h 185663"/>
                <a:gd name="connsiteX6" fmla="*/ 34170 w 159092"/>
                <a:gd name="connsiteY6" fmla="*/ 7805 h 185663"/>
                <a:gd name="connsiteX7" fmla="*/ 9519 w 159092"/>
                <a:gd name="connsiteY7" fmla="*/ 40975 h 185663"/>
                <a:gd name="connsiteX8" fmla="*/ 0 w 159092"/>
                <a:gd name="connsiteY8" fmla="*/ 90963 h 185663"/>
                <a:gd name="connsiteX9" fmla="*/ 60744 w 159092"/>
                <a:gd name="connsiteY9" fmla="*/ 140694 h 185663"/>
                <a:gd name="connsiteX0" fmla="*/ 60744 w 141582"/>
                <a:gd name="connsiteY0" fmla="*/ 140694 h 185663"/>
                <a:gd name="connsiteX1" fmla="*/ 98228 w 141582"/>
                <a:gd name="connsiteY1" fmla="*/ 185663 h 185663"/>
                <a:gd name="connsiteX2" fmla="*/ 109176 w 141582"/>
                <a:gd name="connsiteY2" fmla="*/ 126901 h 185663"/>
                <a:gd name="connsiteX3" fmla="*/ 141582 w 141582"/>
                <a:gd name="connsiteY3" fmla="*/ 109746 h 185663"/>
                <a:gd name="connsiteX4" fmla="*/ 115163 w 141582"/>
                <a:gd name="connsiteY4" fmla="*/ 52021 h 185663"/>
                <a:gd name="connsiteX5" fmla="*/ 63225 w 141582"/>
                <a:gd name="connsiteY5" fmla="*/ 0 h 185663"/>
                <a:gd name="connsiteX6" fmla="*/ 34170 w 141582"/>
                <a:gd name="connsiteY6" fmla="*/ 7805 h 185663"/>
                <a:gd name="connsiteX7" fmla="*/ 9519 w 141582"/>
                <a:gd name="connsiteY7" fmla="*/ 40975 h 185663"/>
                <a:gd name="connsiteX8" fmla="*/ 0 w 141582"/>
                <a:gd name="connsiteY8" fmla="*/ 90963 h 185663"/>
                <a:gd name="connsiteX9" fmla="*/ 60744 w 141582"/>
                <a:gd name="connsiteY9" fmla="*/ 140694 h 185663"/>
                <a:gd name="connsiteX0" fmla="*/ 66233 w 147071"/>
                <a:gd name="connsiteY0" fmla="*/ 140694 h 185663"/>
                <a:gd name="connsiteX1" fmla="*/ 103717 w 147071"/>
                <a:gd name="connsiteY1" fmla="*/ 185663 h 185663"/>
                <a:gd name="connsiteX2" fmla="*/ 114665 w 147071"/>
                <a:gd name="connsiteY2" fmla="*/ 126901 h 185663"/>
                <a:gd name="connsiteX3" fmla="*/ 147071 w 147071"/>
                <a:gd name="connsiteY3" fmla="*/ 109746 h 185663"/>
                <a:gd name="connsiteX4" fmla="*/ 120652 w 147071"/>
                <a:gd name="connsiteY4" fmla="*/ 52021 h 185663"/>
                <a:gd name="connsiteX5" fmla="*/ 68714 w 147071"/>
                <a:gd name="connsiteY5" fmla="*/ 0 h 185663"/>
                <a:gd name="connsiteX6" fmla="*/ 39659 w 147071"/>
                <a:gd name="connsiteY6" fmla="*/ 7805 h 185663"/>
                <a:gd name="connsiteX7" fmla="*/ 0 w 147071"/>
                <a:gd name="connsiteY7" fmla="*/ 59574 h 185663"/>
                <a:gd name="connsiteX8" fmla="*/ 5489 w 147071"/>
                <a:gd name="connsiteY8" fmla="*/ 90963 h 185663"/>
                <a:gd name="connsiteX9" fmla="*/ 66233 w 147071"/>
                <a:gd name="connsiteY9" fmla="*/ 140694 h 185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071" h="185663">
                  <a:moveTo>
                    <a:pt x="66233" y="140694"/>
                  </a:moveTo>
                  <a:lnTo>
                    <a:pt x="103717" y="185663"/>
                  </a:lnTo>
                  <a:lnTo>
                    <a:pt x="114665" y="126901"/>
                  </a:lnTo>
                  <a:lnTo>
                    <a:pt x="147071" y="109746"/>
                  </a:lnTo>
                  <a:cubicBezTo>
                    <a:pt x="137431" y="96704"/>
                    <a:pt x="130292" y="71263"/>
                    <a:pt x="120652" y="52021"/>
                  </a:cubicBezTo>
                  <a:cubicBezTo>
                    <a:pt x="95835" y="34681"/>
                    <a:pt x="86027" y="17340"/>
                    <a:pt x="68714" y="0"/>
                  </a:cubicBezTo>
                  <a:lnTo>
                    <a:pt x="39659" y="7805"/>
                  </a:lnTo>
                  <a:lnTo>
                    <a:pt x="0" y="59574"/>
                  </a:lnTo>
                  <a:lnTo>
                    <a:pt x="5489" y="90963"/>
                  </a:lnTo>
                  <a:lnTo>
                    <a:pt x="66233" y="140694"/>
                  </a:lnTo>
                  <a:close/>
                </a:path>
              </a:pathLst>
            </a:custGeom>
            <a:solidFill>
              <a:srgbClr val="FFFFFF">
                <a:lumMod val="75000"/>
              </a:srgbClr>
            </a:solidFill>
            <a:ln w="3175" cap="flat" cmpd="sng" algn="ctr">
              <a:solidFill>
                <a:sysClr val="window" lastClr="FFFFFF"/>
              </a:solidFill>
              <a:prstDash val="solid"/>
              <a:headEnd/>
              <a:tailEnd/>
            </a:ln>
            <a:effec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en-IE" sz="2400" kern="0" dirty="0">
                <a:solidFill>
                  <a:srgbClr val="000000"/>
                </a:solidFill>
                <a:latin typeface="Arial"/>
              </a:endParaRPr>
            </a:p>
          </p:txBody>
        </p:sp>
        <p:sp>
          <p:nvSpPr>
            <p:cNvPr id="173" name="CY"/>
            <p:cNvSpPr>
              <a:spLocks noChangeAspect="1"/>
            </p:cNvSpPr>
            <p:nvPr/>
          </p:nvSpPr>
          <p:spPr bwMode="auto">
            <a:xfrm>
              <a:off x="5680591" y="5414810"/>
              <a:ext cx="155608" cy="83574"/>
            </a:xfrm>
            <a:custGeom>
              <a:avLst/>
              <a:gdLst>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897 w 10000"/>
                <a:gd name="connsiteY22" fmla="*/ 5697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0 w 10000"/>
                <a:gd name="connsiteY26" fmla="*/ 5281 h 14586"/>
                <a:gd name="connsiteX27" fmla="*/ 0 w 10000"/>
                <a:gd name="connsiteY27" fmla="*/ 7919 h 14586"/>
                <a:gd name="connsiteX0" fmla="*/ 0 w 11176"/>
                <a:gd name="connsiteY0" fmla="*/ 5976 h 14586"/>
                <a:gd name="connsiteX1" fmla="*/ 1433 w 11176"/>
                <a:gd name="connsiteY1" fmla="*/ 12364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764 w 11176"/>
                <a:gd name="connsiteY19" fmla="*/ 1806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8218 w 11176"/>
                <a:gd name="connsiteY16" fmla="*/ 6808 h 14586"/>
                <a:gd name="connsiteX17" fmla="*/ 9117 w 11176"/>
                <a:gd name="connsiteY17" fmla="*/ 0 h 14586"/>
                <a:gd name="connsiteX18" fmla="*/ 6764 w 11176"/>
                <a:gd name="connsiteY18" fmla="*/ 1806 h 14586"/>
                <a:gd name="connsiteX19" fmla="*/ 4705 w 11176"/>
                <a:gd name="connsiteY19" fmla="*/ 1111 h 14586"/>
                <a:gd name="connsiteX20" fmla="*/ 3529 w 11176"/>
                <a:gd name="connsiteY20" fmla="*/ 1111 h 14586"/>
                <a:gd name="connsiteX21" fmla="*/ 2352 w 11176"/>
                <a:gd name="connsiteY21" fmla="*/ 0 h 14586"/>
                <a:gd name="connsiteX22" fmla="*/ 2941 w 11176"/>
                <a:gd name="connsiteY22" fmla="*/ 5281 h 14586"/>
                <a:gd name="connsiteX23" fmla="*/ 1764 w 11176"/>
                <a:gd name="connsiteY23" fmla="*/ 5281 h 14586"/>
                <a:gd name="connsiteX24" fmla="*/ 1176 w 11176"/>
                <a:gd name="connsiteY24" fmla="*/ 3891 h 14586"/>
                <a:gd name="connsiteX25" fmla="*/ 882 w 11176"/>
                <a:gd name="connsiteY25" fmla="*/ 5976 h 14586"/>
                <a:gd name="connsiteX26" fmla="*/ 0 w 11176"/>
                <a:gd name="connsiteY26"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117 w 11176"/>
                <a:gd name="connsiteY16" fmla="*/ 0 h 14586"/>
                <a:gd name="connsiteX17" fmla="*/ 6764 w 11176"/>
                <a:gd name="connsiteY17" fmla="*/ 1806 h 14586"/>
                <a:gd name="connsiteX18" fmla="*/ 4705 w 11176"/>
                <a:gd name="connsiteY18" fmla="*/ 1111 h 14586"/>
                <a:gd name="connsiteX19" fmla="*/ 3529 w 11176"/>
                <a:gd name="connsiteY19" fmla="*/ 1111 h 14586"/>
                <a:gd name="connsiteX20" fmla="*/ 2352 w 11176"/>
                <a:gd name="connsiteY20" fmla="*/ 0 h 14586"/>
                <a:gd name="connsiteX21" fmla="*/ 2941 w 11176"/>
                <a:gd name="connsiteY21" fmla="*/ 5281 h 14586"/>
                <a:gd name="connsiteX22" fmla="*/ 1764 w 11176"/>
                <a:gd name="connsiteY22" fmla="*/ 5281 h 14586"/>
                <a:gd name="connsiteX23" fmla="*/ 1176 w 11176"/>
                <a:gd name="connsiteY23" fmla="*/ 3891 h 14586"/>
                <a:gd name="connsiteX24" fmla="*/ 882 w 11176"/>
                <a:gd name="connsiteY24" fmla="*/ 5976 h 14586"/>
                <a:gd name="connsiteX25" fmla="*/ 0 w 11176"/>
                <a:gd name="connsiteY25"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117 w 11176"/>
                <a:gd name="connsiteY15" fmla="*/ 0 h 14586"/>
                <a:gd name="connsiteX16" fmla="*/ 6764 w 11176"/>
                <a:gd name="connsiteY16" fmla="*/ 1806 h 14586"/>
                <a:gd name="connsiteX17" fmla="*/ 4705 w 11176"/>
                <a:gd name="connsiteY17" fmla="*/ 1111 h 14586"/>
                <a:gd name="connsiteX18" fmla="*/ 3529 w 11176"/>
                <a:gd name="connsiteY18" fmla="*/ 1111 h 14586"/>
                <a:gd name="connsiteX19" fmla="*/ 2352 w 11176"/>
                <a:gd name="connsiteY19" fmla="*/ 0 h 14586"/>
                <a:gd name="connsiteX20" fmla="*/ 2941 w 11176"/>
                <a:gd name="connsiteY20" fmla="*/ 5281 h 14586"/>
                <a:gd name="connsiteX21" fmla="*/ 1764 w 11176"/>
                <a:gd name="connsiteY21" fmla="*/ 5281 h 14586"/>
                <a:gd name="connsiteX22" fmla="*/ 1176 w 11176"/>
                <a:gd name="connsiteY22" fmla="*/ 3891 h 14586"/>
                <a:gd name="connsiteX23" fmla="*/ 882 w 11176"/>
                <a:gd name="connsiteY23" fmla="*/ 5976 h 14586"/>
                <a:gd name="connsiteX24" fmla="*/ 0 w 11176"/>
                <a:gd name="connsiteY24" fmla="*/ 5976 h 14586"/>
                <a:gd name="connsiteX0" fmla="*/ 0 w 13823"/>
                <a:gd name="connsiteY0" fmla="*/ 10981 h 19591"/>
                <a:gd name="connsiteX1" fmla="*/ 588 w 13823"/>
                <a:gd name="connsiteY1" fmla="*/ 17932 h 19591"/>
                <a:gd name="connsiteX2" fmla="*/ 2237 w 13823"/>
                <a:gd name="connsiteY2" fmla="*/ 18480 h 19591"/>
                <a:gd name="connsiteX3" fmla="*/ 3330 w 13823"/>
                <a:gd name="connsiteY3" fmla="*/ 18480 h 19591"/>
                <a:gd name="connsiteX4" fmla="*/ 5227 w 13823"/>
                <a:gd name="connsiteY4" fmla="*/ 17369 h 19591"/>
                <a:gd name="connsiteX5" fmla="*/ 5774 w 13823"/>
                <a:gd name="connsiteY5" fmla="*/ 17369 h 19591"/>
                <a:gd name="connsiteX6" fmla="*/ 5774 w 13823"/>
                <a:gd name="connsiteY6" fmla="*/ 19591 h 19591"/>
                <a:gd name="connsiteX7" fmla="*/ 7382 w 13823"/>
                <a:gd name="connsiteY7" fmla="*/ 19591 h 19591"/>
                <a:gd name="connsiteX8" fmla="*/ 8218 w 13823"/>
                <a:gd name="connsiteY8" fmla="*/ 17369 h 19591"/>
                <a:gd name="connsiteX9" fmla="*/ 9279 w 13823"/>
                <a:gd name="connsiteY9" fmla="*/ 17369 h 19591"/>
                <a:gd name="connsiteX10" fmla="*/ 10115 w 13823"/>
                <a:gd name="connsiteY10" fmla="*/ 15147 h 19591"/>
                <a:gd name="connsiteX11" fmla="*/ 11176 w 13823"/>
                <a:gd name="connsiteY11" fmla="*/ 14035 h 19591"/>
                <a:gd name="connsiteX12" fmla="*/ 11176 w 13823"/>
                <a:gd name="connsiteY12" fmla="*/ 9591 h 19591"/>
                <a:gd name="connsiteX13" fmla="*/ 10372 w 13823"/>
                <a:gd name="connsiteY13" fmla="*/ 11813 h 19591"/>
                <a:gd name="connsiteX14" fmla="*/ 13823 w 13823"/>
                <a:gd name="connsiteY14" fmla="*/ 2640 h 19591"/>
                <a:gd name="connsiteX15" fmla="*/ 9117 w 13823"/>
                <a:gd name="connsiteY15" fmla="*/ 5005 h 19591"/>
                <a:gd name="connsiteX16" fmla="*/ 6764 w 13823"/>
                <a:gd name="connsiteY16" fmla="*/ 6811 h 19591"/>
                <a:gd name="connsiteX17" fmla="*/ 4705 w 13823"/>
                <a:gd name="connsiteY17" fmla="*/ 6116 h 19591"/>
                <a:gd name="connsiteX18" fmla="*/ 3529 w 13823"/>
                <a:gd name="connsiteY18" fmla="*/ 6116 h 19591"/>
                <a:gd name="connsiteX19" fmla="*/ 2352 w 13823"/>
                <a:gd name="connsiteY19" fmla="*/ 5005 h 19591"/>
                <a:gd name="connsiteX20" fmla="*/ 2941 w 13823"/>
                <a:gd name="connsiteY20" fmla="*/ 10286 h 19591"/>
                <a:gd name="connsiteX21" fmla="*/ 1764 w 13823"/>
                <a:gd name="connsiteY21" fmla="*/ 10286 h 19591"/>
                <a:gd name="connsiteX22" fmla="*/ 1176 w 13823"/>
                <a:gd name="connsiteY22" fmla="*/ 8896 h 19591"/>
                <a:gd name="connsiteX23" fmla="*/ 882 w 13823"/>
                <a:gd name="connsiteY23" fmla="*/ 10981 h 19591"/>
                <a:gd name="connsiteX24" fmla="*/ 0 w 13823"/>
                <a:gd name="connsiteY24" fmla="*/ 10981 h 19591"/>
                <a:gd name="connsiteX0" fmla="*/ 0 w 14705"/>
                <a:gd name="connsiteY0" fmla="*/ 10981 h 19591"/>
                <a:gd name="connsiteX1" fmla="*/ 588 w 14705"/>
                <a:gd name="connsiteY1" fmla="*/ 17932 h 19591"/>
                <a:gd name="connsiteX2" fmla="*/ 2237 w 14705"/>
                <a:gd name="connsiteY2" fmla="*/ 18480 h 19591"/>
                <a:gd name="connsiteX3" fmla="*/ 3330 w 14705"/>
                <a:gd name="connsiteY3" fmla="*/ 18480 h 19591"/>
                <a:gd name="connsiteX4" fmla="*/ 5227 w 14705"/>
                <a:gd name="connsiteY4" fmla="*/ 17369 h 19591"/>
                <a:gd name="connsiteX5" fmla="*/ 5774 w 14705"/>
                <a:gd name="connsiteY5" fmla="*/ 17369 h 19591"/>
                <a:gd name="connsiteX6" fmla="*/ 5774 w 14705"/>
                <a:gd name="connsiteY6" fmla="*/ 19591 h 19591"/>
                <a:gd name="connsiteX7" fmla="*/ 7382 w 14705"/>
                <a:gd name="connsiteY7" fmla="*/ 19591 h 19591"/>
                <a:gd name="connsiteX8" fmla="*/ 8218 w 14705"/>
                <a:gd name="connsiteY8" fmla="*/ 17369 h 19591"/>
                <a:gd name="connsiteX9" fmla="*/ 9279 w 14705"/>
                <a:gd name="connsiteY9" fmla="*/ 17369 h 19591"/>
                <a:gd name="connsiteX10" fmla="*/ 10115 w 14705"/>
                <a:gd name="connsiteY10" fmla="*/ 15147 h 19591"/>
                <a:gd name="connsiteX11" fmla="*/ 11176 w 14705"/>
                <a:gd name="connsiteY11" fmla="*/ 14035 h 19591"/>
                <a:gd name="connsiteX12" fmla="*/ 11176 w 14705"/>
                <a:gd name="connsiteY12" fmla="*/ 9591 h 19591"/>
                <a:gd name="connsiteX13" fmla="*/ 14705 w 14705"/>
                <a:gd name="connsiteY13" fmla="*/ 1945 h 19591"/>
                <a:gd name="connsiteX14" fmla="*/ 13823 w 14705"/>
                <a:gd name="connsiteY14" fmla="*/ 2640 h 19591"/>
                <a:gd name="connsiteX15" fmla="*/ 9117 w 14705"/>
                <a:gd name="connsiteY15" fmla="*/ 5005 h 19591"/>
                <a:gd name="connsiteX16" fmla="*/ 6764 w 14705"/>
                <a:gd name="connsiteY16" fmla="*/ 6811 h 19591"/>
                <a:gd name="connsiteX17" fmla="*/ 4705 w 14705"/>
                <a:gd name="connsiteY17" fmla="*/ 6116 h 19591"/>
                <a:gd name="connsiteX18" fmla="*/ 3529 w 14705"/>
                <a:gd name="connsiteY18" fmla="*/ 6116 h 19591"/>
                <a:gd name="connsiteX19" fmla="*/ 2352 w 14705"/>
                <a:gd name="connsiteY19" fmla="*/ 5005 h 19591"/>
                <a:gd name="connsiteX20" fmla="*/ 2941 w 14705"/>
                <a:gd name="connsiteY20" fmla="*/ 10286 h 19591"/>
                <a:gd name="connsiteX21" fmla="*/ 1764 w 14705"/>
                <a:gd name="connsiteY21" fmla="*/ 10286 h 19591"/>
                <a:gd name="connsiteX22" fmla="*/ 1176 w 14705"/>
                <a:gd name="connsiteY22" fmla="*/ 8896 h 19591"/>
                <a:gd name="connsiteX23" fmla="*/ 882 w 14705"/>
                <a:gd name="connsiteY23" fmla="*/ 10981 h 19591"/>
                <a:gd name="connsiteX24" fmla="*/ 0 w 14705"/>
                <a:gd name="connsiteY24" fmla="*/ 10981 h 19591"/>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7058 w 14705"/>
                <a:gd name="connsiteY8" fmla="*/ 14680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5227 w 14705"/>
                <a:gd name="connsiteY4" fmla="*/ 15424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647 w 14705"/>
                <a:gd name="connsiteY8" fmla="*/ 13207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705" h="18767">
                  <a:moveTo>
                    <a:pt x="0" y="9036"/>
                  </a:moveTo>
                  <a:cubicBezTo>
                    <a:pt x="86" y="10518"/>
                    <a:pt x="502" y="14505"/>
                    <a:pt x="588" y="15987"/>
                  </a:cubicBezTo>
                  <a:lnTo>
                    <a:pt x="2237" y="16535"/>
                  </a:lnTo>
                  <a:cubicBezTo>
                    <a:pt x="2177" y="17279"/>
                    <a:pt x="2118" y="18023"/>
                    <a:pt x="2058" y="18767"/>
                  </a:cubicBezTo>
                  <a:lnTo>
                    <a:pt x="3529" y="18767"/>
                  </a:lnTo>
                  <a:lnTo>
                    <a:pt x="3823" y="15987"/>
                  </a:lnTo>
                  <a:lnTo>
                    <a:pt x="5588" y="16682"/>
                  </a:lnTo>
                  <a:lnTo>
                    <a:pt x="6764" y="15987"/>
                  </a:lnTo>
                  <a:lnTo>
                    <a:pt x="7647" y="13207"/>
                  </a:lnTo>
                  <a:lnTo>
                    <a:pt x="9279" y="15424"/>
                  </a:lnTo>
                  <a:lnTo>
                    <a:pt x="10115" y="13202"/>
                  </a:lnTo>
                  <a:cubicBezTo>
                    <a:pt x="9880" y="10887"/>
                    <a:pt x="9646" y="8571"/>
                    <a:pt x="9411" y="6256"/>
                  </a:cubicBezTo>
                  <a:lnTo>
                    <a:pt x="14705" y="1390"/>
                  </a:lnTo>
                  <a:lnTo>
                    <a:pt x="14705" y="0"/>
                  </a:lnTo>
                  <a:lnTo>
                    <a:pt x="9117" y="3060"/>
                  </a:lnTo>
                  <a:lnTo>
                    <a:pt x="6764" y="4866"/>
                  </a:lnTo>
                  <a:lnTo>
                    <a:pt x="4705" y="4171"/>
                  </a:lnTo>
                  <a:cubicBezTo>
                    <a:pt x="4609" y="3060"/>
                    <a:pt x="3625" y="5282"/>
                    <a:pt x="3529" y="4171"/>
                  </a:cubicBezTo>
                  <a:lnTo>
                    <a:pt x="2352" y="3060"/>
                  </a:lnTo>
                  <a:cubicBezTo>
                    <a:pt x="2592" y="5700"/>
                    <a:pt x="2701" y="5701"/>
                    <a:pt x="2941" y="8341"/>
                  </a:cubicBezTo>
                  <a:lnTo>
                    <a:pt x="1764" y="8341"/>
                  </a:lnTo>
                  <a:cubicBezTo>
                    <a:pt x="1582" y="7230"/>
                    <a:pt x="1358" y="8062"/>
                    <a:pt x="1176" y="6951"/>
                  </a:cubicBezTo>
                  <a:lnTo>
                    <a:pt x="882" y="9036"/>
                  </a:lnTo>
                  <a:lnTo>
                    <a:pt x="0" y="9036"/>
                  </a:lnTo>
                  <a:close/>
                </a:path>
              </a:pathLst>
            </a:custGeom>
            <a:solidFill>
              <a:srgbClr val="FFFFFF">
                <a:lumMod val="75000"/>
              </a:srgbClr>
            </a:solidFill>
            <a:ln w="3175" cap="flat" cmpd="sng" algn="ctr">
              <a:solidFill>
                <a:sysClr val="window" lastClr="FFFFFF"/>
              </a:solidFill>
              <a:prstDash val="solid"/>
              <a:headEnd/>
              <a:tailEnd/>
            </a:ln>
            <a:effec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en-IE" sz="2400" kern="0" dirty="0">
                <a:solidFill>
                  <a:srgbClr val="000000"/>
                </a:solidFill>
                <a:latin typeface="Arial"/>
              </a:endParaRPr>
            </a:p>
          </p:txBody>
        </p:sp>
        <p:sp>
          <p:nvSpPr>
            <p:cNvPr id="174" name="MT"/>
            <p:cNvSpPr>
              <a:spLocks noChangeAspect="1"/>
            </p:cNvSpPr>
            <p:nvPr/>
          </p:nvSpPr>
          <p:spPr bwMode="auto">
            <a:xfrm rot="13083780">
              <a:off x="4521084" y="5444368"/>
              <a:ext cx="45719" cy="21698"/>
            </a:xfrm>
            <a:custGeom>
              <a:avLst/>
              <a:gdLst>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897 w 10000"/>
                <a:gd name="connsiteY22" fmla="*/ 5697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412 w 10000"/>
                <a:gd name="connsiteY21" fmla="*/ 6808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897 w 10000"/>
                <a:gd name="connsiteY23" fmla="*/ 7919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1061 w 10000"/>
                <a:gd name="connsiteY24" fmla="*/ 7919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514 w 10000"/>
                <a:gd name="connsiteY26" fmla="*/ 6808 h 14586"/>
                <a:gd name="connsiteX27" fmla="*/ 0 w 10000"/>
                <a:gd name="connsiteY27" fmla="*/ 7919 h 14586"/>
                <a:gd name="connsiteX0" fmla="*/ 0 w 10000"/>
                <a:gd name="connsiteY0" fmla="*/ 7919 h 14586"/>
                <a:gd name="connsiteX1" fmla="*/ 257 w 10000"/>
                <a:gd name="connsiteY1" fmla="*/ 12364 h 14586"/>
                <a:gd name="connsiteX2" fmla="*/ 1061 w 10000"/>
                <a:gd name="connsiteY2" fmla="*/ 13475 h 14586"/>
                <a:gd name="connsiteX3" fmla="*/ 2154 w 10000"/>
                <a:gd name="connsiteY3" fmla="*/ 13475 h 14586"/>
                <a:gd name="connsiteX4" fmla="*/ 4051 w 10000"/>
                <a:gd name="connsiteY4" fmla="*/ 12364 h 14586"/>
                <a:gd name="connsiteX5" fmla="*/ 4598 w 10000"/>
                <a:gd name="connsiteY5" fmla="*/ 12364 h 14586"/>
                <a:gd name="connsiteX6" fmla="*/ 4598 w 10000"/>
                <a:gd name="connsiteY6" fmla="*/ 14586 h 14586"/>
                <a:gd name="connsiteX7" fmla="*/ 6206 w 10000"/>
                <a:gd name="connsiteY7" fmla="*/ 14586 h 14586"/>
                <a:gd name="connsiteX8" fmla="*/ 7042 w 10000"/>
                <a:gd name="connsiteY8" fmla="*/ 12364 h 14586"/>
                <a:gd name="connsiteX9" fmla="*/ 8103 w 10000"/>
                <a:gd name="connsiteY9" fmla="*/ 12364 h 14586"/>
                <a:gd name="connsiteX10" fmla="*/ 8939 w 10000"/>
                <a:gd name="connsiteY10" fmla="*/ 10142 h 14586"/>
                <a:gd name="connsiteX11" fmla="*/ 10000 w 10000"/>
                <a:gd name="connsiteY11" fmla="*/ 9030 h 14586"/>
                <a:gd name="connsiteX12" fmla="*/ 10000 w 10000"/>
                <a:gd name="connsiteY12" fmla="*/ 4586 h 14586"/>
                <a:gd name="connsiteX13" fmla="*/ 9196 w 10000"/>
                <a:gd name="connsiteY13" fmla="*/ 6808 h 14586"/>
                <a:gd name="connsiteX14" fmla="*/ 8650 w 10000"/>
                <a:gd name="connsiteY14" fmla="*/ 7919 h 14586"/>
                <a:gd name="connsiteX15" fmla="*/ 8103 w 10000"/>
                <a:gd name="connsiteY15" fmla="*/ 7919 h 14586"/>
                <a:gd name="connsiteX16" fmla="*/ 7846 w 10000"/>
                <a:gd name="connsiteY16" fmla="*/ 5697 h 14586"/>
                <a:gd name="connsiteX17" fmla="*/ 7042 w 10000"/>
                <a:gd name="connsiteY17" fmla="*/ 6808 h 14586"/>
                <a:gd name="connsiteX18" fmla="*/ 5402 w 10000"/>
                <a:gd name="connsiteY18" fmla="*/ 7919 h 14586"/>
                <a:gd name="connsiteX19" fmla="*/ 5402 w 10000"/>
                <a:gd name="connsiteY19" fmla="*/ 5697 h 14586"/>
                <a:gd name="connsiteX20" fmla="*/ 3529 w 10000"/>
                <a:gd name="connsiteY20" fmla="*/ 1111 h 14586"/>
                <a:gd name="connsiteX21" fmla="*/ 2353 w 10000"/>
                <a:gd name="connsiteY21" fmla="*/ 1111 h 14586"/>
                <a:gd name="connsiteX22" fmla="*/ 1176 w 10000"/>
                <a:gd name="connsiteY22" fmla="*/ 0 h 14586"/>
                <a:gd name="connsiteX23" fmla="*/ 1765 w 10000"/>
                <a:gd name="connsiteY23" fmla="*/ 5281 h 14586"/>
                <a:gd name="connsiteX24" fmla="*/ 882 w 10000"/>
                <a:gd name="connsiteY24" fmla="*/ 5976 h 14586"/>
                <a:gd name="connsiteX25" fmla="*/ 514 w 10000"/>
                <a:gd name="connsiteY25" fmla="*/ 4586 h 14586"/>
                <a:gd name="connsiteX26" fmla="*/ 0 w 10000"/>
                <a:gd name="connsiteY26" fmla="*/ 5281 h 14586"/>
                <a:gd name="connsiteX27" fmla="*/ 0 w 10000"/>
                <a:gd name="connsiteY27" fmla="*/ 7919 h 14586"/>
                <a:gd name="connsiteX0" fmla="*/ 0 w 11176"/>
                <a:gd name="connsiteY0" fmla="*/ 5976 h 14586"/>
                <a:gd name="connsiteX1" fmla="*/ 1433 w 11176"/>
                <a:gd name="connsiteY1" fmla="*/ 12364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1176 w 11176"/>
                <a:gd name="connsiteY26" fmla="*/ 5281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690 w 11176"/>
                <a:gd name="connsiteY25" fmla="*/ 4586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2058 w 11176"/>
                <a:gd name="connsiteY24" fmla="*/ 5976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6578 w 11176"/>
                <a:gd name="connsiteY18" fmla="*/ 7919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578 w 11176"/>
                <a:gd name="connsiteY19" fmla="*/ 5697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022 w 11176"/>
                <a:gd name="connsiteY16" fmla="*/ 5697 h 14586"/>
                <a:gd name="connsiteX17" fmla="*/ 8218 w 11176"/>
                <a:gd name="connsiteY17" fmla="*/ 6808 h 14586"/>
                <a:gd name="connsiteX18" fmla="*/ 9117 w 11176"/>
                <a:gd name="connsiteY18" fmla="*/ 0 h 14586"/>
                <a:gd name="connsiteX19" fmla="*/ 6764 w 11176"/>
                <a:gd name="connsiteY19" fmla="*/ 1806 h 14586"/>
                <a:gd name="connsiteX20" fmla="*/ 4705 w 11176"/>
                <a:gd name="connsiteY20" fmla="*/ 1111 h 14586"/>
                <a:gd name="connsiteX21" fmla="*/ 3529 w 11176"/>
                <a:gd name="connsiteY21" fmla="*/ 1111 h 14586"/>
                <a:gd name="connsiteX22" fmla="*/ 2352 w 11176"/>
                <a:gd name="connsiteY22" fmla="*/ 0 h 14586"/>
                <a:gd name="connsiteX23" fmla="*/ 2941 w 11176"/>
                <a:gd name="connsiteY23" fmla="*/ 5281 h 14586"/>
                <a:gd name="connsiteX24" fmla="*/ 1764 w 11176"/>
                <a:gd name="connsiteY24" fmla="*/ 5281 h 14586"/>
                <a:gd name="connsiteX25" fmla="*/ 1176 w 11176"/>
                <a:gd name="connsiteY25" fmla="*/ 3891 h 14586"/>
                <a:gd name="connsiteX26" fmla="*/ 882 w 11176"/>
                <a:gd name="connsiteY26" fmla="*/ 5976 h 14586"/>
                <a:gd name="connsiteX27" fmla="*/ 0 w 11176"/>
                <a:gd name="connsiteY27"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8218 w 11176"/>
                <a:gd name="connsiteY16" fmla="*/ 6808 h 14586"/>
                <a:gd name="connsiteX17" fmla="*/ 9117 w 11176"/>
                <a:gd name="connsiteY17" fmla="*/ 0 h 14586"/>
                <a:gd name="connsiteX18" fmla="*/ 6764 w 11176"/>
                <a:gd name="connsiteY18" fmla="*/ 1806 h 14586"/>
                <a:gd name="connsiteX19" fmla="*/ 4705 w 11176"/>
                <a:gd name="connsiteY19" fmla="*/ 1111 h 14586"/>
                <a:gd name="connsiteX20" fmla="*/ 3529 w 11176"/>
                <a:gd name="connsiteY20" fmla="*/ 1111 h 14586"/>
                <a:gd name="connsiteX21" fmla="*/ 2352 w 11176"/>
                <a:gd name="connsiteY21" fmla="*/ 0 h 14586"/>
                <a:gd name="connsiteX22" fmla="*/ 2941 w 11176"/>
                <a:gd name="connsiteY22" fmla="*/ 5281 h 14586"/>
                <a:gd name="connsiteX23" fmla="*/ 1764 w 11176"/>
                <a:gd name="connsiteY23" fmla="*/ 5281 h 14586"/>
                <a:gd name="connsiteX24" fmla="*/ 1176 w 11176"/>
                <a:gd name="connsiteY24" fmla="*/ 3891 h 14586"/>
                <a:gd name="connsiteX25" fmla="*/ 882 w 11176"/>
                <a:gd name="connsiteY25" fmla="*/ 5976 h 14586"/>
                <a:gd name="connsiteX26" fmla="*/ 0 w 11176"/>
                <a:gd name="connsiteY26"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279 w 11176"/>
                <a:gd name="connsiteY15" fmla="*/ 7919 h 14586"/>
                <a:gd name="connsiteX16" fmla="*/ 9117 w 11176"/>
                <a:gd name="connsiteY16" fmla="*/ 0 h 14586"/>
                <a:gd name="connsiteX17" fmla="*/ 6764 w 11176"/>
                <a:gd name="connsiteY17" fmla="*/ 1806 h 14586"/>
                <a:gd name="connsiteX18" fmla="*/ 4705 w 11176"/>
                <a:gd name="connsiteY18" fmla="*/ 1111 h 14586"/>
                <a:gd name="connsiteX19" fmla="*/ 3529 w 11176"/>
                <a:gd name="connsiteY19" fmla="*/ 1111 h 14586"/>
                <a:gd name="connsiteX20" fmla="*/ 2352 w 11176"/>
                <a:gd name="connsiteY20" fmla="*/ 0 h 14586"/>
                <a:gd name="connsiteX21" fmla="*/ 2941 w 11176"/>
                <a:gd name="connsiteY21" fmla="*/ 5281 h 14586"/>
                <a:gd name="connsiteX22" fmla="*/ 1764 w 11176"/>
                <a:gd name="connsiteY22" fmla="*/ 5281 h 14586"/>
                <a:gd name="connsiteX23" fmla="*/ 1176 w 11176"/>
                <a:gd name="connsiteY23" fmla="*/ 3891 h 14586"/>
                <a:gd name="connsiteX24" fmla="*/ 882 w 11176"/>
                <a:gd name="connsiteY24" fmla="*/ 5976 h 14586"/>
                <a:gd name="connsiteX25" fmla="*/ 0 w 11176"/>
                <a:gd name="connsiteY25" fmla="*/ 5976 h 14586"/>
                <a:gd name="connsiteX0" fmla="*/ 0 w 11176"/>
                <a:gd name="connsiteY0" fmla="*/ 5976 h 14586"/>
                <a:gd name="connsiteX1" fmla="*/ 588 w 11176"/>
                <a:gd name="connsiteY1" fmla="*/ 12927 h 14586"/>
                <a:gd name="connsiteX2" fmla="*/ 2237 w 11176"/>
                <a:gd name="connsiteY2" fmla="*/ 13475 h 14586"/>
                <a:gd name="connsiteX3" fmla="*/ 3330 w 11176"/>
                <a:gd name="connsiteY3" fmla="*/ 13475 h 14586"/>
                <a:gd name="connsiteX4" fmla="*/ 5227 w 11176"/>
                <a:gd name="connsiteY4" fmla="*/ 12364 h 14586"/>
                <a:gd name="connsiteX5" fmla="*/ 5774 w 11176"/>
                <a:gd name="connsiteY5" fmla="*/ 12364 h 14586"/>
                <a:gd name="connsiteX6" fmla="*/ 5774 w 11176"/>
                <a:gd name="connsiteY6" fmla="*/ 14586 h 14586"/>
                <a:gd name="connsiteX7" fmla="*/ 7382 w 11176"/>
                <a:gd name="connsiteY7" fmla="*/ 14586 h 14586"/>
                <a:gd name="connsiteX8" fmla="*/ 8218 w 11176"/>
                <a:gd name="connsiteY8" fmla="*/ 12364 h 14586"/>
                <a:gd name="connsiteX9" fmla="*/ 9279 w 11176"/>
                <a:gd name="connsiteY9" fmla="*/ 12364 h 14586"/>
                <a:gd name="connsiteX10" fmla="*/ 10115 w 11176"/>
                <a:gd name="connsiteY10" fmla="*/ 10142 h 14586"/>
                <a:gd name="connsiteX11" fmla="*/ 11176 w 11176"/>
                <a:gd name="connsiteY11" fmla="*/ 9030 h 14586"/>
                <a:gd name="connsiteX12" fmla="*/ 11176 w 11176"/>
                <a:gd name="connsiteY12" fmla="*/ 4586 h 14586"/>
                <a:gd name="connsiteX13" fmla="*/ 10372 w 11176"/>
                <a:gd name="connsiteY13" fmla="*/ 6808 h 14586"/>
                <a:gd name="connsiteX14" fmla="*/ 9826 w 11176"/>
                <a:gd name="connsiteY14" fmla="*/ 7919 h 14586"/>
                <a:gd name="connsiteX15" fmla="*/ 9117 w 11176"/>
                <a:gd name="connsiteY15" fmla="*/ 0 h 14586"/>
                <a:gd name="connsiteX16" fmla="*/ 6764 w 11176"/>
                <a:gd name="connsiteY16" fmla="*/ 1806 h 14586"/>
                <a:gd name="connsiteX17" fmla="*/ 4705 w 11176"/>
                <a:gd name="connsiteY17" fmla="*/ 1111 h 14586"/>
                <a:gd name="connsiteX18" fmla="*/ 3529 w 11176"/>
                <a:gd name="connsiteY18" fmla="*/ 1111 h 14586"/>
                <a:gd name="connsiteX19" fmla="*/ 2352 w 11176"/>
                <a:gd name="connsiteY19" fmla="*/ 0 h 14586"/>
                <a:gd name="connsiteX20" fmla="*/ 2941 w 11176"/>
                <a:gd name="connsiteY20" fmla="*/ 5281 h 14586"/>
                <a:gd name="connsiteX21" fmla="*/ 1764 w 11176"/>
                <a:gd name="connsiteY21" fmla="*/ 5281 h 14586"/>
                <a:gd name="connsiteX22" fmla="*/ 1176 w 11176"/>
                <a:gd name="connsiteY22" fmla="*/ 3891 h 14586"/>
                <a:gd name="connsiteX23" fmla="*/ 882 w 11176"/>
                <a:gd name="connsiteY23" fmla="*/ 5976 h 14586"/>
                <a:gd name="connsiteX24" fmla="*/ 0 w 11176"/>
                <a:gd name="connsiteY24" fmla="*/ 5976 h 14586"/>
                <a:gd name="connsiteX0" fmla="*/ 0 w 13823"/>
                <a:gd name="connsiteY0" fmla="*/ 10981 h 19591"/>
                <a:gd name="connsiteX1" fmla="*/ 588 w 13823"/>
                <a:gd name="connsiteY1" fmla="*/ 17932 h 19591"/>
                <a:gd name="connsiteX2" fmla="*/ 2237 w 13823"/>
                <a:gd name="connsiteY2" fmla="*/ 18480 h 19591"/>
                <a:gd name="connsiteX3" fmla="*/ 3330 w 13823"/>
                <a:gd name="connsiteY3" fmla="*/ 18480 h 19591"/>
                <a:gd name="connsiteX4" fmla="*/ 5227 w 13823"/>
                <a:gd name="connsiteY4" fmla="*/ 17369 h 19591"/>
                <a:gd name="connsiteX5" fmla="*/ 5774 w 13823"/>
                <a:gd name="connsiteY5" fmla="*/ 17369 h 19591"/>
                <a:gd name="connsiteX6" fmla="*/ 5774 w 13823"/>
                <a:gd name="connsiteY6" fmla="*/ 19591 h 19591"/>
                <a:gd name="connsiteX7" fmla="*/ 7382 w 13823"/>
                <a:gd name="connsiteY7" fmla="*/ 19591 h 19591"/>
                <a:gd name="connsiteX8" fmla="*/ 8218 w 13823"/>
                <a:gd name="connsiteY8" fmla="*/ 17369 h 19591"/>
                <a:gd name="connsiteX9" fmla="*/ 9279 w 13823"/>
                <a:gd name="connsiteY9" fmla="*/ 17369 h 19591"/>
                <a:gd name="connsiteX10" fmla="*/ 10115 w 13823"/>
                <a:gd name="connsiteY10" fmla="*/ 15147 h 19591"/>
                <a:gd name="connsiteX11" fmla="*/ 11176 w 13823"/>
                <a:gd name="connsiteY11" fmla="*/ 14035 h 19591"/>
                <a:gd name="connsiteX12" fmla="*/ 11176 w 13823"/>
                <a:gd name="connsiteY12" fmla="*/ 9591 h 19591"/>
                <a:gd name="connsiteX13" fmla="*/ 10372 w 13823"/>
                <a:gd name="connsiteY13" fmla="*/ 11813 h 19591"/>
                <a:gd name="connsiteX14" fmla="*/ 13823 w 13823"/>
                <a:gd name="connsiteY14" fmla="*/ 2640 h 19591"/>
                <a:gd name="connsiteX15" fmla="*/ 9117 w 13823"/>
                <a:gd name="connsiteY15" fmla="*/ 5005 h 19591"/>
                <a:gd name="connsiteX16" fmla="*/ 6764 w 13823"/>
                <a:gd name="connsiteY16" fmla="*/ 6811 h 19591"/>
                <a:gd name="connsiteX17" fmla="*/ 4705 w 13823"/>
                <a:gd name="connsiteY17" fmla="*/ 6116 h 19591"/>
                <a:gd name="connsiteX18" fmla="*/ 3529 w 13823"/>
                <a:gd name="connsiteY18" fmla="*/ 6116 h 19591"/>
                <a:gd name="connsiteX19" fmla="*/ 2352 w 13823"/>
                <a:gd name="connsiteY19" fmla="*/ 5005 h 19591"/>
                <a:gd name="connsiteX20" fmla="*/ 2941 w 13823"/>
                <a:gd name="connsiteY20" fmla="*/ 10286 h 19591"/>
                <a:gd name="connsiteX21" fmla="*/ 1764 w 13823"/>
                <a:gd name="connsiteY21" fmla="*/ 10286 h 19591"/>
                <a:gd name="connsiteX22" fmla="*/ 1176 w 13823"/>
                <a:gd name="connsiteY22" fmla="*/ 8896 h 19591"/>
                <a:gd name="connsiteX23" fmla="*/ 882 w 13823"/>
                <a:gd name="connsiteY23" fmla="*/ 10981 h 19591"/>
                <a:gd name="connsiteX24" fmla="*/ 0 w 13823"/>
                <a:gd name="connsiteY24" fmla="*/ 10981 h 19591"/>
                <a:gd name="connsiteX0" fmla="*/ 0 w 14705"/>
                <a:gd name="connsiteY0" fmla="*/ 10981 h 19591"/>
                <a:gd name="connsiteX1" fmla="*/ 588 w 14705"/>
                <a:gd name="connsiteY1" fmla="*/ 17932 h 19591"/>
                <a:gd name="connsiteX2" fmla="*/ 2237 w 14705"/>
                <a:gd name="connsiteY2" fmla="*/ 18480 h 19591"/>
                <a:gd name="connsiteX3" fmla="*/ 3330 w 14705"/>
                <a:gd name="connsiteY3" fmla="*/ 18480 h 19591"/>
                <a:gd name="connsiteX4" fmla="*/ 5227 w 14705"/>
                <a:gd name="connsiteY4" fmla="*/ 17369 h 19591"/>
                <a:gd name="connsiteX5" fmla="*/ 5774 w 14705"/>
                <a:gd name="connsiteY5" fmla="*/ 17369 h 19591"/>
                <a:gd name="connsiteX6" fmla="*/ 5774 w 14705"/>
                <a:gd name="connsiteY6" fmla="*/ 19591 h 19591"/>
                <a:gd name="connsiteX7" fmla="*/ 7382 w 14705"/>
                <a:gd name="connsiteY7" fmla="*/ 19591 h 19591"/>
                <a:gd name="connsiteX8" fmla="*/ 8218 w 14705"/>
                <a:gd name="connsiteY8" fmla="*/ 17369 h 19591"/>
                <a:gd name="connsiteX9" fmla="*/ 9279 w 14705"/>
                <a:gd name="connsiteY9" fmla="*/ 17369 h 19591"/>
                <a:gd name="connsiteX10" fmla="*/ 10115 w 14705"/>
                <a:gd name="connsiteY10" fmla="*/ 15147 h 19591"/>
                <a:gd name="connsiteX11" fmla="*/ 11176 w 14705"/>
                <a:gd name="connsiteY11" fmla="*/ 14035 h 19591"/>
                <a:gd name="connsiteX12" fmla="*/ 11176 w 14705"/>
                <a:gd name="connsiteY12" fmla="*/ 9591 h 19591"/>
                <a:gd name="connsiteX13" fmla="*/ 14705 w 14705"/>
                <a:gd name="connsiteY13" fmla="*/ 1945 h 19591"/>
                <a:gd name="connsiteX14" fmla="*/ 13823 w 14705"/>
                <a:gd name="connsiteY14" fmla="*/ 2640 h 19591"/>
                <a:gd name="connsiteX15" fmla="*/ 9117 w 14705"/>
                <a:gd name="connsiteY15" fmla="*/ 5005 h 19591"/>
                <a:gd name="connsiteX16" fmla="*/ 6764 w 14705"/>
                <a:gd name="connsiteY16" fmla="*/ 6811 h 19591"/>
                <a:gd name="connsiteX17" fmla="*/ 4705 w 14705"/>
                <a:gd name="connsiteY17" fmla="*/ 6116 h 19591"/>
                <a:gd name="connsiteX18" fmla="*/ 3529 w 14705"/>
                <a:gd name="connsiteY18" fmla="*/ 6116 h 19591"/>
                <a:gd name="connsiteX19" fmla="*/ 2352 w 14705"/>
                <a:gd name="connsiteY19" fmla="*/ 5005 h 19591"/>
                <a:gd name="connsiteX20" fmla="*/ 2941 w 14705"/>
                <a:gd name="connsiteY20" fmla="*/ 10286 h 19591"/>
                <a:gd name="connsiteX21" fmla="*/ 1764 w 14705"/>
                <a:gd name="connsiteY21" fmla="*/ 10286 h 19591"/>
                <a:gd name="connsiteX22" fmla="*/ 1176 w 14705"/>
                <a:gd name="connsiteY22" fmla="*/ 8896 h 19591"/>
                <a:gd name="connsiteX23" fmla="*/ 882 w 14705"/>
                <a:gd name="connsiteY23" fmla="*/ 10981 h 19591"/>
                <a:gd name="connsiteX24" fmla="*/ 0 w 14705"/>
                <a:gd name="connsiteY24" fmla="*/ 10981 h 19591"/>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1176 w 14705"/>
                <a:gd name="connsiteY12" fmla="*/ 7646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11176 w 14705"/>
                <a:gd name="connsiteY11" fmla="*/ 12090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8218 w 14705"/>
                <a:gd name="connsiteY8" fmla="*/ 15424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7646"/>
                <a:gd name="connsiteX1" fmla="*/ 588 w 14705"/>
                <a:gd name="connsiteY1" fmla="*/ 15987 h 17646"/>
                <a:gd name="connsiteX2" fmla="*/ 2237 w 14705"/>
                <a:gd name="connsiteY2" fmla="*/ 16535 h 17646"/>
                <a:gd name="connsiteX3" fmla="*/ 3330 w 14705"/>
                <a:gd name="connsiteY3" fmla="*/ 16535 h 17646"/>
                <a:gd name="connsiteX4" fmla="*/ 5227 w 14705"/>
                <a:gd name="connsiteY4" fmla="*/ 15424 h 17646"/>
                <a:gd name="connsiteX5" fmla="*/ 5774 w 14705"/>
                <a:gd name="connsiteY5" fmla="*/ 15424 h 17646"/>
                <a:gd name="connsiteX6" fmla="*/ 5774 w 14705"/>
                <a:gd name="connsiteY6" fmla="*/ 17646 h 17646"/>
                <a:gd name="connsiteX7" fmla="*/ 7382 w 14705"/>
                <a:gd name="connsiteY7" fmla="*/ 17646 h 17646"/>
                <a:gd name="connsiteX8" fmla="*/ 7058 w 14705"/>
                <a:gd name="connsiteY8" fmla="*/ 14680 h 17646"/>
                <a:gd name="connsiteX9" fmla="*/ 9279 w 14705"/>
                <a:gd name="connsiteY9" fmla="*/ 15424 h 17646"/>
                <a:gd name="connsiteX10" fmla="*/ 10115 w 14705"/>
                <a:gd name="connsiteY10" fmla="*/ 13202 h 17646"/>
                <a:gd name="connsiteX11" fmla="*/ 9411 w 14705"/>
                <a:gd name="connsiteY11" fmla="*/ 6256 h 17646"/>
                <a:gd name="connsiteX12" fmla="*/ 14705 w 14705"/>
                <a:gd name="connsiteY12" fmla="*/ 1390 h 17646"/>
                <a:gd name="connsiteX13" fmla="*/ 14705 w 14705"/>
                <a:gd name="connsiteY13" fmla="*/ 0 h 17646"/>
                <a:gd name="connsiteX14" fmla="*/ 9117 w 14705"/>
                <a:gd name="connsiteY14" fmla="*/ 3060 h 17646"/>
                <a:gd name="connsiteX15" fmla="*/ 6764 w 14705"/>
                <a:gd name="connsiteY15" fmla="*/ 4866 h 17646"/>
                <a:gd name="connsiteX16" fmla="*/ 4705 w 14705"/>
                <a:gd name="connsiteY16" fmla="*/ 4171 h 17646"/>
                <a:gd name="connsiteX17" fmla="*/ 3529 w 14705"/>
                <a:gd name="connsiteY17" fmla="*/ 4171 h 17646"/>
                <a:gd name="connsiteX18" fmla="*/ 2352 w 14705"/>
                <a:gd name="connsiteY18" fmla="*/ 3060 h 17646"/>
                <a:gd name="connsiteX19" fmla="*/ 2941 w 14705"/>
                <a:gd name="connsiteY19" fmla="*/ 8341 h 17646"/>
                <a:gd name="connsiteX20" fmla="*/ 1764 w 14705"/>
                <a:gd name="connsiteY20" fmla="*/ 8341 h 17646"/>
                <a:gd name="connsiteX21" fmla="*/ 1176 w 14705"/>
                <a:gd name="connsiteY21" fmla="*/ 6951 h 17646"/>
                <a:gd name="connsiteX22" fmla="*/ 882 w 14705"/>
                <a:gd name="connsiteY22" fmla="*/ 9036 h 17646"/>
                <a:gd name="connsiteX23" fmla="*/ 0 w 14705"/>
                <a:gd name="connsiteY23" fmla="*/ 9036 h 17646"/>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5227 w 14705"/>
                <a:gd name="connsiteY4" fmla="*/ 15424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5774 w 14705"/>
                <a:gd name="connsiteY5" fmla="*/ 15424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774 w 14705"/>
                <a:gd name="connsiteY6" fmla="*/ 17646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7382 w 14705"/>
                <a:gd name="connsiteY7" fmla="*/ 17646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058 w 14705"/>
                <a:gd name="connsiteY8" fmla="*/ 14680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9036 h 18767"/>
                <a:gd name="connsiteX1" fmla="*/ 588 w 14705"/>
                <a:gd name="connsiteY1" fmla="*/ 15987 h 18767"/>
                <a:gd name="connsiteX2" fmla="*/ 2237 w 14705"/>
                <a:gd name="connsiteY2" fmla="*/ 16535 h 18767"/>
                <a:gd name="connsiteX3" fmla="*/ 2058 w 14705"/>
                <a:gd name="connsiteY3" fmla="*/ 18767 h 18767"/>
                <a:gd name="connsiteX4" fmla="*/ 3529 w 14705"/>
                <a:gd name="connsiteY4" fmla="*/ 18767 h 18767"/>
                <a:gd name="connsiteX5" fmla="*/ 3823 w 14705"/>
                <a:gd name="connsiteY5" fmla="*/ 15987 h 18767"/>
                <a:gd name="connsiteX6" fmla="*/ 5588 w 14705"/>
                <a:gd name="connsiteY6" fmla="*/ 16682 h 18767"/>
                <a:gd name="connsiteX7" fmla="*/ 6764 w 14705"/>
                <a:gd name="connsiteY7" fmla="*/ 15987 h 18767"/>
                <a:gd name="connsiteX8" fmla="*/ 7647 w 14705"/>
                <a:gd name="connsiteY8" fmla="*/ 13207 h 18767"/>
                <a:gd name="connsiteX9" fmla="*/ 9279 w 14705"/>
                <a:gd name="connsiteY9" fmla="*/ 15424 h 18767"/>
                <a:gd name="connsiteX10" fmla="*/ 10115 w 14705"/>
                <a:gd name="connsiteY10" fmla="*/ 13202 h 18767"/>
                <a:gd name="connsiteX11" fmla="*/ 9411 w 14705"/>
                <a:gd name="connsiteY11" fmla="*/ 6256 h 18767"/>
                <a:gd name="connsiteX12" fmla="*/ 14705 w 14705"/>
                <a:gd name="connsiteY12" fmla="*/ 1390 h 18767"/>
                <a:gd name="connsiteX13" fmla="*/ 14705 w 14705"/>
                <a:gd name="connsiteY13" fmla="*/ 0 h 18767"/>
                <a:gd name="connsiteX14" fmla="*/ 9117 w 14705"/>
                <a:gd name="connsiteY14" fmla="*/ 3060 h 18767"/>
                <a:gd name="connsiteX15" fmla="*/ 6764 w 14705"/>
                <a:gd name="connsiteY15" fmla="*/ 4866 h 18767"/>
                <a:gd name="connsiteX16" fmla="*/ 4705 w 14705"/>
                <a:gd name="connsiteY16" fmla="*/ 4171 h 18767"/>
                <a:gd name="connsiteX17" fmla="*/ 3529 w 14705"/>
                <a:gd name="connsiteY17" fmla="*/ 4171 h 18767"/>
                <a:gd name="connsiteX18" fmla="*/ 2352 w 14705"/>
                <a:gd name="connsiteY18" fmla="*/ 3060 h 18767"/>
                <a:gd name="connsiteX19" fmla="*/ 2941 w 14705"/>
                <a:gd name="connsiteY19" fmla="*/ 8341 h 18767"/>
                <a:gd name="connsiteX20" fmla="*/ 1764 w 14705"/>
                <a:gd name="connsiteY20" fmla="*/ 8341 h 18767"/>
                <a:gd name="connsiteX21" fmla="*/ 1176 w 14705"/>
                <a:gd name="connsiteY21" fmla="*/ 6951 h 18767"/>
                <a:gd name="connsiteX22" fmla="*/ 882 w 14705"/>
                <a:gd name="connsiteY22" fmla="*/ 9036 h 18767"/>
                <a:gd name="connsiteX23" fmla="*/ 0 w 14705"/>
                <a:gd name="connsiteY23" fmla="*/ 9036 h 18767"/>
                <a:gd name="connsiteX0" fmla="*/ 0 w 14705"/>
                <a:gd name="connsiteY0" fmla="*/ 7646 h 17377"/>
                <a:gd name="connsiteX1" fmla="*/ 588 w 14705"/>
                <a:gd name="connsiteY1" fmla="*/ 14597 h 17377"/>
                <a:gd name="connsiteX2" fmla="*/ 2237 w 14705"/>
                <a:gd name="connsiteY2" fmla="*/ 15145 h 17377"/>
                <a:gd name="connsiteX3" fmla="*/ 2058 w 14705"/>
                <a:gd name="connsiteY3" fmla="*/ 17377 h 17377"/>
                <a:gd name="connsiteX4" fmla="*/ 3529 w 14705"/>
                <a:gd name="connsiteY4" fmla="*/ 17377 h 17377"/>
                <a:gd name="connsiteX5" fmla="*/ 3823 w 14705"/>
                <a:gd name="connsiteY5" fmla="*/ 14597 h 17377"/>
                <a:gd name="connsiteX6" fmla="*/ 5588 w 14705"/>
                <a:gd name="connsiteY6" fmla="*/ 15292 h 17377"/>
                <a:gd name="connsiteX7" fmla="*/ 6764 w 14705"/>
                <a:gd name="connsiteY7" fmla="*/ 14597 h 17377"/>
                <a:gd name="connsiteX8" fmla="*/ 7647 w 14705"/>
                <a:gd name="connsiteY8" fmla="*/ 11817 h 17377"/>
                <a:gd name="connsiteX9" fmla="*/ 9279 w 14705"/>
                <a:gd name="connsiteY9" fmla="*/ 14034 h 17377"/>
                <a:gd name="connsiteX10" fmla="*/ 10115 w 14705"/>
                <a:gd name="connsiteY10" fmla="*/ 11812 h 17377"/>
                <a:gd name="connsiteX11" fmla="*/ 9411 w 14705"/>
                <a:gd name="connsiteY11" fmla="*/ 4866 h 17377"/>
                <a:gd name="connsiteX12" fmla="*/ 14705 w 14705"/>
                <a:gd name="connsiteY12" fmla="*/ 0 h 17377"/>
                <a:gd name="connsiteX13" fmla="*/ 7865 w 14705"/>
                <a:gd name="connsiteY13" fmla="*/ 9989 h 17377"/>
                <a:gd name="connsiteX14" fmla="*/ 9117 w 14705"/>
                <a:gd name="connsiteY14" fmla="*/ 1670 h 17377"/>
                <a:gd name="connsiteX15" fmla="*/ 6764 w 14705"/>
                <a:gd name="connsiteY15" fmla="*/ 3476 h 17377"/>
                <a:gd name="connsiteX16" fmla="*/ 4705 w 14705"/>
                <a:gd name="connsiteY16" fmla="*/ 2781 h 17377"/>
                <a:gd name="connsiteX17" fmla="*/ 3529 w 14705"/>
                <a:gd name="connsiteY17" fmla="*/ 2781 h 17377"/>
                <a:gd name="connsiteX18" fmla="*/ 2352 w 14705"/>
                <a:gd name="connsiteY18" fmla="*/ 1670 h 17377"/>
                <a:gd name="connsiteX19" fmla="*/ 2941 w 14705"/>
                <a:gd name="connsiteY19" fmla="*/ 6951 h 17377"/>
                <a:gd name="connsiteX20" fmla="*/ 1764 w 14705"/>
                <a:gd name="connsiteY20" fmla="*/ 6951 h 17377"/>
                <a:gd name="connsiteX21" fmla="*/ 1176 w 14705"/>
                <a:gd name="connsiteY21" fmla="*/ 5561 h 17377"/>
                <a:gd name="connsiteX22" fmla="*/ 882 w 14705"/>
                <a:gd name="connsiteY22" fmla="*/ 7646 h 17377"/>
                <a:gd name="connsiteX23" fmla="*/ 0 w 14705"/>
                <a:gd name="connsiteY23" fmla="*/ 7646 h 1737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9117 w 10115"/>
                <a:gd name="connsiteY14" fmla="*/ 0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4705 w 10115"/>
                <a:gd name="connsiteY16" fmla="*/ 1111 h 15707"/>
                <a:gd name="connsiteX17" fmla="*/ 3529 w 10115"/>
                <a:gd name="connsiteY17" fmla="*/ 1111 h 15707"/>
                <a:gd name="connsiteX18" fmla="*/ 2352 w 10115"/>
                <a:gd name="connsiteY18" fmla="*/ 0 h 15707"/>
                <a:gd name="connsiteX19" fmla="*/ 2941 w 10115"/>
                <a:gd name="connsiteY19" fmla="*/ 5281 h 15707"/>
                <a:gd name="connsiteX20" fmla="*/ 1764 w 10115"/>
                <a:gd name="connsiteY20" fmla="*/ 5281 h 15707"/>
                <a:gd name="connsiteX21" fmla="*/ 1176 w 10115"/>
                <a:gd name="connsiteY21" fmla="*/ 3891 h 15707"/>
                <a:gd name="connsiteX22" fmla="*/ 882 w 10115"/>
                <a:gd name="connsiteY22" fmla="*/ 5976 h 15707"/>
                <a:gd name="connsiteX23" fmla="*/ 0 w 10115"/>
                <a:gd name="connsiteY23" fmla="*/ 5976 h 15707"/>
                <a:gd name="connsiteX0" fmla="*/ 0 w 10115"/>
                <a:gd name="connsiteY0" fmla="*/ 5976 h 15707"/>
                <a:gd name="connsiteX1" fmla="*/ 588 w 10115"/>
                <a:gd name="connsiteY1" fmla="*/ 1292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0 w 10115"/>
                <a:gd name="connsiteY0" fmla="*/ 5976 h 15707"/>
                <a:gd name="connsiteX1" fmla="*/ 2554 w 10115"/>
                <a:gd name="connsiteY1" fmla="*/ 13317 h 15707"/>
                <a:gd name="connsiteX2" fmla="*/ 2237 w 10115"/>
                <a:gd name="connsiteY2" fmla="*/ 13475 h 15707"/>
                <a:gd name="connsiteX3" fmla="*/ 2058 w 10115"/>
                <a:gd name="connsiteY3" fmla="*/ 15707 h 15707"/>
                <a:gd name="connsiteX4" fmla="*/ 3529 w 10115"/>
                <a:gd name="connsiteY4" fmla="*/ 15707 h 15707"/>
                <a:gd name="connsiteX5" fmla="*/ 3823 w 10115"/>
                <a:gd name="connsiteY5" fmla="*/ 12927 h 15707"/>
                <a:gd name="connsiteX6" fmla="*/ 5588 w 10115"/>
                <a:gd name="connsiteY6" fmla="*/ 13622 h 15707"/>
                <a:gd name="connsiteX7" fmla="*/ 6764 w 10115"/>
                <a:gd name="connsiteY7" fmla="*/ 12927 h 15707"/>
                <a:gd name="connsiteX8" fmla="*/ 7647 w 10115"/>
                <a:gd name="connsiteY8" fmla="*/ 10147 h 15707"/>
                <a:gd name="connsiteX9" fmla="*/ 9279 w 10115"/>
                <a:gd name="connsiteY9" fmla="*/ 12364 h 15707"/>
                <a:gd name="connsiteX10" fmla="*/ 10115 w 10115"/>
                <a:gd name="connsiteY10" fmla="*/ 10142 h 15707"/>
                <a:gd name="connsiteX11" fmla="*/ 9411 w 10115"/>
                <a:gd name="connsiteY11" fmla="*/ 3196 h 15707"/>
                <a:gd name="connsiteX12" fmla="*/ 7512 w 10115"/>
                <a:gd name="connsiteY12" fmla="*/ 7519 h 15707"/>
                <a:gd name="connsiteX13" fmla="*/ 7865 w 10115"/>
                <a:gd name="connsiteY13" fmla="*/ 8319 h 15707"/>
                <a:gd name="connsiteX14" fmla="*/ 7141 w 10115"/>
                <a:gd name="connsiteY14" fmla="*/ 5261 h 15707"/>
                <a:gd name="connsiteX15" fmla="*/ 6764 w 10115"/>
                <a:gd name="connsiteY15" fmla="*/ 1806 h 15707"/>
                <a:gd name="connsiteX16" fmla="*/ 5649 w 10115"/>
                <a:gd name="connsiteY16" fmla="*/ 4011 h 15707"/>
                <a:gd name="connsiteX17" fmla="*/ 4705 w 10115"/>
                <a:gd name="connsiteY17" fmla="*/ 1111 h 15707"/>
                <a:gd name="connsiteX18" fmla="*/ 3529 w 10115"/>
                <a:gd name="connsiteY18" fmla="*/ 1111 h 15707"/>
                <a:gd name="connsiteX19" fmla="*/ 2352 w 10115"/>
                <a:gd name="connsiteY19" fmla="*/ 0 h 15707"/>
                <a:gd name="connsiteX20" fmla="*/ 2941 w 10115"/>
                <a:gd name="connsiteY20" fmla="*/ 5281 h 15707"/>
                <a:gd name="connsiteX21" fmla="*/ 1764 w 10115"/>
                <a:gd name="connsiteY21" fmla="*/ 5281 h 15707"/>
                <a:gd name="connsiteX22" fmla="*/ 1176 w 10115"/>
                <a:gd name="connsiteY22" fmla="*/ 3891 h 15707"/>
                <a:gd name="connsiteX23" fmla="*/ 882 w 10115"/>
                <a:gd name="connsiteY23" fmla="*/ 5976 h 15707"/>
                <a:gd name="connsiteX24" fmla="*/ 0 w 10115"/>
                <a:gd name="connsiteY24" fmla="*/ 5976 h 15707"/>
                <a:gd name="connsiteX0" fmla="*/ 918 w 9233"/>
                <a:gd name="connsiteY0" fmla="*/ 8769 h 15707"/>
                <a:gd name="connsiteX1" fmla="*/ 1672 w 9233"/>
                <a:gd name="connsiteY1" fmla="*/ 13317 h 15707"/>
                <a:gd name="connsiteX2" fmla="*/ 1355 w 9233"/>
                <a:gd name="connsiteY2" fmla="*/ 13475 h 15707"/>
                <a:gd name="connsiteX3" fmla="*/ 1176 w 9233"/>
                <a:gd name="connsiteY3" fmla="*/ 15707 h 15707"/>
                <a:gd name="connsiteX4" fmla="*/ 2647 w 9233"/>
                <a:gd name="connsiteY4" fmla="*/ 15707 h 15707"/>
                <a:gd name="connsiteX5" fmla="*/ 2941 w 9233"/>
                <a:gd name="connsiteY5" fmla="*/ 12927 h 15707"/>
                <a:gd name="connsiteX6" fmla="*/ 4706 w 9233"/>
                <a:gd name="connsiteY6" fmla="*/ 13622 h 15707"/>
                <a:gd name="connsiteX7" fmla="*/ 5882 w 9233"/>
                <a:gd name="connsiteY7" fmla="*/ 12927 h 15707"/>
                <a:gd name="connsiteX8" fmla="*/ 6765 w 9233"/>
                <a:gd name="connsiteY8" fmla="*/ 10147 h 15707"/>
                <a:gd name="connsiteX9" fmla="*/ 8397 w 9233"/>
                <a:gd name="connsiteY9" fmla="*/ 12364 h 15707"/>
                <a:gd name="connsiteX10" fmla="*/ 9233 w 9233"/>
                <a:gd name="connsiteY10" fmla="*/ 10142 h 15707"/>
                <a:gd name="connsiteX11" fmla="*/ 8529 w 9233"/>
                <a:gd name="connsiteY11" fmla="*/ 3196 h 15707"/>
                <a:gd name="connsiteX12" fmla="*/ 6630 w 9233"/>
                <a:gd name="connsiteY12" fmla="*/ 7519 h 15707"/>
                <a:gd name="connsiteX13" fmla="*/ 6983 w 9233"/>
                <a:gd name="connsiteY13" fmla="*/ 8319 h 15707"/>
                <a:gd name="connsiteX14" fmla="*/ 6259 w 9233"/>
                <a:gd name="connsiteY14" fmla="*/ 5261 h 15707"/>
                <a:gd name="connsiteX15" fmla="*/ 5882 w 9233"/>
                <a:gd name="connsiteY15" fmla="*/ 1806 h 15707"/>
                <a:gd name="connsiteX16" fmla="*/ 4767 w 9233"/>
                <a:gd name="connsiteY16" fmla="*/ 4011 h 15707"/>
                <a:gd name="connsiteX17" fmla="*/ 3823 w 9233"/>
                <a:gd name="connsiteY17" fmla="*/ 1111 h 15707"/>
                <a:gd name="connsiteX18" fmla="*/ 2647 w 9233"/>
                <a:gd name="connsiteY18" fmla="*/ 1111 h 15707"/>
                <a:gd name="connsiteX19" fmla="*/ 1470 w 9233"/>
                <a:gd name="connsiteY19" fmla="*/ 0 h 15707"/>
                <a:gd name="connsiteX20" fmla="*/ 2059 w 9233"/>
                <a:gd name="connsiteY20" fmla="*/ 5281 h 15707"/>
                <a:gd name="connsiteX21" fmla="*/ 882 w 9233"/>
                <a:gd name="connsiteY21" fmla="*/ 5281 h 15707"/>
                <a:gd name="connsiteX22" fmla="*/ 294 w 9233"/>
                <a:gd name="connsiteY22" fmla="*/ 3891 h 15707"/>
                <a:gd name="connsiteX23" fmla="*/ 0 w 9233"/>
                <a:gd name="connsiteY23" fmla="*/ 5976 h 15707"/>
                <a:gd name="connsiteX24" fmla="*/ 918 w 9233"/>
                <a:gd name="connsiteY24" fmla="*/ 8769 h 15707"/>
                <a:gd name="connsiteX0" fmla="*/ 994 w 10000"/>
                <a:gd name="connsiteY0" fmla="*/ 5080 h 9497"/>
                <a:gd name="connsiteX1" fmla="*/ 1811 w 10000"/>
                <a:gd name="connsiteY1" fmla="*/ 7975 h 9497"/>
                <a:gd name="connsiteX2" fmla="*/ 1468 w 10000"/>
                <a:gd name="connsiteY2" fmla="*/ 8076 h 9497"/>
                <a:gd name="connsiteX3" fmla="*/ 1274 w 10000"/>
                <a:gd name="connsiteY3" fmla="*/ 9497 h 9497"/>
                <a:gd name="connsiteX4" fmla="*/ 2867 w 10000"/>
                <a:gd name="connsiteY4" fmla="*/ 9497 h 9497"/>
                <a:gd name="connsiteX5" fmla="*/ 3185 w 10000"/>
                <a:gd name="connsiteY5" fmla="*/ 7727 h 9497"/>
                <a:gd name="connsiteX6" fmla="*/ 5097 w 10000"/>
                <a:gd name="connsiteY6" fmla="*/ 8170 h 9497"/>
                <a:gd name="connsiteX7" fmla="*/ 6371 w 10000"/>
                <a:gd name="connsiteY7" fmla="*/ 7727 h 9497"/>
                <a:gd name="connsiteX8" fmla="*/ 7327 w 10000"/>
                <a:gd name="connsiteY8" fmla="*/ 5957 h 9497"/>
                <a:gd name="connsiteX9" fmla="*/ 9095 w 10000"/>
                <a:gd name="connsiteY9" fmla="*/ 7369 h 9497"/>
                <a:gd name="connsiteX10" fmla="*/ 10000 w 10000"/>
                <a:gd name="connsiteY10" fmla="*/ 5954 h 9497"/>
                <a:gd name="connsiteX11" fmla="*/ 9238 w 10000"/>
                <a:gd name="connsiteY11" fmla="*/ 1532 h 9497"/>
                <a:gd name="connsiteX12" fmla="*/ 7181 w 10000"/>
                <a:gd name="connsiteY12" fmla="*/ 4284 h 9497"/>
                <a:gd name="connsiteX13" fmla="*/ 7563 w 10000"/>
                <a:gd name="connsiteY13" fmla="*/ 4793 h 9497"/>
                <a:gd name="connsiteX14" fmla="*/ 6779 w 10000"/>
                <a:gd name="connsiteY14" fmla="*/ 2846 h 9497"/>
                <a:gd name="connsiteX15" fmla="*/ 6371 w 10000"/>
                <a:gd name="connsiteY15" fmla="*/ 647 h 9497"/>
                <a:gd name="connsiteX16" fmla="*/ 5163 w 10000"/>
                <a:gd name="connsiteY16" fmla="*/ 2051 h 9497"/>
                <a:gd name="connsiteX17" fmla="*/ 4141 w 10000"/>
                <a:gd name="connsiteY17" fmla="*/ 204 h 9497"/>
                <a:gd name="connsiteX18" fmla="*/ 2867 w 10000"/>
                <a:gd name="connsiteY18" fmla="*/ 204 h 9497"/>
                <a:gd name="connsiteX19" fmla="*/ 2347 w 10000"/>
                <a:gd name="connsiteY19" fmla="*/ 2200 h 9497"/>
                <a:gd name="connsiteX20" fmla="*/ 2230 w 10000"/>
                <a:gd name="connsiteY20" fmla="*/ 2859 h 9497"/>
                <a:gd name="connsiteX21" fmla="*/ 955 w 10000"/>
                <a:gd name="connsiteY21" fmla="*/ 2859 h 9497"/>
                <a:gd name="connsiteX22" fmla="*/ 318 w 10000"/>
                <a:gd name="connsiteY22" fmla="*/ 1974 h 9497"/>
                <a:gd name="connsiteX23" fmla="*/ 0 w 10000"/>
                <a:gd name="connsiteY23" fmla="*/ 3302 h 9497"/>
                <a:gd name="connsiteX24" fmla="*/ 994 w 10000"/>
                <a:gd name="connsiteY24" fmla="*/ 5080 h 9497"/>
                <a:gd name="connsiteX0" fmla="*/ 994 w 10000"/>
                <a:gd name="connsiteY0" fmla="*/ 5349 h 10000"/>
                <a:gd name="connsiteX1" fmla="*/ 1811 w 10000"/>
                <a:gd name="connsiteY1" fmla="*/ 8397 h 10000"/>
                <a:gd name="connsiteX2" fmla="*/ 1468 w 10000"/>
                <a:gd name="connsiteY2" fmla="*/ 8504 h 10000"/>
                <a:gd name="connsiteX3" fmla="*/ 1274 w 10000"/>
                <a:gd name="connsiteY3" fmla="*/ 10000 h 10000"/>
                <a:gd name="connsiteX4" fmla="*/ 2867 w 10000"/>
                <a:gd name="connsiteY4" fmla="*/ 10000 h 10000"/>
                <a:gd name="connsiteX5" fmla="*/ 3185 w 10000"/>
                <a:gd name="connsiteY5" fmla="*/ 8136 h 10000"/>
                <a:gd name="connsiteX6" fmla="*/ 5097 w 10000"/>
                <a:gd name="connsiteY6" fmla="*/ 8603 h 10000"/>
                <a:gd name="connsiteX7" fmla="*/ 6371 w 10000"/>
                <a:gd name="connsiteY7" fmla="*/ 8136 h 10000"/>
                <a:gd name="connsiteX8" fmla="*/ 7327 w 10000"/>
                <a:gd name="connsiteY8" fmla="*/ 6273 h 10000"/>
                <a:gd name="connsiteX9" fmla="*/ 9095 w 10000"/>
                <a:gd name="connsiteY9" fmla="*/ 7759 h 10000"/>
                <a:gd name="connsiteX10" fmla="*/ 10000 w 10000"/>
                <a:gd name="connsiteY10" fmla="*/ 6269 h 10000"/>
                <a:gd name="connsiteX11" fmla="*/ 9238 w 10000"/>
                <a:gd name="connsiteY11" fmla="*/ 1613 h 10000"/>
                <a:gd name="connsiteX12" fmla="*/ 7181 w 10000"/>
                <a:gd name="connsiteY12" fmla="*/ 4511 h 10000"/>
                <a:gd name="connsiteX13" fmla="*/ 7563 w 10000"/>
                <a:gd name="connsiteY13" fmla="*/ 5047 h 10000"/>
                <a:gd name="connsiteX14" fmla="*/ 6779 w 10000"/>
                <a:gd name="connsiteY14" fmla="*/ 2997 h 10000"/>
                <a:gd name="connsiteX15" fmla="*/ 6371 w 10000"/>
                <a:gd name="connsiteY15" fmla="*/ 681 h 10000"/>
                <a:gd name="connsiteX16" fmla="*/ 5163 w 10000"/>
                <a:gd name="connsiteY16" fmla="*/ 2160 h 10000"/>
                <a:gd name="connsiteX17" fmla="*/ 4141 w 10000"/>
                <a:gd name="connsiteY17" fmla="*/ 215 h 10000"/>
                <a:gd name="connsiteX18" fmla="*/ 2867 w 10000"/>
                <a:gd name="connsiteY18" fmla="*/ 215 h 10000"/>
                <a:gd name="connsiteX19" fmla="*/ 2347 w 10000"/>
                <a:gd name="connsiteY19" fmla="*/ 2317 h 10000"/>
                <a:gd name="connsiteX20" fmla="*/ 2230 w 10000"/>
                <a:gd name="connsiteY20" fmla="*/ 3010 h 10000"/>
                <a:gd name="connsiteX21" fmla="*/ 955 w 10000"/>
                <a:gd name="connsiteY21" fmla="*/ 3010 h 10000"/>
                <a:gd name="connsiteX22" fmla="*/ 1237 w 10000"/>
                <a:gd name="connsiteY22" fmla="*/ 3729 h 10000"/>
                <a:gd name="connsiteX23" fmla="*/ 0 w 10000"/>
                <a:gd name="connsiteY23" fmla="*/ 3477 h 10000"/>
                <a:gd name="connsiteX24" fmla="*/ 994 w 10000"/>
                <a:gd name="connsiteY24" fmla="*/ 5349 h 10000"/>
                <a:gd name="connsiteX0" fmla="*/ 76 w 9082"/>
                <a:gd name="connsiteY0" fmla="*/ 5349 h 10000"/>
                <a:gd name="connsiteX1" fmla="*/ 893 w 9082"/>
                <a:gd name="connsiteY1" fmla="*/ 8397 h 10000"/>
                <a:gd name="connsiteX2" fmla="*/ 550 w 9082"/>
                <a:gd name="connsiteY2" fmla="*/ 8504 h 10000"/>
                <a:gd name="connsiteX3" fmla="*/ 356 w 9082"/>
                <a:gd name="connsiteY3" fmla="*/ 10000 h 10000"/>
                <a:gd name="connsiteX4" fmla="*/ 1949 w 9082"/>
                <a:gd name="connsiteY4" fmla="*/ 10000 h 10000"/>
                <a:gd name="connsiteX5" fmla="*/ 2267 w 9082"/>
                <a:gd name="connsiteY5" fmla="*/ 8136 h 10000"/>
                <a:gd name="connsiteX6" fmla="*/ 4179 w 9082"/>
                <a:gd name="connsiteY6" fmla="*/ 8603 h 10000"/>
                <a:gd name="connsiteX7" fmla="*/ 5453 w 9082"/>
                <a:gd name="connsiteY7" fmla="*/ 8136 h 10000"/>
                <a:gd name="connsiteX8" fmla="*/ 6409 w 9082"/>
                <a:gd name="connsiteY8" fmla="*/ 6273 h 10000"/>
                <a:gd name="connsiteX9" fmla="*/ 8177 w 9082"/>
                <a:gd name="connsiteY9" fmla="*/ 7759 h 10000"/>
                <a:gd name="connsiteX10" fmla="*/ 9082 w 9082"/>
                <a:gd name="connsiteY10" fmla="*/ 6269 h 10000"/>
                <a:gd name="connsiteX11" fmla="*/ 8320 w 9082"/>
                <a:gd name="connsiteY11" fmla="*/ 1613 h 10000"/>
                <a:gd name="connsiteX12" fmla="*/ 6263 w 9082"/>
                <a:gd name="connsiteY12" fmla="*/ 4511 h 10000"/>
                <a:gd name="connsiteX13" fmla="*/ 6645 w 9082"/>
                <a:gd name="connsiteY13" fmla="*/ 5047 h 10000"/>
                <a:gd name="connsiteX14" fmla="*/ 5861 w 9082"/>
                <a:gd name="connsiteY14" fmla="*/ 2997 h 10000"/>
                <a:gd name="connsiteX15" fmla="*/ 5453 w 9082"/>
                <a:gd name="connsiteY15" fmla="*/ 681 h 10000"/>
                <a:gd name="connsiteX16" fmla="*/ 4245 w 9082"/>
                <a:gd name="connsiteY16" fmla="*/ 2160 h 10000"/>
                <a:gd name="connsiteX17" fmla="*/ 3223 w 9082"/>
                <a:gd name="connsiteY17" fmla="*/ 215 h 10000"/>
                <a:gd name="connsiteX18" fmla="*/ 1949 w 9082"/>
                <a:gd name="connsiteY18" fmla="*/ 215 h 10000"/>
                <a:gd name="connsiteX19" fmla="*/ 1429 w 9082"/>
                <a:gd name="connsiteY19" fmla="*/ 2317 h 10000"/>
                <a:gd name="connsiteX20" fmla="*/ 1312 w 9082"/>
                <a:gd name="connsiteY20" fmla="*/ 3010 h 10000"/>
                <a:gd name="connsiteX21" fmla="*/ 37 w 9082"/>
                <a:gd name="connsiteY21" fmla="*/ 3010 h 10000"/>
                <a:gd name="connsiteX22" fmla="*/ 319 w 9082"/>
                <a:gd name="connsiteY22" fmla="*/ 3729 h 10000"/>
                <a:gd name="connsiteX23" fmla="*/ 310 w 9082"/>
                <a:gd name="connsiteY23" fmla="*/ 5046 h 10000"/>
                <a:gd name="connsiteX24" fmla="*/ 76 w 9082"/>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6004 w 10000"/>
                <a:gd name="connsiteY15" fmla="*/ 681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4674 w 10000"/>
                <a:gd name="connsiteY16" fmla="*/ 2160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392 w 10000"/>
                <a:gd name="connsiteY3" fmla="*/ 10000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10000"/>
                <a:gd name="connsiteX1" fmla="*/ 983 w 10000"/>
                <a:gd name="connsiteY1" fmla="*/ 8397 h 10000"/>
                <a:gd name="connsiteX2" fmla="*/ 606 w 10000"/>
                <a:gd name="connsiteY2" fmla="*/ 8504 h 10000"/>
                <a:gd name="connsiteX3" fmla="*/ 1061 w 10000"/>
                <a:gd name="connsiteY3" fmla="*/ 8358 h 10000"/>
                <a:gd name="connsiteX4" fmla="*/ 2146 w 10000"/>
                <a:gd name="connsiteY4" fmla="*/ 10000 h 10000"/>
                <a:gd name="connsiteX5" fmla="*/ 2496 w 10000"/>
                <a:gd name="connsiteY5" fmla="*/ 8136 h 10000"/>
                <a:gd name="connsiteX6" fmla="*/ 4601 w 10000"/>
                <a:gd name="connsiteY6" fmla="*/ 8603 h 10000"/>
                <a:gd name="connsiteX7" fmla="*/ 6004 w 10000"/>
                <a:gd name="connsiteY7" fmla="*/ 8136 h 10000"/>
                <a:gd name="connsiteX8" fmla="*/ 7057 w 10000"/>
                <a:gd name="connsiteY8" fmla="*/ 6273 h 10000"/>
                <a:gd name="connsiteX9" fmla="*/ 9004 w 10000"/>
                <a:gd name="connsiteY9" fmla="*/ 7759 h 10000"/>
                <a:gd name="connsiteX10" fmla="*/ 10000 w 10000"/>
                <a:gd name="connsiteY10" fmla="*/ 6269 h 10000"/>
                <a:gd name="connsiteX11" fmla="*/ 9161 w 10000"/>
                <a:gd name="connsiteY11" fmla="*/ 1613 h 10000"/>
                <a:gd name="connsiteX12" fmla="*/ 6896 w 10000"/>
                <a:gd name="connsiteY12" fmla="*/ 4511 h 10000"/>
                <a:gd name="connsiteX13" fmla="*/ 7317 w 10000"/>
                <a:gd name="connsiteY13" fmla="*/ 5047 h 10000"/>
                <a:gd name="connsiteX14" fmla="*/ 5683 w 10000"/>
                <a:gd name="connsiteY14" fmla="*/ 3757 h 10000"/>
                <a:gd name="connsiteX15" fmla="*/ 5128 w 10000"/>
                <a:gd name="connsiteY15" fmla="*/ 2454 h 10000"/>
                <a:gd name="connsiteX16" fmla="*/ 5062 w 10000"/>
                <a:gd name="connsiteY16" fmla="*/ 833 h 10000"/>
                <a:gd name="connsiteX17" fmla="*/ 3549 w 10000"/>
                <a:gd name="connsiteY17" fmla="*/ 215 h 10000"/>
                <a:gd name="connsiteX18" fmla="*/ 2146 w 10000"/>
                <a:gd name="connsiteY18" fmla="*/ 215 h 10000"/>
                <a:gd name="connsiteX19" fmla="*/ 1573 w 10000"/>
                <a:gd name="connsiteY19" fmla="*/ 2317 h 10000"/>
                <a:gd name="connsiteX20" fmla="*/ 1445 w 10000"/>
                <a:gd name="connsiteY20" fmla="*/ 3010 h 10000"/>
                <a:gd name="connsiteX21" fmla="*/ 41 w 10000"/>
                <a:gd name="connsiteY21" fmla="*/ 3010 h 10000"/>
                <a:gd name="connsiteX22" fmla="*/ 351 w 10000"/>
                <a:gd name="connsiteY22" fmla="*/ 3729 h 10000"/>
                <a:gd name="connsiteX23" fmla="*/ 341 w 10000"/>
                <a:gd name="connsiteY23" fmla="*/ 5046 h 10000"/>
                <a:gd name="connsiteX24" fmla="*/ 84 w 10000"/>
                <a:gd name="connsiteY24" fmla="*/ 5349 h 10000"/>
                <a:gd name="connsiteX0" fmla="*/ 84 w 10000"/>
                <a:gd name="connsiteY0" fmla="*/ 5349 h 8633"/>
                <a:gd name="connsiteX1" fmla="*/ 983 w 10000"/>
                <a:gd name="connsiteY1" fmla="*/ 8397 h 8633"/>
                <a:gd name="connsiteX2" fmla="*/ 606 w 10000"/>
                <a:gd name="connsiteY2" fmla="*/ 8504 h 8633"/>
                <a:gd name="connsiteX3" fmla="*/ 1061 w 10000"/>
                <a:gd name="connsiteY3" fmla="*/ 8358 h 8633"/>
                <a:gd name="connsiteX4" fmla="*/ 2401 w 10000"/>
                <a:gd name="connsiteY4" fmla="*/ 8622 h 8633"/>
                <a:gd name="connsiteX5" fmla="*/ 2496 w 10000"/>
                <a:gd name="connsiteY5" fmla="*/ 8136 h 8633"/>
                <a:gd name="connsiteX6" fmla="*/ 4601 w 10000"/>
                <a:gd name="connsiteY6" fmla="*/ 8603 h 8633"/>
                <a:gd name="connsiteX7" fmla="*/ 6004 w 10000"/>
                <a:gd name="connsiteY7" fmla="*/ 8136 h 8633"/>
                <a:gd name="connsiteX8" fmla="*/ 7057 w 10000"/>
                <a:gd name="connsiteY8" fmla="*/ 6273 h 8633"/>
                <a:gd name="connsiteX9" fmla="*/ 9004 w 10000"/>
                <a:gd name="connsiteY9" fmla="*/ 7759 h 8633"/>
                <a:gd name="connsiteX10" fmla="*/ 10000 w 10000"/>
                <a:gd name="connsiteY10" fmla="*/ 6269 h 8633"/>
                <a:gd name="connsiteX11" fmla="*/ 9161 w 10000"/>
                <a:gd name="connsiteY11" fmla="*/ 1613 h 8633"/>
                <a:gd name="connsiteX12" fmla="*/ 6896 w 10000"/>
                <a:gd name="connsiteY12" fmla="*/ 4511 h 8633"/>
                <a:gd name="connsiteX13" fmla="*/ 7317 w 10000"/>
                <a:gd name="connsiteY13" fmla="*/ 5047 h 8633"/>
                <a:gd name="connsiteX14" fmla="*/ 5683 w 10000"/>
                <a:gd name="connsiteY14" fmla="*/ 3757 h 8633"/>
                <a:gd name="connsiteX15" fmla="*/ 5128 w 10000"/>
                <a:gd name="connsiteY15" fmla="*/ 2454 h 8633"/>
                <a:gd name="connsiteX16" fmla="*/ 5062 w 10000"/>
                <a:gd name="connsiteY16" fmla="*/ 833 h 8633"/>
                <a:gd name="connsiteX17" fmla="*/ 3549 w 10000"/>
                <a:gd name="connsiteY17" fmla="*/ 215 h 8633"/>
                <a:gd name="connsiteX18" fmla="*/ 2146 w 10000"/>
                <a:gd name="connsiteY18" fmla="*/ 215 h 8633"/>
                <a:gd name="connsiteX19" fmla="*/ 1573 w 10000"/>
                <a:gd name="connsiteY19" fmla="*/ 2317 h 8633"/>
                <a:gd name="connsiteX20" fmla="*/ 1445 w 10000"/>
                <a:gd name="connsiteY20" fmla="*/ 3010 h 8633"/>
                <a:gd name="connsiteX21" fmla="*/ 41 w 10000"/>
                <a:gd name="connsiteY21" fmla="*/ 3010 h 8633"/>
                <a:gd name="connsiteX22" fmla="*/ 351 w 10000"/>
                <a:gd name="connsiteY22" fmla="*/ 3729 h 8633"/>
                <a:gd name="connsiteX23" fmla="*/ 341 w 10000"/>
                <a:gd name="connsiteY23" fmla="*/ 5046 h 8633"/>
                <a:gd name="connsiteX24" fmla="*/ 84 w 10000"/>
                <a:gd name="connsiteY24" fmla="*/ 5349 h 8633"/>
                <a:gd name="connsiteX0" fmla="*/ 59 w 9975"/>
                <a:gd name="connsiteY0" fmla="*/ 6196 h 10000"/>
                <a:gd name="connsiteX1" fmla="*/ 958 w 9975"/>
                <a:gd name="connsiteY1" fmla="*/ 9727 h 10000"/>
                <a:gd name="connsiteX2" fmla="*/ 581 w 9975"/>
                <a:gd name="connsiteY2" fmla="*/ 9851 h 10000"/>
                <a:gd name="connsiteX3" fmla="*/ 1036 w 9975"/>
                <a:gd name="connsiteY3" fmla="*/ 9681 h 10000"/>
                <a:gd name="connsiteX4" fmla="*/ 2376 w 9975"/>
                <a:gd name="connsiteY4" fmla="*/ 9987 h 10000"/>
                <a:gd name="connsiteX5" fmla="*/ 2471 w 9975"/>
                <a:gd name="connsiteY5" fmla="*/ 9424 h 10000"/>
                <a:gd name="connsiteX6" fmla="*/ 4576 w 9975"/>
                <a:gd name="connsiteY6" fmla="*/ 9965 h 10000"/>
                <a:gd name="connsiteX7" fmla="*/ 5979 w 9975"/>
                <a:gd name="connsiteY7" fmla="*/ 9424 h 10000"/>
                <a:gd name="connsiteX8" fmla="*/ 7032 w 9975"/>
                <a:gd name="connsiteY8" fmla="*/ 7266 h 10000"/>
                <a:gd name="connsiteX9" fmla="*/ 8979 w 9975"/>
                <a:gd name="connsiteY9" fmla="*/ 8988 h 10000"/>
                <a:gd name="connsiteX10" fmla="*/ 9975 w 9975"/>
                <a:gd name="connsiteY10" fmla="*/ 7262 h 10000"/>
                <a:gd name="connsiteX11" fmla="*/ 9136 w 9975"/>
                <a:gd name="connsiteY11" fmla="*/ 1868 h 10000"/>
                <a:gd name="connsiteX12" fmla="*/ 6871 w 9975"/>
                <a:gd name="connsiteY12" fmla="*/ 5225 h 10000"/>
                <a:gd name="connsiteX13" fmla="*/ 7292 w 9975"/>
                <a:gd name="connsiteY13" fmla="*/ 5846 h 10000"/>
                <a:gd name="connsiteX14" fmla="*/ 5658 w 9975"/>
                <a:gd name="connsiteY14" fmla="*/ 4352 h 10000"/>
                <a:gd name="connsiteX15" fmla="*/ 5103 w 9975"/>
                <a:gd name="connsiteY15" fmla="*/ 2843 h 10000"/>
                <a:gd name="connsiteX16" fmla="*/ 5037 w 9975"/>
                <a:gd name="connsiteY16" fmla="*/ 965 h 10000"/>
                <a:gd name="connsiteX17" fmla="*/ 3524 w 9975"/>
                <a:gd name="connsiteY17" fmla="*/ 249 h 10000"/>
                <a:gd name="connsiteX18" fmla="*/ 2121 w 9975"/>
                <a:gd name="connsiteY18" fmla="*/ 249 h 10000"/>
                <a:gd name="connsiteX19" fmla="*/ 1548 w 9975"/>
                <a:gd name="connsiteY19" fmla="*/ 2684 h 10000"/>
                <a:gd name="connsiteX20" fmla="*/ 1420 w 9975"/>
                <a:gd name="connsiteY20" fmla="*/ 3487 h 10000"/>
                <a:gd name="connsiteX21" fmla="*/ 16 w 9975"/>
                <a:gd name="connsiteY21" fmla="*/ 3487 h 10000"/>
                <a:gd name="connsiteX22" fmla="*/ 1668 w 9975"/>
                <a:gd name="connsiteY22" fmla="*/ 4423 h 10000"/>
                <a:gd name="connsiteX23" fmla="*/ 316 w 9975"/>
                <a:gd name="connsiteY23" fmla="*/ 5845 h 10000"/>
                <a:gd name="connsiteX24" fmla="*/ 59 w 9975"/>
                <a:gd name="connsiteY24" fmla="*/ 6196 h 10000"/>
                <a:gd name="connsiteX0" fmla="*/ 1197 w 10000"/>
                <a:gd name="connsiteY0" fmla="*/ 6453 h 10000"/>
                <a:gd name="connsiteX1" fmla="*/ 960 w 10000"/>
                <a:gd name="connsiteY1" fmla="*/ 9727 h 10000"/>
                <a:gd name="connsiteX2" fmla="*/ 582 w 10000"/>
                <a:gd name="connsiteY2" fmla="*/ 9851 h 10000"/>
                <a:gd name="connsiteX3" fmla="*/ 1039 w 10000"/>
                <a:gd name="connsiteY3" fmla="*/ 9681 h 10000"/>
                <a:gd name="connsiteX4" fmla="*/ 2382 w 10000"/>
                <a:gd name="connsiteY4" fmla="*/ 9987 h 10000"/>
                <a:gd name="connsiteX5" fmla="*/ 2477 w 10000"/>
                <a:gd name="connsiteY5" fmla="*/ 9424 h 10000"/>
                <a:gd name="connsiteX6" fmla="*/ 4587 w 10000"/>
                <a:gd name="connsiteY6" fmla="*/ 9965 h 10000"/>
                <a:gd name="connsiteX7" fmla="*/ 5994 w 10000"/>
                <a:gd name="connsiteY7" fmla="*/ 9424 h 10000"/>
                <a:gd name="connsiteX8" fmla="*/ 7050 w 10000"/>
                <a:gd name="connsiteY8" fmla="*/ 7266 h 10000"/>
                <a:gd name="connsiteX9" fmla="*/ 9002 w 10000"/>
                <a:gd name="connsiteY9" fmla="*/ 8988 h 10000"/>
                <a:gd name="connsiteX10" fmla="*/ 10000 w 10000"/>
                <a:gd name="connsiteY10" fmla="*/ 7262 h 10000"/>
                <a:gd name="connsiteX11" fmla="*/ 9159 w 10000"/>
                <a:gd name="connsiteY11" fmla="*/ 1868 h 10000"/>
                <a:gd name="connsiteX12" fmla="*/ 6888 w 10000"/>
                <a:gd name="connsiteY12" fmla="*/ 5225 h 10000"/>
                <a:gd name="connsiteX13" fmla="*/ 7310 w 10000"/>
                <a:gd name="connsiteY13" fmla="*/ 5846 h 10000"/>
                <a:gd name="connsiteX14" fmla="*/ 5672 w 10000"/>
                <a:gd name="connsiteY14" fmla="*/ 4352 h 10000"/>
                <a:gd name="connsiteX15" fmla="*/ 5116 w 10000"/>
                <a:gd name="connsiteY15" fmla="*/ 2843 h 10000"/>
                <a:gd name="connsiteX16" fmla="*/ 5050 w 10000"/>
                <a:gd name="connsiteY16" fmla="*/ 965 h 10000"/>
                <a:gd name="connsiteX17" fmla="*/ 3533 w 10000"/>
                <a:gd name="connsiteY17" fmla="*/ 249 h 10000"/>
                <a:gd name="connsiteX18" fmla="*/ 2126 w 10000"/>
                <a:gd name="connsiteY18" fmla="*/ 249 h 10000"/>
                <a:gd name="connsiteX19" fmla="*/ 1552 w 10000"/>
                <a:gd name="connsiteY19" fmla="*/ 2684 h 10000"/>
                <a:gd name="connsiteX20" fmla="*/ 1424 w 10000"/>
                <a:gd name="connsiteY20" fmla="*/ 3487 h 10000"/>
                <a:gd name="connsiteX21" fmla="*/ 16 w 10000"/>
                <a:gd name="connsiteY21" fmla="*/ 3487 h 10000"/>
                <a:gd name="connsiteX22" fmla="*/ 1672 w 10000"/>
                <a:gd name="connsiteY22" fmla="*/ 4423 h 10000"/>
                <a:gd name="connsiteX23" fmla="*/ 317 w 10000"/>
                <a:gd name="connsiteY23" fmla="*/ 5845 h 10000"/>
                <a:gd name="connsiteX24" fmla="*/ 1197 w 10000"/>
                <a:gd name="connsiteY24" fmla="*/ 6453 h 10000"/>
                <a:gd name="connsiteX0" fmla="*/ 880 w 9683"/>
                <a:gd name="connsiteY0" fmla="*/ 6453 h 10000"/>
                <a:gd name="connsiteX1" fmla="*/ 643 w 9683"/>
                <a:gd name="connsiteY1" fmla="*/ 9727 h 10000"/>
                <a:gd name="connsiteX2" fmla="*/ 265 w 9683"/>
                <a:gd name="connsiteY2" fmla="*/ 9851 h 10000"/>
                <a:gd name="connsiteX3" fmla="*/ 722 w 9683"/>
                <a:gd name="connsiteY3" fmla="*/ 9681 h 10000"/>
                <a:gd name="connsiteX4" fmla="*/ 2065 w 9683"/>
                <a:gd name="connsiteY4" fmla="*/ 9987 h 10000"/>
                <a:gd name="connsiteX5" fmla="*/ 2160 w 9683"/>
                <a:gd name="connsiteY5" fmla="*/ 9424 h 10000"/>
                <a:gd name="connsiteX6" fmla="*/ 4270 w 9683"/>
                <a:gd name="connsiteY6" fmla="*/ 9965 h 10000"/>
                <a:gd name="connsiteX7" fmla="*/ 5677 w 9683"/>
                <a:gd name="connsiteY7" fmla="*/ 9424 h 10000"/>
                <a:gd name="connsiteX8" fmla="*/ 6733 w 9683"/>
                <a:gd name="connsiteY8" fmla="*/ 7266 h 10000"/>
                <a:gd name="connsiteX9" fmla="*/ 8685 w 9683"/>
                <a:gd name="connsiteY9" fmla="*/ 8988 h 10000"/>
                <a:gd name="connsiteX10" fmla="*/ 9683 w 9683"/>
                <a:gd name="connsiteY10" fmla="*/ 7262 h 10000"/>
                <a:gd name="connsiteX11" fmla="*/ 8842 w 9683"/>
                <a:gd name="connsiteY11" fmla="*/ 1868 h 10000"/>
                <a:gd name="connsiteX12" fmla="*/ 6571 w 9683"/>
                <a:gd name="connsiteY12" fmla="*/ 5225 h 10000"/>
                <a:gd name="connsiteX13" fmla="*/ 6993 w 9683"/>
                <a:gd name="connsiteY13" fmla="*/ 5846 h 10000"/>
                <a:gd name="connsiteX14" fmla="*/ 5355 w 9683"/>
                <a:gd name="connsiteY14" fmla="*/ 4352 h 10000"/>
                <a:gd name="connsiteX15" fmla="*/ 4799 w 9683"/>
                <a:gd name="connsiteY15" fmla="*/ 2843 h 10000"/>
                <a:gd name="connsiteX16" fmla="*/ 4733 w 9683"/>
                <a:gd name="connsiteY16" fmla="*/ 965 h 10000"/>
                <a:gd name="connsiteX17" fmla="*/ 3216 w 9683"/>
                <a:gd name="connsiteY17" fmla="*/ 249 h 10000"/>
                <a:gd name="connsiteX18" fmla="*/ 1809 w 9683"/>
                <a:gd name="connsiteY18" fmla="*/ 249 h 10000"/>
                <a:gd name="connsiteX19" fmla="*/ 1235 w 9683"/>
                <a:gd name="connsiteY19" fmla="*/ 2684 h 10000"/>
                <a:gd name="connsiteX20" fmla="*/ 1107 w 9683"/>
                <a:gd name="connsiteY20" fmla="*/ 3487 h 10000"/>
                <a:gd name="connsiteX21" fmla="*/ 954 w 9683"/>
                <a:gd name="connsiteY21" fmla="*/ 4284 h 10000"/>
                <a:gd name="connsiteX22" fmla="*/ 1355 w 9683"/>
                <a:gd name="connsiteY22" fmla="*/ 4423 h 10000"/>
                <a:gd name="connsiteX23" fmla="*/ 0 w 9683"/>
                <a:gd name="connsiteY23" fmla="*/ 5845 h 10000"/>
                <a:gd name="connsiteX24" fmla="*/ 880 w 9683"/>
                <a:gd name="connsiteY24" fmla="*/ 6453 h 10000"/>
                <a:gd name="connsiteX0" fmla="*/ 909 w 10000"/>
                <a:gd name="connsiteY0" fmla="*/ 6453 h 10000"/>
                <a:gd name="connsiteX1" fmla="*/ 664 w 10000"/>
                <a:gd name="connsiteY1" fmla="*/ 9727 h 10000"/>
                <a:gd name="connsiteX2" fmla="*/ 274 w 10000"/>
                <a:gd name="connsiteY2" fmla="*/ 9851 h 10000"/>
                <a:gd name="connsiteX3" fmla="*/ 746 w 10000"/>
                <a:gd name="connsiteY3" fmla="*/ 9681 h 10000"/>
                <a:gd name="connsiteX4" fmla="*/ 2133 w 10000"/>
                <a:gd name="connsiteY4" fmla="*/ 9987 h 10000"/>
                <a:gd name="connsiteX5" fmla="*/ 2231 w 10000"/>
                <a:gd name="connsiteY5" fmla="*/ 9424 h 10000"/>
                <a:gd name="connsiteX6" fmla="*/ 4410 w 10000"/>
                <a:gd name="connsiteY6" fmla="*/ 9965 h 10000"/>
                <a:gd name="connsiteX7" fmla="*/ 5863 w 10000"/>
                <a:gd name="connsiteY7" fmla="*/ 9424 h 10000"/>
                <a:gd name="connsiteX8" fmla="*/ 6953 w 10000"/>
                <a:gd name="connsiteY8" fmla="*/ 7266 h 10000"/>
                <a:gd name="connsiteX9" fmla="*/ 8612 w 10000"/>
                <a:gd name="connsiteY9" fmla="*/ 8836 h 10000"/>
                <a:gd name="connsiteX10" fmla="*/ 10000 w 10000"/>
                <a:gd name="connsiteY10" fmla="*/ 7262 h 10000"/>
                <a:gd name="connsiteX11" fmla="*/ 9131 w 10000"/>
                <a:gd name="connsiteY11" fmla="*/ 1868 h 10000"/>
                <a:gd name="connsiteX12" fmla="*/ 6786 w 10000"/>
                <a:gd name="connsiteY12" fmla="*/ 5225 h 10000"/>
                <a:gd name="connsiteX13" fmla="*/ 7222 w 10000"/>
                <a:gd name="connsiteY13" fmla="*/ 5846 h 10000"/>
                <a:gd name="connsiteX14" fmla="*/ 5530 w 10000"/>
                <a:gd name="connsiteY14" fmla="*/ 4352 h 10000"/>
                <a:gd name="connsiteX15" fmla="*/ 4956 w 10000"/>
                <a:gd name="connsiteY15" fmla="*/ 2843 h 10000"/>
                <a:gd name="connsiteX16" fmla="*/ 4888 w 10000"/>
                <a:gd name="connsiteY16" fmla="*/ 965 h 10000"/>
                <a:gd name="connsiteX17" fmla="*/ 3321 w 10000"/>
                <a:gd name="connsiteY17" fmla="*/ 249 h 10000"/>
                <a:gd name="connsiteX18" fmla="*/ 1868 w 10000"/>
                <a:gd name="connsiteY18" fmla="*/ 249 h 10000"/>
                <a:gd name="connsiteX19" fmla="*/ 1275 w 10000"/>
                <a:gd name="connsiteY19" fmla="*/ 2684 h 10000"/>
                <a:gd name="connsiteX20" fmla="*/ 1143 w 10000"/>
                <a:gd name="connsiteY20" fmla="*/ 3487 h 10000"/>
                <a:gd name="connsiteX21" fmla="*/ 985 w 10000"/>
                <a:gd name="connsiteY21" fmla="*/ 4284 h 10000"/>
                <a:gd name="connsiteX22" fmla="*/ 1399 w 10000"/>
                <a:gd name="connsiteY22" fmla="*/ 4423 h 10000"/>
                <a:gd name="connsiteX23" fmla="*/ 0 w 10000"/>
                <a:gd name="connsiteY23" fmla="*/ 5845 h 10000"/>
                <a:gd name="connsiteX24" fmla="*/ 909 w 10000"/>
                <a:gd name="connsiteY24" fmla="*/ 6453 h 10000"/>
                <a:gd name="connsiteX0" fmla="*/ 909 w 9202"/>
                <a:gd name="connsiteY0" fmla="*/ 6453 h 10000"/>
                <a:gd name="connsiteX1" fmla="*/ 664 w 9202"/>
                <a:gd name="connsiteY1" fmla="*/ 9727 h 10000"/>
                <a:gd name="connsiteX2" fmla="*/ 274 w 9202"/>
                <a:gd name="connsiteY2" fmla="*/ 9851 h 10000"/>
                <a:gd name="connsiteX3" fmla="*/ 746 w 9202"/>
                <a:gd name="connsiteY3" fmla="*/ 9681 h 10000"/>
                <a:gd name="connsiteX4" fmla="*/ 2133 w 9202"/>
                <a:gd name="connsiteY4" fmla="*/ 9987 h 10000"/>
                <a:gd name="connsiteX5" fmla="*/ 2231 w 9202"/>
                <a:gd name="connsiteY5" fmla="*/ 9424 h 10000"/>
                <a:gd name="connsiteX6" fmla="*/ 4410 w 9202"/>
                <a:gd name="connsiteY6" fmla="*/ 9965 h 10000"/>
                <a:gd name="connsiteX7" fmla="*/ 5863 w 9202"/>
                <a:gd name="connsiteY7" fmla="*/ 9424 h 10000"/>
                <a:gd name="connsiteX8" fmla="*/ 6953 w 9202"/>
                <a:gd name="connsiteY8" fmla="*/ 7266 h 10000"/>
                <a:gd name="connsiteX9" fmla="*/ 8612 w 9202"/>
                <a:gd name="connsiteY9" fmla="*/ 8836 h 10000"/>
                <a:gd name="connsiteX10" fmla="*/ 9003 w 9202"/>
                <a:gd name="connsiteY10" fmla="*/ 6266 h 10000"/>
                <a:gd name="connsiteX11" fmla="*/ 9131 w 9202"/>
                <a:gd name="connsiteY11" fmla="*/ 1868 h 10000"/>
                <a:gd name="connsiteX12" fmla="*/ 6786 w 9202"/>
                <a:gd name="connsiteY12" fmla="*/ 5225 h 10000"/>
                <a:gd name="connsiteX13" fmla="*/ 7222 w 9202"/>
                <a:gd name="connsiteY13" fmla="*/ 5846 h 10000"/>
                <a:gd name="connsiteX14" fmla="*/ 5530 w 9202"/>
                <a:gd name="connsiteY14" fmla="*/ 4352 h 10000"/>
                <a:gd name="connsiteX15" fmla="*/ 4956 w 9202"/>
                <a:gd name="connsiteY15" fmla="*/ 2843 h 10000"/>
                <a:gd name="connsiteX16" fmla="*/ 4888 w 9202"/>
                <a:gd name="connsiteY16" fmla="*/ 965 h 10000"/>
                <a:gd name="connsiteX17" fmla="*/ 3321 w 9202"/>
                <a:gd name="connsiteY17" fmla="*/ 249 h 10000"/>
                <a:gd name="connsiteX18" fmla="*/ 1868 w 9202"/>
                <a:gd name="connsiteY18" fmla="*/ 249 h 10000"/>
                <a:gd name="connsiteX19" fmla="*/ 1275 w 9202"/>
                <a:gd name="connsiteY19" fmla="*/ 2684 h 10000"/>
                <a:gd name="connsiteX20" fmla="*/ 1143 w 9202"/>
                <a:gd name="connsiteY20" fmla="*/ 3487 h 10000"/>
                <a:gd name="connsiteX21" fmla="*/ 985 w 9202"/>
                <a:gd name="connsiteY21" fmla="*/ 4284 h 10000"/>
                <a:gd name="connsiteX22" fmla="*/ 1399 w 9202"/>
                <a:gd name="connsiteY22" fmla="*/ 4423 h 10000"/>
                <a:gd name="connsiteX23" fmla="*/ 0 w 9202"/>
                <a:gd name="connsiteY23" fmla="*/ 5845 h 10000"/>
                <a:gd name="connsiteX24" fmla="*/ 909 w 9202"/>
                <a:gd name="connsiteY24" fmla="*/ 6453 h 10000"/>
                <a:gd name="connsiteX0" fmla="*/ 988 w 9784"/>
                <a:gd name="connsiteY0" fmla="*/ 6453 h 10000"/>
                <a:gd name="connsiteX1" fmla="*/ 722 w 9784"/>
                <a:gd name="connsiteY1" fmla="*/ 9727 h 10000"/>
                <a:gd name="connsiteX2" fmla="*/ 298 w 9784"/>
                <a:gd name="connsiteY2" fmla="*/ 9851 h 10000"/>
                <a:gd name="connsiteX3" fmla="*/ 811 w 9784"/>
                <a:gd name="connsiteY3" fmla="*/ 9681 h 10000"/>
                <a:gd name="connsiteX4" fmla="*/ 2318 w 9784"/>
                <a:gd name="connsiteY4" fmla="*/ 9987 h 10000"/>
                <a:gd name="connsiteX5" fmla="*/ 2424 w 9784"/>
                <a:gd name="connsiteY5" fmla="*/ 9424 h 10000"/>
                <a:gd name="connsiteX6" fmla="*/ 4792 w 9784"/>
                <a:gd name="connsiteY6" fmla="*/ 9965 h 10000"/>
                <a:gd name="connsiteX7" fmla="*/ 6371 w 9784"/>
                <a:gd name="connsiteY7" fmla="*/ 9424 h 10000"/>
                <a:gd name="connsiteX8" fmla="*/ 7556 w 9784"/>
                <a:gd name="connsiteY8" fmla="*/ 7266 h 10000"/>
                <a:gd name="connsiteX9" fmla="*/ 9359 w 9784"/>
                <a:gd name="connsiteY9" fmla="*/ 8836 h 10000"/>
                <a:gd name="connsiteX10" fmla="*/ 9784 w 9784"/>
                <a:gd name="connsiteY10" fmla="*/ 6266 h 10000"/>
                <a:gd name="connsiteX11" fmla="*/ 9092 w 9784"/>
                <a:gd name="connsiteY11" fmla="*/ 4080 h 10000"/>
                <a:gd name="connsiteX12" fmla="*/ 7374 w 9784"/>
                <a:gd name="connsiteY12" fmla="*/ 5225 h 10000"/>
                <a:gd name="connsiteX13" fmla="*/ 7848 w 9784"/>
                <a:gd name="connsiteY13" fmla="*/ 5846 h 10000"/>
                <a:gd name="connsiteX14" fmla="*/ 6010 w 9784"/>
                <a:gd name="connsiteY14" fmla="*/ 4352 h 10000"/>
                <a:gd name="connsiteX15" fmla="*/ 5386 w 9784"/>
                <a:gd name="connsiteY15" fmla="*/ 2843 h 10000"/>
                <a:gd name="connsiteX16" fmla="*/ 5312 w 9784"/>
                <a:gd name="connsiteY16" fmla="*/ 965 h 10000"/>
                <a:gd name="connsiteX17" fmla="*/ 3609 w 9784"/>
                <a:gd name="connsiteY17" fmla="*/ 249 h 10000"/>
                <a:gd name="connsiteX18" fmla="*/ 2030 w 9784"/>
                <a:gd name="connsiteY18" fmla="*/ 249 h 10000"/>
                <a:gd name="connsiteX19" fmla="*/ 1386 w 9784"/>
                <a:gd name="connsiteY19" fmla="*/ 2684 h 10000"/>
                <a:gd name="connsiteX20" fmla="*/ 1242 w 9784"/>
                <a:gd name="connsiteY20" fmla="*/ 3487 h 10000"/>
                <a:gd name="connsiteX21" fmla="*/ 1070 w 9784"/>
                <a:gd name="connsiteY21" fmla="*/ 4284 h 10000"/>
                <a:gd name="connsiteX22" fmla="*/ 1520 w 9784"/>
                <a:gd name="connsiteY22" fmla="*/ 4423 h 10000"/>
                <a:gd name="connsiteX23" fmla="*/ 0 w 9784"/>
                <a:gd name="connsiteY23" fmla="*/ 5845 h 10000"/>
                <a:gd name="connsiteX24" fmla="*/ 988 w 9784"/>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429 w 10000"/>
                <a:gd name="connsiteY16" fmla="*/ 965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453 h 10000"/>
                <a:gd name="connsiteX1" fmla="*/ 738 w 10000"/>
                <a:gd name="connsiteY1" fmla="*/ 9727 h 10000"/>
                <a:gd name="connsiteX2" fmla="*/ 305 w 10000"/>
                <a:gd name="connsiteY2" fmla="*/ 9851 h 10000"/>
                <a:gd name="connsiteX3" fmla="*/ 829 w 10000"/>
                <a:gd name="connsiteY3" fmla="*/ 9681 h 10000"/>
                <a:gd name="connsiteX4" fmla="*/ 2369 w 10000"/>
                <a:gd name="connsiteY4" fmla="*/ 9987 h 10000"/>
                <a:gd name="connsiteX5" fmla="*/ 2478 w 10000"/>
                <a:gd name="connsiteY5" fmla="*/ 9424 h 10000"/>
                <a:gd name="connsiteX6" fmla="*/ 4898 w 10000"/>
                <a:gd name="connsiteY6" fmla="*/ 9965 h 10000"/>
                <a:gd name="connsiteX7" fmla="*/ 6512 w 10000"/>
                <a:gd name="connsiteY7" fmla="*/ 9424 h 10000"/>
                <a:gd name="connsiteX8" fmla="*/ 7723 w 10000"/>
                <a:gd name="connsiteY8" fmla="*/ 7266 h 10000"/>
                <a:gd name="connsiteX9" fmla="*/ 9566 w 10000"/>
                <a:gd name="connsiteY9" fmla="*/ 8836 h 10000"/>
                <a:gd name="connsiteX10" fmla="*/ 10000 w 10000"/>
                <a:gd name="connsiteY10" fmla="*/ 6266 h 10000"/>
                <a:gd name="connsiteX11" fmla="*/ 9293 w 10000"/>
                <a:gd name="connsiteY11" fmla="*/ 4080 h 10000"/>
                <a:gd name="connsiteX12" fmla="*/ 7273 w 10000"/>
                <a:gd name="connsiteY12" fmla="*/ 6329 h 10000"/>
                <a:gd name="connsiteX13" fmla="*/ 8021 w 10000"/>
                <a:gd name="connsiteY13" fmla="*/ 5846 h 10000"/>
                <a:gd name="connsiteX14" fmla="*/ 6143 w 10000"/>
                <a:gd name="connsiteY14" fmla="*/ 4352 h 10000"/>
                <a:gd name="connsiteX15" fmla="*/ 5505 w 10000"/>
                <a:gd name="connsiteY15" fmla="*/ 2843 h 10000"/>
                <a:gd name="connsiteX16" fmla="*/ 5260 w 10000"/>
                <a:gd name="connsiteY16" fmla="*/ 2740 h 10000"/>
                <a:gd name="connsiteX17" fmla="*/ 3689 w 10000"/>
                <a:gd name="connsiteY17" fmla="*/ 249 h 10000"/>
                <a:gd name="connsiteX18" fmla="*/ 2075 w 10000"/>
                <a:gd name="connsiteY18" fmla="*/ 249 h 10000"/>
                <a:gd name="connsiteX19" fmla="*/ 1417 w 10000"/>
                <a:gd name="connsiteY19" fmla="*/ 2684 h 10000"/>
                <a:gd name="connsiteX20" fmla="*/ 1269 w 10000"/>
                <a:gd name="connsiteY20" fmla="*/ 3487 h 10000"/>
                <a:gd name="connsiteX21" fmla="*/ 1094 w 10000"/>
                <a:gd name="connsiteY21" fmla="*/ 4284 h 10000"/>
                <a:gd name="connsiteX22" fmla="*/ 1554 w 10000"/>
                <a:gd name="connsiteY22" fmla="*/ 4423 h 10000"/>
                <a:gd name="connsiteX23" fmla="*/ 0 w 10000"/>
                <a:gd name="connsiteY23" fmla="*/ 5845 h 10000"/>
                <a:gd name="connsiteX24" fmla="*/ 1010 w 10000"/>
                <a:gd name="connsiteY24" fmla="*/ 6453 h 10000"/>
                <a:gd name="connsiteX0" fmla="*/ 1010 w 10000"/>
                <a:gd name="connsiteY0" fmla="*/ 6204 h 9751"/>
                <a:gd name="connsiteX1" fmla="*/ 738 w 10000"/>
                <a:gd name="connsiteY1" fmla="*/ 9478 h 9751"/>
                <a:gd name="connsiteX2" fmla="*/ 305 w 10000"/>
                <a:gd name="connsiteY2" fmla="*/ 9602 h 9751"/>
                <a:gd name="connsiteX3" fmla="*/ 829 w 10000"/>
                <a:gd name="connsiteY3" fmla="*/ 9432 h 9751"/>
                <a:gd name="connsiteX4" fmla="*/ 2369 w 10000"/>
                <a:gd name="connsiteY4" fmla="*/ 9738 h 9751"/>
                <a:gd name="connsiteX5" fmla="*/ 2478 w 10000"/>
                <a:gd name="connsiteY5" fmla="*/ 9175 h 9751"/>
                <a:gd name="connsiteX6" fmla="*/ 4898 w 10000"/>
                <a:gd name="connsiteY6" fmla="*/ 9716 h 9751"/>
                <a:gd name="connsiteX7" fmla="*/ 6512 w 10000"/>
                <a:gd name="connsiteY7" fmla="*/ 9175 h 9751"/>
                <a:gd name="connsiteX8" fmla="*/ 7723 w 10000"/>
                <a:gd name="connsiteY8" fmla="*/ 7017 h 9751"/>
                <a:gd name="connsiteX9" fmla="*/ 9566 w 10000"/>
                <a:gd name="connsiteY9" fmla="*/ 8587 h 9751"/>
                <a:gd name="connsiteX10" fmla="*/ 10000 w 10000"/>
                <a:gd name="connsiteY10" fmla="*/ 6017 h 9751"/>
                <a:gd name="connsiteX11" fmla="*/ 9293 w 10000"/>
                <a:gd name="connsiteY11" fmla="*/ 3831 h 9751"/>
                <a:gd name="connsiteX12" fmla="*/ 7273 w 10000"/>
                <a:gd name="connsiteY12" fmla="*/ 6080 h 9751"/>
                <a:gd name="connsiteX13" fmla="*/ 8021 w 10000"/>
                <a:gd name="connsiteY13" fmla="*/ 5597 h 9751"/>
                <a:gd name="connsiteX14" fmla="*/ 6143 w 10000"/>
                <a:gd name="connsiteY14" fmla="*/ 4103 h 9751"/>
                <a:gd name="connsiteX15" fmla="*/ 5505 w 10000"/>
                <a:gd name="connsiteY15" fmla="*/ 2594 h 9751"/>
                <a:gd name="connsiteX16" fmla="*/ 5260 w 10000"/>
                <a:gd name="connsiteY16" fmla="*/ 2491 h 9751"/>
                <a:gd name="connsiteX17" fmla="*/ 4325 w 10000"/>
                <a:gd name="connsiteY17" fmla="*/ 2274 h 9751"/>
                <a:gd name="connsiteX18" fmla="*/ 2075 w 10000"/>
                <a:gd name="connsiteY18" fmla="*/ 0 h 9751"/>
                <a:gd name="connsiteX19" fmla="*/ 1417 w 10000"/>
                <a:gd name="connsiteY19" fmla="*/ 2435 h 9751"/>
                <a:gd name="connsiteX20" fmla="*/ 1269 w 10000"/>
                <a:gd name="connsiteY20" fmla="*/ 3238 h 9751"/>
                <a:gd name="connsiteX21" fmla="*/ 1094 w 10000"/>
                <a:gd name="connsiteY21" fmla="*/ 4035 h 9751"/>
                <a:gd name="connsiteX22" fmla="*/ 1554 w 10000"/>
                <a:gd name="connsiteY22" fmla="*/ 4174 h 9751"/>
                <a:gd name="connsiteX23" fmla="*/ 0 w 10000"/>
                <a:gd name="connsiteY23" fmla="*/ 5596 h 9751"/>
                <a:gd name="connsiteX24" fmla="*/ 1010 w 10000"/>
                <a:gd name="connsiteY24" fmla="*/ 6204 h 9751"/>
                <a:gd name="connsiteX0" fmla="*/ 1010 w 10000"/>
                <a:gd name="connsiteY0" fmla="*/ 6362 h 10000"/>
                <a:gd name="connsiteX1" fmla="*/ 738 w 10000"/>
                <a:gd name="connsiteY1" fmla="*/ 9720 h 10000"/>
                <a:gd name="connsiteX2" fmla="*/ 305 w 10000"/>
                <a:gd name="connsiteY2" fmla="*/ 9847 h 10000"/>
                <a:gd name="connsiteX3" fmla="*/ 829 w 10000"/>
                <a:gd name="connsiteY3" fmla="*/ 9673 h 10000"/>
                <a:gd name="connsiteX4" fmla="*/ 2369 w 10000"/>
                <a:gd name="connsiteY4" fmla="*/ 9987 h 10000"/>
                <a:gd name="connsiteX5" fmla="*/ 2478 w 10000"/>
                <a:gd name="connsiteY5" fmla="*/ 9409 h 10000"/>
                <a:gd name="connsiteX6" fmla="*/ 4898 w 10000"/>
                <a:gd name="connsiteY6" fmla="*/ 9964 h 10000"/>
                <a:gd name="connsiteX7" fmla="*/ 6512 w 10000"/>
                <a:gd name="connsiteY7" fmla="*/ 9409 h 10000"/>
                <a:gd name="connsiteX8" fmla="*/ 7723 w 10000"/>
                <a:gd name="connsiteY8" fmla="*/ 7196 h 10000"/>
                <a:gd name="connsiteX9" fmla="*/ 9566 w 10000"/>
                <a:gd name="connsiteY9" fmla="*/ 8806 h 10000"/>
                <a:gd name="connsiteX10" fmla="*/ 10000 w 10000"/>
                <a:gd name="connsiteY10" fmla="*/ 6171 h 10000"/>
                <a:gd name="connsiteX11" fmla="*/ 9293 w 10000"/>
                <a:gd name="connsiteY11" fmla="*/ 3929 h 10000"/>
                <a:gd name="connsiteX12" fmla="*/ 7273 w 10000"/>
                <a:gd name="connsiteY12" fmla="*/ 6235 h 10000"/>
                <a:gd name="connsiteX13" fmla="*/ 8021 w 10000"/>
                <a:gd name="connsiteY13" fmla="*/ 5740 h 10000"/>
                <a:gd name="connsiteX14" fmla="*/ 6143 w 10000"/>
                <a:gd name="connsiteY14" fmla="*/ 4208 h 10000"/>
                <a:gd name="connsiteX15" fmla="*/ 5505 w 10000"/>
                <a:gd name="connsiteY15" fmla="*/ 2660 h 10000"/>
                <a:gd name="connsiteX16" fmla="*/ 5260 w 10000"/>
                <a:gd name="connsiteY16" fmla="*/ 2555 h 10000"/>
                <a:gd name="connsiteX17" fmla="*/ 4325 w 10000"/>
                <a:gd name="connsiteY17" fmla="*/ 2332 h 10000"/>
                <a:gd name="connsiteX18" fmla="*/ 2075 w 10000"/>
                <a:gd name="connsiteY18" fmla="*/ 0 h 10000"/>
                <a:gd name="connsiteX19" fmla="*/ 2472 w 10000"/>
                <a:gd name="connsiteY19" fmla="*/ 3303 h 10000"/>
                <a:gd name="connsiteX20" fmla="*/ 1269 w 10000"/>
                <a:gd name="connsiteY20" fmla="*/ 3321 h 10000"/>
                <a:gd name="connsiteX21" fmla="*/ 1094 w 10000"/>
                <a:gd name="connsiteY21" fmla="*/ 4138 h 10000"/>
                <a:gd name="connsiteX22" fmla="*/ 1554 w 10000"/>
                <a:gd name="connsiteY22" fmla="*/ 4281 h 10000"/>
                <a:gd name="connsiteX23" fmla="*/ 0 w 10000"/>
                <a:gd name="connsiteY23" fmla="*/ 5739 h 10000"/>
                <a:gd name="connsiteX24" fmla="*/ 1010 w 10000"/>
                <a:gd name="connsiteY24" fmla="*/ 6362 h 10000"/>
                <a:gd name="connsiteX0" fmla="*/ 1010 w 10000"/>
                <a:gd name="connsiteY0" fmla="*/ 4499 h 8137"/>
                <a:gd name="connsiteX1" fmla="*/ 738 w 10000"/>
                <a:gd name="connsiteY1" fmla="*/ 7857 h 8137"/>
                <a:gd name="connsiteX2" fmla="*/ 305 w 10000"/>
                <a:gd name="connsiteY2" fmla="*/ 7984 h 8137"/>
                <a:gd name="connsiteX3" fmla="*/ 829 w 10000"/>
                <a:gd name="connsiteY3" fmla="*/ 7810 h 8137"/>
                <a:gd name="connsiteX4" fmla="*/ 2369 w 10000"/>
                <a:gd name="connsiteY4" fmla="*/ 8124 h 8137"/>
                <a:gd name="connsiteX5" fmla="*/ 2478 w 10000"/>
                <a:gd name="connsiteY5" fmla="*/ 7546 h 8137"/>
                <a:gd name="connsiteX6" fmla="*/ 4898 w 10000"/>
                <a:gd name="connsiteY6" fmla="*/ 8101 h 8137"/>
                <a:gd name="connsiteX7" fmla="*/ 6512 w 10000"/>
                <a:gd name="connsiteY7" fmla="*/ 7546 h 8137"/>
                <a:gd name="connsiteX8" fmla="*/ 7723 w 10000"/>
                <a:gd name="connsiteY8" fmla="*/ 5333 h 8137"/>
                <a:gd name="connsiteX9" fmla="*/ 9566 w 10000"/>
                <a:gd name="connsiteY9" fmla="*/ 6943 h 8137"/>
                <a:gd name="connsiteX10" fmla="*/ 10000 w 10000"/>
                <a:gd name="connsiteY10" fmla="*/ 4308 h 8137"/>
                <a:gd name="connsiteX11" fmla="*/ 9293 w 10000"/>
                <a:gd name="connsiteY11" fmla="*/ 2066 h 8137"/>
                <a:gd name="connsiteX12" fmla="*/ 7273 w 10000"/>
                <a:gd name="connsiteY12" fmla="*/ 4372 h 8137"/>
                <a:gd name="connsiteX13" fmla="*/ 8021 w 10000"/>
                <a:gd name="connsiteY13" fmla="*/ 3877 h 8137"/>
                <a:gd name="connsiteX14" fmla="*/ 6143 w 10000"/>
                <a:gd name="connsiteY14" fmla="*/ 2345 h 8137"/>
                <a:gd name="connsiteX15" fmla="*/ 5505 w 10000"/>
                <a:gd name="connsiteY15" fmla="*/ 797 h 8137"/>
                <a:gd name="connsiteX16" fmla="*/ 5260 w 10000"/>
                <a:gd name="connsiteY16" fmla="*/ 692 h 8137"/>
                <a:gd name="connsiteX17" fmla="*/ 4325 w 10000"/>
                <a:gd name="connsiteY17" fmla="*/ 469 h 8137"/>
                <a:gd name="connsiteX18" fmla="*/ 3171 w 10000"/>
                <a:gd name="connsiteY18" fmla="*/ 0 h 8137"/>
                <a:gd name="connsiteX19" fmla="*/ 2472 w 10000"/>
                <a:gd name="connsiteY19" fmla="*/ 1440 h 8137"/>
                <a:gd name="connsiteX20" fmla="*/ 1269 w 10000"/>
                <a:gd name="connsiteY20" fmla="*/ 1458 h 8137"/>
                <a:gd name="connsiteX21" fmla="*/ 1094 w 10000"/>
                <a:gd name="connsiteY21" fmla="*/ 2275 h 8137"/>
                <a:gd name="connsiteX22" fmla="*/ 1554 w 10000"/>
                <a:gd name="connsiteY22" fmla="*/ 2418 h 8137"/>
                <a:gd name="connsiteX23" fmla="*/ 0 w 10000"/>
                <a:gd name="connsiteY23" fmla="*/ 3876 h 8137"/>
                <a:gd name="connsiteX24" fmla="*/ 1010 w 10000"/>
                <a:gd name="connsiteY24" fmla="*/ 4499 h 8137"/>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1554 w 10000"/>
                <a:gd name="connsiteY22" fmla="*/ 2972 h 10000"/>
                <a:gd name="connsiteX23" fmla="*/ 0 w 10000"/>
                <a:gd name="connsiteY23" fmla="*/ 4763 h 10000"/>
                <a:gd name="connsiteX24" fmla="*/ 1010 w 10000"/>
                <a:gd name="connsiteY24"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1094 w 10000"/>
                <a:gd name="connsiteY21" fmla="*/ 2796 h 10000"/>
                <a:gd name="connsiteX22" fmla="*/ 2331 w 10000"/>
                <a:gd name="connsiteY22" fmla="*/ 4409 h 10000"/>
                <a:gd name="connsiteX23" fmla="*/ 1554 w 10000"/>
                <a:gd name="connsiteY23" fmla="*/ 2972 h 10000"/>
                <a:gd name="connsiteX24" fmla="*/ 0 w 10000"/>
                <a:gd name="connsiteY24" fmla="*/ 4763 h 10000"/>
                <a:gd name="connsiteX25" fmla="*/ 1010 w 10000"/>
                <a:gd name="connsiteY25"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1094 w 10000"/>
                <a:gd name="connsiteY22" fmla="*/ 2796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1554 w 10000"/>
                <a:gd name="connsiteY24" fmla="*/ 2972 h 10000"/>
                <a:gd name="connsiteX25" fmla="*/ 0 w 10000"/>
                <a:gd name="connsiteY25" fmla="*/ 4763 h 10000"/>
                <a:gd name="connsiteX26" fmla="*/ 1010 w 10000"/>
                <a:gd name="connsiteY26" fmla="*/ 5529 h 10000"/>
                <a:gd name="connsiteX0" fmla="*/ 1010 w 10000"/>
                <a:gd name="connsiteY0" fmla="*/ 5529 h 10000"/>
                <a:gd name="connsiteX1" fmla="*/ 738 w 10000"/>
                <a:gd name="connsiteY1" fmla="*/ 9656 h 10000"/>
                <a:gd name="connsiteX2" fmla="*/ 305 w 10000"/>
                <a:gd name="connsiteY2" fmla="*/ 9812 h 10000"/>
                <a:gd name="connsiteX3" fmla="*/ 829 w 10000"/>
                <a:gd name="connsiteY3" fmla="*/ 9598 h 10000"/>
                <a:gd name="connsiteX4" fmla="*/ 2369 w 10000"/>
                <a:gd name="connsiteY4" fmla="*/ 9984 h 10000"/>
                <a:gd name="connsiteX5" fmla="*/ 2478 w 10000"/>
                <a:gd name="connsiteY5" fmla="*/ 9274 h 10000"/>
                <a:gd name="connsiteX6" fmla="*/ 4898 w 10000"/>
                <a:gd name="connsiteY6" fmla="*/ 9956 h 10000"/>
                <a:gd name="connsiteX7" fmla="*/ 6512 w 10000"/>
                <a:gd name="connsiteY7" fmla="*/ 9274 h 10000"/>
                <a:gd name="connsiteX8" fmla="*/ 7723 w 10000"/>
                <a:gd name="connsiteY8" fmla="*/ 6554 h 10000"/>
                <a:gd name="connsiteX9" fmla="*/ 9566 w 10000"/>
                <a:gd name="connsiteY9" fmla="*/ 8533 h 10000"/>
                <a:gd name="connsiteX10" fmla="*/ 10000 w 10000"/>
                <a:gd name="connsiteY10" fmla="*/ 5294 h 10000"/>
                <a:gd name="connsiteX11" fmla="*/ 9293 w 10000"/>
                <a:gd name="connsiteY11" fmla="*/ 2539 h 10000"/>
                <a:gd name="connsiteX12" fmla="*/ 7273 w 10000"/>
                <a:gd name="connsiteY12" fmla="*/ 5373 h 10000"/>
                <a:gd name="connsiteX13" fmla="*/ 8021 w 10000"/>
                <a:gd name="connsiteY13" fmla="*/ 4765 h 10000"/>
                <a:gd name="connsiteX14" fmla="*/ 6143 w 10000"/>
                <a:gd name="connsiteY14" fmla="*/ 2882 h 10000"/>
                <a:gd name="connsiteX15" fmla="*/ 5505 w 10000"/>
                <a:gd name="connsiteY15" fmla="*/ 979 h 10000"/>
                <a:gd name="connsiteX16" fmla="*/ 5260 w 10000"/>
                <a:gd name="connsiteY16" fmla="*/ 850 h 10000"/>
                <a:gd name="connsiteX17" fmla="*/ 4325 w 10000"/>
                <a:gd name="connsiteY17" fmla="*/ 576 h 10000"/>
                <a:gd name="connsiteX18" fmla="*/ 3171 w 10000"/>
                <a:gd name="connsiteY18" fmla="*/ 0 h 10000"/>
                <a:gd name="connsiteX19" fmla="*/ 2472 w 10000"/>
                <a:gd name="connsiteY19" fmla="*/ 1770 h 10000"/>
                <a:gd name="connsiteX20" fmla="*/ 2243 w 10000"/>
                <a:gd name="connsiteY20" fmla="*/ 3463 h 10000"/>
                <a:gd name="connsiteX21" fmla="*/ 2267 w 10000"/>
                <a:gd name="connsiteY21" fmla="*/ 3898 h 10000"/>
                <a:gd name="connsiteX22" fmla="*/ 2454 w 10000"/>
                <a:gd name="connsiteY22" fmla="*/ 3694 h 10000"/>
                <a:gd name="connsiteX23" fmla="*/ 2331 w 10000"/>
                <a:gd name="connsiteY23" fmla="*/ 4409 h 10000"/>
                <a:gd name="connsiteX24" fmla="*/ 2156 w 10000"/>
                <a:gd name="connsiteY24" fmla="*/ 3663 h 10000"/>
                <a:gd name="connsiteX25" fmla="*/ 0 w 10000"/>
                <a:gd name="connsiteY25" fmla="*/ 4763 h 10000"/>
                <a:gd name="connsiteX26" fmla="*/ 1010 w 10000"/>
                <a:gd name="connsiteY26" fmla="*/ 5529 h 10000"/>
                <a:gd name="connsiteX0" fmla="*/ 713 w 9703"/>
                <a:gd name="connsiteY0" fmla="*/ 5529 h 10000"/>
                <a:gd name="connsiteX1" fmla="*/ 441 w 9703"/>
                <a:gd name="connsiteY1" fmla="*/ 9656 h 10000"/>
                <a:gd name="connsiteX2" fmla="*/ 8 w 9703"/>
                <a:gd name="connsiteY2" fmla="*/ 9812 h 10000"/>
                <a:gd name="connsiteX3" fmla="*/ 532 w 9703"/>
                <a:gd name="connsiteY3" fmla="*/ 9598 h 10000"/>
                <a:gd name="connsiteX4" fmla="*/ 2072 w 9703"/>
                <a:gd name="connsiteY4" fmla="*/ 9984 h 10000"/>
                <a:gd name="connsiteX5" fmla="*/ 2181 w 9703"/>
                <a:gd name="connsiteY5" fmla="*/ 9274 h 10000"/>
                <a:gd name="connsiteX6" fmla="*/ 4601 w 9703"/>
                <a:gd name="connsiteY6" fmla="*/ 9956 h 10000"/>
                <a:gd name="connsiteX7" fmla="*/ 6215 w 9703"/>
                <a:gd name="connsiteY7" fmla="*/ 9274 h 10000"/>
                <a:gd name="connsiteX8" fmla="*/ 7426 w 9703"/>
                <a:gd name="connsiteY8" fmla="*/ 6554 h 10000"/>
                <a:gd name="connsiteX9" fmla="*/ 9269 w 9703"/>
                <a:gd name="connsiteY9" fmla="*/ 8533 h 10000"/>
                <a:gd name="connsiteX10" fmla="*/ 9703 w 9703"/>
                <a:gd name="connsiteY10" fmla="*/ 5294 h 10000"/>
                <a:gd name="connsiteX11" fmla="*/ 8996 w 9703"/>
                <a:gd name="connsiteY11" fmla="*/ 2539 h 10000"/>
                <a:gd name="connsiteX12" fmla="*/ 6976 w 9703"/>
                <a:gd name="connsiteY12" fmla="*/ 5373 h 10000"/>
                <a:gd name="connsiteX13" fmla="*/ 7724 w 9703"/>
                <a:gd name="connsiteY13" fmla="*/ 4765 h 10000"/>
                <a:gd name="connsiteX14" fmla="*/ 5846 w 9703"/>
                <a:gd name="connsiteY14" fmla="*/ 2882 h 10000"/>
                <a:gd name="connsiteX15" fmla="*/ 5208 w 9703"/>
                <a:gd name="connsiteY15" fmla="*/ 979 h 10000"/>
                <a:gd name="connsiteX16" fmla="*/ 4963 w 9703"/>
                <a:gd name="connsiteY16" fmla="*/ 850 h 10000"/>
                <a:gd name="connsiteX17" fmla="*/ 4028 w 9703"/>
                <a:gd name="connsiteY17" fmla="*/ 576 h 10000"/>
                <a:gd name="connsiteX18" fmla="*/ 2874 w 9703"/>
                <a:gd name="connsiteY18" fmla="*/ 0 h 10000"/>
                <a:gd name="connsiteX19" fmla="*/ 2175 w 9703"/>
                <a:gd name="connsiteY19" fmla="*/ 1770 h 10000"/>
                <a:gd name="connsiteX20" fmla="*/ 1946 w 9703"/>
                <a:gd name="connsiteY20" fmla="*/ 3463 h 10000"/>
                <a:gd name="connsiteX21" fmla="*/ 1970 w 9703"/>
                <a:gd name="connsiteY21" fmla="*/ 3898 h 10000"/>
                <a:gd name="connsiteX22" fmla="*/ 2157 w 9703"/>
                <a:gd name="connsiteY22" fmla="*/ 3694 h 10000"/>
                <a:gd name="connsiteX23" fmla="*/ 2034 w 9703"/>
                <a:gd name="connsiteY23" fmla="*/ 4409 h 10000"/>
                <a:gd name="connsiteX24" fmla="*/ 1859 w 9703"/>
                <a:gd name="connsiteY24" fmla="*/ 3663 h 10000"/>
                <a:gd name="connsiteX25" fmla="*/ 2057 w 9703"/>
                <a:gd name="connsiteY25" fmla="*/ 4703 h 10000"/>
                <a:gd name="connsiteX26" fmla="*/ 713 w 9703"/>
                <a:gd name="connsiteY26" fmla="*/ 5529 h 10000"/>
                <a:gd name="connsiteX0" fmla="*/ 2050 w 10000"/>
                <a:gd name="connsiteY0" fmla="*/ 6546 h 10000"/>
                <a:gd name="connsiteX1" fmla="*/ 454 w 10000"/>
                <a:gd name="connsiteY1" fmla="*/ 9656 h 10000"/>
                <a:gd name="connsiteX2" fmla="*/ 8 w 10000"/>
                <a:gd name="connsiteY2" fmla="*/ 9812 h 10000"/>
                <a:gd name="connsiteX3" fmla="*/ 548 w 10000"/>
                <a:gd name="connsiteY3" fmla="*/ 9598 h 10000"/>
                <a:gd name="connsiteX4" fmla="*/ 2135 w 10000"/>
                <a:gd name="connsiteY4" fmla="*/ 9984 h 10000"/>
                <a:gd name="connsiteX5" fmla="*/ 2248 w 10000"/>
                <a:gd name="connsiteY5" fmla="*/ 9274 h 10000"/>
                <a:gd name="connsiteX6" fmla="*/ 4742 w 10000"/>
                <a:gd name="connsiteY6" fmla="*/ 9956 h 10000"/>
                <a:gd name="connsiteX7" fmla="*/ 6405 w 10000"/>
                <a:gd name="connsiteY7" fmla="*/ 9274 h 10000"/>
                <a:gd name="connsiteX8" fmla="*/ 7653 w 10000"/>
                <a:gd name="connsiteY8" fmla="*/ 6554 h 10000"/>
                <a:gd name="connsiteX9" fmla="*/ 9553 w 10000"/>
                <a:gd name="connsiteY9" fmla="*/ 8533 h 10000"/>
                <a:gd name="connsiteX10" fmla="*/ 10000 w 10000"/>
                <a:gd name="connsiteY10" fmla="*/ 5294 h 10000"/>
                <a:gd name="connsiteX11" fmla="*/ 9271 w 10000"/>
                <a:gd name="connsiteY11" fmla="*/ 2539 h 10000"/>
                <a:gd name="connsiteX12" fmla="*/ 7190 w 10000"/>
                <a:gd name="connsiteY12" fmla="*/ 5373 h 10000"/>
                <a:gd name="connsiteX13" fmla="*/ 7960 w 10000"/>
                <a:gd name="connsiteY13" fmla="*/ 4765 h 10000"/>
                <a:gd name="connsiteX14" fmla="*/ 6025 w 10000"/>
                <a:gd name="connsiteY14" fmla="*/ 2882 h 10000"/>
                <a:gd name="connsiteX15" fmla="*/ 5367 w 10000"/>
                <a:gd name="connsiteY15" fmla="*/ 979 h 10000"/>
                <a:gd name="connsiteX16" fmla="*/ 5115 w 10000"/>
                <a:gd name="connsiteY16" fmla="*/ 850 h 10000"/>
                <a:gd name="connsiteX17" fmla="*/ 4151 w 10000"/>
                <a:gd name="connsiteY17" fmla="*/ 576 h 10000"/>
                <a:gd name="connsiteX18" fmla="*/ 2962 w 10000"/>
                <a:gd name="connsiteY18" fmla="*/ 0 h 10000"/>
                <a:gd name="connsiteX19" fmla="*/ 2242 w 10000"/>
                <a:gd name="connsiteY19" fmla="*/ 1770 h 10000"/>
                <a:gd name="connsiteX20" fmla="*/ 2006 w 10000"/>
                <a:gd name="connsiteY20" fmla="*/ 3463 h 10000"/>
                <a:gd name="connsiteX21" fmla="*/ 2030 w 10000"/>
                <a:gd name="connsiteY21" fmla="*/ 3898 h 10000"/>
                <a:gd name="connsiteX22" fmla="*/ 2223 w 10000"/>
                <a:gd name="connsiteY22" fmla="*/ 3694 h 10000"/>
                <a:gd name="connsiteX23" fmla="*/ 2096 w 10000"/>
                <a:gd name="connsiteY23" fmla="*/ 4409 h 10000"/>
                <a:gd name="connsiteX24" fmla="*/ 1916 w 10000"/>
                <a:gd name="connsiteY24" fmla="*/ 3663 h 10000"/>
                <a:gd name="connsiteX25" fmla="*/ 2120 w 10000"/>
                <a:gd name="connsiteY25" fmla="*/ 4703 h 10000"/>
                <a:gd name="connsiteX26" fmla="*/ 2050 w 10000"/>
                <a:gd name="connsiteY26" fmla="*/ 6546 h 10000"/>
                <a:gd name="connsiteX0" fmla="*/ 2045 w 9995"/>
                <a:gd name="connsiteY0" fmla="*/ 6546 h 9984"/>
                <a:gd name="connsiteX1" fmla="*/ 449 w 9995"/>
                <a:gd name="connsiteY1" fmla="*/ 9656 h 9984"/>
                <a:gd name="connsiteX2" fmla="*/ 3 w 9995"/>
                <a:gd name="connsiteY2" fmla="*/ 9812 h 9984"/>
                <a:gd name="connsiteX3" fmla="*/ 2077 w 9995"/>
                <a:gd name="connsiteY3" fmla="*/ 6960 h 9984"/>
                <a:gd name="connsiteX4" fmla="*/ 2130 w 9995"/>
                <a:gd name="connsiteY4" fmla="*/ 9984 h 9984"/>
                <a:gd name="connsiteX5" fmla="*/ 2243 w 9995"/>
                <a:gd name="connsiteY5" fmla="*/ 9274 h 9984"/>
                <a:gd name="connsiteX6" fmla="*/ 4737 w 9995"/>
                <a:gd name="connsiteY6" fmla="*/ 9956 h 9984"/>
                <a:gd name="connsiteX7" fmla="*/ 6400 w 9995"/>
                <a:gd name="connsiteY7" fmla="*/ 9274 h 9984"/>
                <a:gd name="connsiteX8" fmla="*/ 7648 w 9995"/>
                <a:gd name="connsiteY8" fmla="*/ 6554 h 9984"/>
                <a:gd name="connsiteX9" fmla="*/ 9548 w 9995"/>
                <a:gd name="connsiteY9" fmla="*/ 8533 h 9984"/>
                <a:gd name="connsiteX10" fmla="*/ 9995 w 9995"/>
                <a:gd name="connsiteY10" fmla="*/ 5294 h 9984"/>
                <a:gd name="connsiteX11" fmla="*/ 9266 w 9995"/>
                <a:gd name="connsiteY11" fmla="*/ 2539 h 9984"/>
                <a:gd name="connsiteX12" fmla="*/ 7185 w 9995"/>
                <a:gd name="connsiteY12" fmla="*/ 5373 h 9984"/>
                <a:gd name="connsiteX13" fmla="*/ 7955 w 9995"/>
                <a:gd name="connsiteY13" fmla="*/ 4765 h 9984"/>
                <a:gd name="connsiteX14" fmla="*/ 6020 w 9995"/>
                <a:gd name="connsiteY14" fmla="*/ 2882 h 9984"/>
                <a:gd name="connsiteX15" fmla="*/ 5362 w 9995"/>
                <a:gd name="connsiteY15" fmla="*/ 979 h 9984"/>
                <a:gd name="connsiteX16" fmla="*/ 5110 w 9995"/>
                <a:gd name="connsiteY16" fmla="*/ 850 h 9984"/>
                <a:gd name="connsiteX17" fmla="*/ 4146 w 9995"/>
                <a:gd name="connsiteY17" fmla="*/ 576 h 9984"/>
                <a:gd name="connsiteX18" fmla="*/ 2957 w 9995"/>
                <a:gd name="connsiteY18" fmla="*/ 0 h 9984"/>
                <a:gd name="connsiteX19" fmla="*/ 2237 w 9995"/>
                <a:gd name="connsiteY19" fmla="*/ 1770 h 9984"/>
                <a:gd name="connsiteX20" fmla="*/ 2001 w 9995"/>
                <a:gd name="connsiteY20" fmla="*/ 3463 h 9984"/>
                <a:gd name="connsiteX21" fmla="*/ 2025 w 9995"/>
                <a:gd name="connsiteY21" fmla="*/ 3898 h 9984"/>
                <a:gd name="connsiteX22" fmla="*/ 2218 w 9995"/>
                <a:gd name="connsiteY22" fmla="*/ 3694 h 9984"/>
                <a:gd name="connsiteX23" fmla="*/ 2091 w 9995"/>
                <a:gd name="connsiteY23" fmla="*/ 4409 h 9984"/>
                <a:gd name="connsiteX24" fmla="*/ 1911 w 9995"/>
                <a:gd name="connsiteY24" fmla="*/ 3663 h 9984"/>
                <a:gd name="connsiteX25" fmla="*/ 2115 w 9995"/>
                <a:gd name="connsiteY25" fmla="*/ 4703 h 9984"/>
                <a:gd name="connsiteX26" fmla="*/ 2045 w 9995"/>
                <a:gd name="connsiteY26" fmla="*/ 6546 h 9984"/>
                <a:gd name="connsiteX0" fmla="*/ 1603 w 9557"/>
                <a:gd name="connsiteY0" fmla="*/ 6556 h 10000"/>
                <a:gd name="connsiteX1" fmla="*/ 6 w 9557"/>
                <a:gd name="connsiteY1" fmla="*/ 9671 h 10000"/>
                <a:gd name="connsiteX2" fmla="*/ 2233 w 9557"/>
                <a:gd name="connsiteY2" fmla="*/ 7881 h 10000"/>
                <a:gd name="connsiteX3" fmla="*/ 1635 w 9557"/>
                <a:gd name="connsiteY3" fmla="*/ 6971 h 10000"/>
                <a:gd name="connsiteX4" fmla="*/ 1688 w 9557"/>
                <a:gd name="connsiteY4" fmla="*/ 10000 h 10000"/>
                <a:gd name="connsiteX5" fmla="*/ 1801 w 9557"/>
                <a:gd name="connsiteY5" fmla="*/ 9289 h 10000"/>
                <a:gd name="connsiteX6" fmla="*/ 4296 w 9557"/>
                <a:gd name="connsiteY6" fmla="*/ 9972 h 10000"/>
                <a:gd name="connsiteX7" fmla="*/ 5960 w 9557"/>
                <a:gd name="connsiteY7" fmla="*/ 9289 h 10000"/>
                <a:gd name="connsiteX8" fmla="*/ 7209 w 9557"/>
                <a:gd name="connsiteY8" fmla="*/ 6565 h 10000"/>
                <a:gd name="connsiteX9" fmla="*/ 9110 w 9557"/>
                <a:gd name="connsiteY9" fmla="*/ 8547 h 10000"/>
                <a:gd name="connsiteX10" fmla="*/ 9557 w 9557"/>
                <a:gd name="connsiteY10" fmla="*/ 5302 h 10000"/>
                <a:gd name="connsiteX11" fmla="*/ 8828 w 9557"/>
                <a:gd name="connsiteY11" fmla="*/ 2543 h 10000"/>
                <a:gd name="connsiteX12" fmla="*/ 6746 w 9557"/>
                <a:gd name="connsiteY12" fmla="*/ 5382 h 10000"/>
                <a:gd name="connsiteX13" fmla="*/ 7516 w 9557"/>
                <a:gd name="connsiteY13" fmla="*/ 4773 h 10000"/>
                <a:gd name="connsiteX14" fmla="*/ 5580 w 9557"/>
                <a:gd name="connsiteY14" fmla="*/ 2887 h 10000"/>
                <a:gd name="connsiteX15" fmla="*/ 4922 w 9557"/>
                <a:gd name="connsiteY15" fmla="*/ 981 h 10000"/>
                <a:gd name="connsiteX16" fmla="*/ 4670 w 9557"/>
                <a:gd name="connsiteY16" fmla="*/ 851 h 10000"/>
                <a:gd name="connsiteX17" fmla="*/ 3705 w 9557"/>
                <a:gd name="connsiteY17" fmla="*/ 577 h 10000"/>
                <a:gd name="connsiteX18" fmla="*/ 2515 w 9557"/>
                <a:gd name="connsiteY18" fmla="*/ 0 h 10000"/>
                <a:gd name="connsiteX19" fmla="*/ 1795 w 9557"/>
                <a:gd name="connsiteY19" fmla="*/ 1773 h 10000"/>
                <a:gd name="connsiteX20" fmla="*/ 1559 w 9557"/>
                <a:gd name="connsiteY20" fmla="*/ 3469 h 10000"/>
                <a:gd name="connsiteX21" fmla="*/ 1583 w 9557"/>
                <a:gd name="connsiteY21" fmla="*/ 3904 h 10000"/>
                <a:gd name="connsiteX22" fmla="*/ 1776 w 9557"/>
                <a:gd name="connsiteY22" fmla="*/ 3700 h 10000"/>
                <a:gd name="connsiteX23" fmla="*/ 1649 w 9557"/>
                <a:gd name="connsiteY23" fmla="*/ 4416 h 10000"/>
                <a:gd name="connsiteX24" fmla="*/ 1469 w 9557"/>
                <a:gd name="connsiteY24" fmla="*/ 3669 h 10000"/>
                <a:gd name="connsiteX25" fmla="*/ 1673 w 9557"/>
                <a:gd name="connsiteY25" fmla="*/ 4711 h 10000"/>
                <a:gd name="connsiteX26" fmla="*/ 1603 w 9557"/>
                <a:gd name="connsiteY26" fmla="*/ 6556 h 10000"/>
                <a:gd name="connsiteX0" fmla="*/ 141 w 8464"/>
                <a:gd name="connsiteY0" fmla="*/ 6556 h 10000"/>
                <a:gd name="connsiteX1" fmla="*/ 373 w 8464"/>
                <a:gd name="connsiteY1" fmla="*/ 7883 h 10000"/>
                <a:gd name="connsiteX2" fmla="*/ 801 w 8464"/>
                <a:gd name="connsiteY2" fmla="*/ 7881 h 10000"/>
                <a:gd name="connsiteX3" fmla="*/ 175 w 8464"/>
                <a:gd name="connsiteY3" fmla="*/ 6971 h 10000"/>
                <a:gd name="connsiteX4" fmla="*/ 230 w 8464"/>
                <a:gd name="connsiteY4" fmla="*/ 10000 h 10000"/>
                <a:gd name="connsiteX5" fmla="*/ 348 w 8464"/>
                <a:gd name="connsiteY5" fmla="*/ 9289 h 10000"/>
                <a:gd name="connsiteX6" fmla="*/ 2959 w 8464"/>
                <a:gd name="connsiteY6" fmla="*/ 9972 h 10000"/>
                <a:gd name="connsiteX7" fmla="*/ 4700 w 8464"/>
                <a:gd name="connsiteY7" fmla="*/ 9289 h 10000"/>
                <a:gd name="connsiteX8" fmla="*/ 6007 w 8464"/>
                <a:gd name="connsiteY8" fmla="*/ 6565 h 10000"/>
                <a:gd name="connsiteX9" fmla="*/ 7996 w 8464"/>
                <a:gd name="connsiteY9" fmla="*/ 8547 h 10000"/>
                <a:gd name="connsiteX10" fmla="*/ 8464 w 8464"/>
                <a:gd name="connsiteY10" fmla="*/ 5302 h 10000"/>
                <a:gd name="connsiteX11" fmla="*/ 7701 w 8464"/>
                <a:gd name="connsiteY11" fmla="*/ 2543 h 10000"/>
                <a:gd name="connsiteX12" fmla="*/ 5523 w 8464"/>
                <a:gd name="connsiteY12" fmla="*/ 5382 h 10000"/>
                <a:gd name="connsiteX13" fmla="*/ 6328 w 8464"/>
                <a:gd name="connsiteY13" fmla="*/ 4773 h 10000"/>
                <a:gd name="connsiteX14" fmla="*/ 4303 w 8464"/>
                <a:gd name="connsiteY14" fmla="*/ 2887 h 10000"/>
                <a:gd name="connsiteX15" fmla="*/ 3614 w 8464"/>
                <a:gd name="connsiteY15" fmla="*/ 981 h 10000"/>
                <a:gd name="connsiteX16" fmla="*/ 3350 w 8464"/>
                <a:gd name="connsiteY16" fmla="*/ 851 h 10000"/>
                <a:gd name="connsiteX17" fmla="*/ 2341 w 8464"/>
                <a:gd name="connsiteY17" fmla="*/ 577 h 10000"/>
                <a:gd name="connsiteX18" fmla="*/ 1096 w 8464"/>
                <a:gd name="connsiteY18" fmla="*/ 0 h 10000"/>
                <a:gd name="connsiteX19" fmla="*/ 342 w 8464"/>
                <a:gd name="connsiteY19" fmla="*/ 1773 h 10000"/>
                <a:gd name="connsiteX20" fmla="*/ 95 w 8464"/>
                <a:gd name="connsiteY20" fmla="*/ 3469 h 10000"/>
                <a:gd name="connsiteX21" fmla="*/ 120 w 8464"/>
                <a:gd name="connsiteY21" fmla="*/ 3904 h 10000"/>
                <a:gd name="connsiteX22" fmla="*/ 322 w 8464"/>
                <a:gd name="connsiteY22" fmla="*/ 3700 h 10000"/>
                <a:gd name="connsiteX23" fmla="*/ 189 w 8464"/>
                <a:gd name="connsiteY23" fmla="*/ 4416 h 10000"/>
                <a:gd name="connsiteX24" fmla="*/ 1 w 8464"/>
                <a:gd name="connsiteY24" fmla="*/ 3669 h 10000"/>
                <a:gd name="connsiteX25" fmla="*/ 215 w 8464"/>
                <a:gd name="connsiteY25" fmla="*/ 4711 h 10000"/>
                <a:gd name="connsiteX26" fmla="*/ 141 w 8464"/>
                <a:gd name="connsiteY26" fmla="*/ 6556 h 10000"/>
                <a:gd name="connsiteX0" fmla="*/ 167 w 10000"/>
                <a:gd name="connsiteY0" fmla="*/ 6556 h 9972"/>
                <a:gd name="connsiteX1" fmla="*/ 441 w 10000"/>
                <a:gd name="connsiteY1" fmla="*/ 7883 h 9972"/>
                <a:gd name="connsiteX2" fmla="*/ 946 w 10000"/>
                <a:gd name="connsiteY2" fmla="*/ 7881 h 9972"/>
                <a:gd name="connsiteX3" fmla="*/ 207 w 10000"/>
                <a:gd name="connsiteY3" fmla="*/ 6971 h 9972"/>
                <a:gd name="connsiteX4" fmla="*/ 1069 w 10000"/>
                <a:gd name="connsiteY4" fmla="*/ 8621 h 9972"/>
                <a:gd name="connsiteX5" fmla="*/ 411 w 10000"/>
                <a:gd name="connsiteY5" fmla="*/ 9289 h 9972"/>
                <a:gd name="connsiteX6" fmla="*/ 3496 w 10000"/>
                <a:gd name="connsiteY6" fmla="*/ 9972 h 9972"/>
                <a:gd name="connsiteX7" fmla="*/ 5553 w 10000"/>
                <a:gd name="connsiteY7" fmla="*/ 9289 h 9972"/>
                <a:gd name="connsiteX8" fmla="*/ 7097 w 10000"/>
                <a:gd name="connsiteY8" fmla="*/ 6565 h 9972"/>
                <a:gd name="connsiteX9" fmla="*/ 9447 w 10000"/>
                <a:gd name="connsiteY9" fmla="*/ 8547 h 9972"/>
                <a:gd name="connsiteX10" fmla="*/ 10000 w 10000"/>
                <a:gd name="connsiteY10" fmla="*/ 5302 h 9972"/>
                <a:gd name="connsiteX11" fmla="*/ 9099 w 10000"/>
                <a:gd name="connsiteY11" fmla="*/ 2543 h 9972"/>
                <a:gd name="connsiteX12" fmla="*/ 6525 w 10000"/>
                <a:gd name="connsiteY12" fmla="*/ 5382 h 9972"/>
                <a:gd name="connsiteX13" fmla="*/ 7476 w 10000"/>
                <a:gd name="connsiteY13" fmla="*/ 4773 h 9972"/>
                <a:gd name="connsiteX14" fmla="*/ 5084 w 10000"/>
                <a:gd name="connsiteY14" fmla="*/ 2887 h 9972"/>
                <a:gd name="connsiteX15" fmla="*/ 4270 w 10000"/>
                <a:gd name="connsiteY15" fmla="*/ 981 h 9972"/>
                <a:gd name="connsiteX16" fmla="*/ 3958 w 10000"/>
                <a:gd name="connsiteY16" fmla="*/ 851 h 9972"/>
                <a:gd name="connsiteX17" fmla="*/ 2766 w 10000"/>
                <a:gd name="connsiteY17" fmla="*/ 577 h 9972"/>
                <a:gd name="connsiteX18" fmla="*/ 1295 w 10000"/>
                <a:gd name="connsiteY18" fmla="*/ 0 h 9972"/>
                <a:gd name="connsiteX19" fmla="*/ 404 w 10000"/>
                <a:gd name="connsiteY19" fmla="*/ 1773 h 9972"/>
                <a:gd name="connsiteX20" fmla="*/ 112 w 10000"/>
                <a:gd name="connsiteY20" fmla="*/ 3469 h 9972"/>
                <a:gd name="connsiteX21" fmla="*/ 142 w 10000"/>
                <a:gd name="connsiteY21" fmla="*/ 3904 h 9972"/>
                <a:gd name="connsiteX22" fmla="*/ 380 w 10000"/>
                <a:gd name="connsiteY22" fmla="*/ 3700 h 9972"/>
                <a:gd name="connsiteX23" fmla="*/ 223 w 10000"/>
                <a:gd name="connsiteY23" fmla="*/ 4416 h 9972"/>
                <a:gd name="connsiteX24" fmla="*/ 1 w 10000"/>
                <a:gd name="connsiteY24" fmla="*/ 3669 h 9972"/>
                <a:gd name="connsiteX25" fmla="*/ 254 w 10000"/>
                <a:gd name="connsiteY25" fmla="*/ 4711 h 9972"/>
                <a:gd name="connsiteX26" fmla="*/ 167 w 10000"/>
                <a:gd name="connsiteY26" fmla="*/ 6556 h 9972"/>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525 w 10000"/>
                <a:gd name="connsiteY12" fmla="*/ 539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7476 w 10000"/>
                <a:gd name="connsiteY13" fmla="*/ 4786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206 w 10000"/>
                <a:gd name="connsiteY13" fmla="*/ 647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729 w 10000"/>
                <a:gd name="connsiteY13" fmla="*/ 6188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5665 w 10000"/>
                <a:gd name="connsiteY12" fmla="*/ 7077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411 w 10000"/>
                <a:gd name="connsiteY5" fmla="*/ 9315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 name="connsiteX0" fmla="*/ 167 w 10000"/>
                <a:gd name="connsiteY0" fmla="*/ 6574 h 10000"/>
                <a:gd name="connsiteX1" fmla="*/ 441 w 10000"/>
                <a:gd name="connsiteY1" fmla="*/ 7905 h 10000"/>
                <a:gd name="connsiteX2" fmla="*/ 946 w 10000"/>
                <a:gd name="connsiteY2" fmla="*/ 7903 h 10000"/>
                <a:gd name="connsiteX3" fmla="*/ 207 w 10000"/>
                <a:gd name="connsiteY3" fmla="*/ 6991 h 10000"/>
                <a:gd name="connsiteX4" fmla="*/ 1069 w 10000"/>
                <a:gd name="connsiteY4" fmla="*/ 8645 h 10000"/>
                <a:gd name="connsiteX5" fmla="*/ 1177 w 10000"/>
                <a:gd name="connsiteY5" fmla="*/ 8724 h 10000"/>
                <a:gd name="connsiteX6" fmla="*/ 3496 w 10000"/>
                <a:gd name="connsiteY6" fmla="*/ 10000 h 10000"/>
                <a:gd name="connsiteX7" fmla="*/ 5327 w 10000"/>
                <a:gd name="connsiteY7" fmla="*/ 7864 h 10000"/>
                <a:gd name="connsiteX8" fmla="*/ 7097 w 10000"/>
                <a:gd name="connsiteY8" fmla="*/ 6583 h 10000"/>
                <a:gd name="connsiteX9" fmla="*/ 9447 w 10000"/>
                <a:gd name="connsiteY9" fmla="*/ 8571 h 10000"/>
                <a:gd name="connsiteX10" fmla="*/ 10000 w 10000"/>
                <a:gd name="connsiteY10" fmla="*/ 5317 h 10000"/>
                <a:gd name="connsiteX11" fmla="*/ 9099 w 10000"/>
                <a:gd name="connsiteY11" fmla="*/ 2550 h 10000"/>
                <a:gd name="connsiteX12" fmla="*/ 6179 w 10000"/>
                <a:gd name="connsiteY12" fmla="*/ 6389 h 10000"/>
                <a:gd name="connsiteX13" fmla="*/ 6313 w 10000"/>
                <a:gd name="connsiteY13" fmla="*/ 6350 h 10000"/>
                <a:gd name="connsiteX14" fmla="*/ 5084 w 10000"/>
                <a:gd name="connsiteY14" fmla="*/ 2895 h 10000"/>
                <a:gd name="connsiteX15" fmla="*/ 4270 w 10000"/>
                <a:gd name="connsiteY15" fmla="*/ 984 h 10000"/>
                <a:gd name="connsiteX16" fmla="*/ 3958 w 10000"/>
                <a:gd name="connsiteY16" fmla="*/ 853 h 10000"/>
                <a:gd name="connsiteX17" fmla="*/ 2766 w 10000"/>
                <a:gd name="connsiteY17" fmla="*/ 579 h 10000"/>
                <a:gd name="connsiteX18" fmla="*/ 1295 w 10000"/>
                <a:gd name="connsiteY18" fmla="*/ 0 h 10000"/>
                <a:gd name="connsiteX19" fmla="*/ 404 w 10000"/>
                <a:gd name="connsiteY19" fmla="*/ 1778 h 10000"/>
                <a:gd name="connsiteX20" fmla="*/ 112 w 10000"/>
                <a:gd name="connsiteY20" fmla="*/ 3479 h 10000"/>
                <a:gd name="connsiteX21" fmla="*/ 142 w 10000"/>
                <a:gd name="connsiteY21" fmla="*/ 3915 h 10000"/>
                <a:gd name="connsiteX22" fmla="*/ 380 w 10000"/>
                <a:gd name="connsiteY22" fmla="*/ 3710 h 10000"/>
                <a:gd name="connsiteX23" fmla="*/ 223 w 10000"/>
                <a:gd name="connsiteY23" fmla="*/ 4428 h 10000"/>
                <a:gd name="connsiteX24" fmla="*/ 1 w 10000"/>
                <a:gd name="connsiteY24" fmla="*/ 3679 h 10000"/>
                <a:gd name="connsiteX25" fmla="*/ 254 w 10000"/>
                <a:gd name="connsiteY25" fmla="*/ 4724 h 10000"/>
                <a:gd name="connsiteX26" fmla="*/ 167 w 10000"/>
                <a:gd name="connsiteY26" fmla="*/ 657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167" y="6574"/>
                  </a:moveTo>
                  <a:cubicBezTo>
                    <a:pt x="314" y="8031"/>
                    <a:pt x="292" y="6449"/>
                    <a:pt x="441" y="7905"/>
                  </a:cubicBezTo>
                  <a:lnTo>
                    <a:pt x="946" y="7903"/>
                  </a:lnTo>
                  <a:cubicBezTo>
                    <a:pt x="840" y="8635"/>
                    <a:pt x="312" y="6259"/>
                    <a:pt x="207" y="6991"/>
                  </a:cubicBezTo>
                  <a:cubicBezTo>
                    <a:pt x="229" y="8003"/>
                    <a:pt x="1046" y="7632"/>
                    <a:pt x="1069" y="8645"/>
                  </a:cubicBezTo>
                  <a:cubicBezTo>
                    <a:pt x="1239" y="7735"/>
                    <a:pt x="1007" y="9636"/>
                    <a:pt x="1177" y="8724"/>
                  </a:cubicBezTo>
                  <a:lnTo>
                    <a:pt x="3496" y="10000"/>
                  </a:lnTo>
                  <a:lnTo>
                    <a:pt x="5327" y="7864"/>
                  </a:lnTo>
                  <a:lnTo>
                    <a:pt x="7097" y="6583"/>
                  </a:lnTo>
                  <a:lnTo>
                    <a:pt x="9447" y="8571"/>
                  </a:lnTo>
                  <a:cubicBezTo>
                    <a:pt x="9630" y="7485"/>
                    <a:pt x="9816" y="6403"/>
                    <a:pt x="10000" y="5317"/>
                  </a:cubicBezTo>
                  <a:cubicBezTo>
                    <a:pt x="9589" y="3042"/>
                    <a:pt x="9511" y="4827"/>
                    <a:pt x="9099" y="2550"/>
                  </a:cubicBezTo>
                  <a:cubicBezTo>
                    <a:pt x="8241" y="3500"/>
                    <a:pt x="6012" y="6092"/>
                    <a:pt x="6179" y="6389"/>
                  </a:cubicBezTo>
                  <a:cubicBezTo>
                    <a:pt x="6359" y="6187"/>
                    <a:pt x="6430" y="6826"/>
                    <a:pt x="6313" y="6350"/>
                  </a:cubicBezTo>
                  <a:lnTo>
                    <a:pt x="5084" y="2895"/>
                  </a:lnTo>
                  <a:cubicBezTo>
                    <a:pt x="4863" y="1763"/>
                    <a:pt x="4490" y="2115"/>
                    <a:pt x="4270" y="984"/>
                  </a:cubicBezTo>
                  <a:cubicBezTo>
                    <a:pt x="4106" y="1068"/>
                    <a:pt x="4123" y="770"/>
                    <a:pt x="3958" y="853"/>
                  </a:cubicBezTo>
                  <a:lnTo>
                    <a:pt x="2766" y="579"/>
                  </a:lnTo>
                  <a:cubicBezTo>
                    <a:pt x="2598" y="-513"/>
                    <a:pt x="1465" y="1093"/>
                    <a:pt x="1295" y="0"/>
                  </a:cubicBezTo>
                  <a:cubicBezTo>
                    <a:pt x="1464" y="1359"/>
                    <a:pt x="236" y="419"/>
                    <a:pt x="404" y="1778"/>
                  </a:cubicBezTo>
                  <a:cubicBezTo>
                    <a:pt x="825" y="4373"/>
                    <a:pt x="-310" y="880"/>
                    <a:pt x="112" y="3479"/>
                  </a:cubicBezTo>
                  <a:cubicBezTo>
                    <a:pt x="-104" y="3661"/>
                    <a:pt x="388" y="4026"/>
                    <a:pt x="142" y="3915"/>
                  </a:cubicBezTo>
                  <a:cubicBezTo>
                    <a:pt x="-102" y="3804"/>
                    <a:pt x="195" y="3453"/>
                    <a:pt x="380" y="3710"/>
                  </a:cubicBezTo>
                  <a:cubicBezTo>
                    <a:pt x="175" y="3609"/>
                    <a:pt x="128" y="4399"/>
                    <a:pt x="223" y="4428"/>
                  </a:cubicBezTo>
                  <a:cubicBezTo>
                    <a:pt x="321" y="4457"/>
                    <a:pt x="271" y="3360"/>
                    <a:pt x="1" y="3679"/>
                  </a:cubicBezTo>
                  <a:cubicBezTo>
                    <a:pt x="-4" y="4323"/>
                    <a:pt x="258" y="4080"/>
                    <a:pt x="254" y="4724"/>
                  </a:cubicBezTo>
                  <a:cubicBezTo>
                    <a:pt x="224" y="5341"/>
                    <a:pt x="195" y="5959"/>
                    <a:pt x="167" y="6574"/>
                  </a:cubicBezTo>
                  <a:close/>
                </a:path>
              </a:pathLst>
            </a:custGeom>
            <a:solidFill>
              <a:srgbClr val="FFFFFF">
                <a:lumMod val="75000"/>
              </a:srgbClr>
            </a:solidFill>
            <a:ln w="3175" cap="flat" cmpd="sng" algn="ctr">
              <a:solidFill>
                <a:sysClr val="window" lastClr="FFFFFF"/>
              </a:solidFill>
              <a:prstDash val="solid"/>
              <a:headEnd/>
              <a:tailEnd/>
            </a:ln>
            <a:effectLst/>
          </p:spPr>
          <p:txBody>
            <a:bodyPr wrap="square"/>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defRPr/>
              </a:pPr>
              <a:endParaRPr lang="en-IE" sz="2400" kern="0" dirty="0">
                <a:solidFill>
                  <a:srgbClr val="000000"/>
                </a:solidFill>
                <a:latin typeface="Arial"/>
              </a:endParaRPr>
            </a:p>
          </p:txBody>
        </p:sp>
        <p:cxnSp>
          <p:nvCxnSpPr>
            <p:cNvPr id="175" name="Straight Connector 115"/>
            <p:cNvCxnSpPr>
              <a:stCxn id="184" idx="16"/>
              <a:endCxn id="186" idx="12"/>
            </p:cNvCxnSpPr>
            <p:nvPr/>
          </p:nvCxnSpPr>
          <p:spPr>
            <a:xfrm flipH="1" flipV="1">
              <a:off x="4497422" y="3986861"/>
              <a:ext cx="51775" cy="14711"/>
            </a:xfrm>
            <a:prstGeom prst="line">
              <a:avLst/>
            </a:prstGeom>
            <a:solidFill>
              <a:srgbClr val="FFFFFF">
                <a:lumMod val="75000"/>
              </a:srgbClr>
            </a:solidFill>
            <a:ln w="19050" cap="flat" cmpd="sng" algn="ctr">
              <a:solidFill>
                <a:srgbClr val="FFFFFF">
                  <a:lumMod val="65000"/>
                </a:srgbClr>
              </a:solidFill>
              <a:prstDash val="solid"/>
            </a:ln>
            <a:effectLst/>
          </p:spPr>
        </p:cxnSp>
        <p:cxnSp>
          <p:nvCxnSpPr>
            <p:cNvPr id="176" name="Straight Connector 130"/>
            <p:cNvCxnSpPr>
              <a:stCxn id="164" idx="3"/>
              <a:endCxn id="153" idx="41"/>
            </p:cNvCxnSpPr>
            <p:nvPr/>
          </p:nvCxnSpPr>
          <p:spPr>
            <a:xfrm flipH="1">
              <a:off x="4862772" y="4081131"/>
              <a:ext cx="127346" cy="34859"/>
            </a:xfrm>
            <a:prstGeom prst="line">
              <a:avLst/>
            </a:prstGeom>
            <a:solidFill>
              <a:srgbClr val="FFFFFF">
                <a:lumMod val="75000"/>
              </a:srgbClr>
            </a:solidFill>
            <a:ln w="19050" cap="flat" cmpd="sng" algn="ctr">
              <a:solidFill>
                <a:srgbClr val="FFFFFF">
                  <a:lumMod val="65000"/>
                </a:srgbClr>
              </a:solidFill>
              <a:prstDash val="dash"/>
            </a:ln>
            <a:effectLst/>
          </p:spPr>
        </p:cxnSp>
        <p:cxnSp>
          <p:nvCxnSpPr>
            <p:cNvPr id="177" name="Straight Connector 133"/>
            <p:cNvCxnSpPr>
              <a:stCxn id="221" idx="101"/>
              <a:endCxn id="189" idx="18"/>
            </p:cNvCxnSpPr>
            <p:nvPr/>
          </p:nvCxnSpPr>
          <p:spPr>
            <a:xfrm flipH="1">
              <a:off x="5186167" y="3688002"/>
              <a:ext cx="3099" cy="60350"/>
            </a:xfrm>
            <a:prstGeom prst="line">
              <a:avLst/>
            </a:prstGeom>
            <a:solidFill>
              <a:srgbClr val="FFFFFF">
                <a:lumMod val="75000"/>
              </a:srgbClr>
            </a:solidFill>
            <a:ln w="19050" cap="flat" cmpd="sng" algn="ctr">
              <a:solidFill>
                <a:srgbClr val="FFFFFF">
                  <a:lumMod val="65000"/>
                </a:srgbClr>
              </a:solidFill>
              <a:prstDash val="solid"/>
            </a:ln>
            <a:effectLst/>
          </p:spPr>
        </p:cxnSp>
        <p:cxnSp>
          <p:nvCxnSpPr>
            <p:cNvPr id="178" name="Straight Connector 143"/>
            <p:cNvCxnSpPr>
              <a:stCxn id="229" idx="18"/>
              <a:endCxn id="222" idx="54"/>
            </p:cNvCxnSpPr>
            <p:nvPr/>
          </p:nvCxnSpPr>
          <p:spPr>
            <a:xfrm>
              <a:off x="3707564" y="4010442"/>
              <a:ext cx="124409" cy="34346"/>
            </a:xfrm>
            <a:prstGeom prst="line">
              <a:avLst/>
            </a:prstGeom>
            <a:solidFill>
              <a:srgbClr val="FFFFFF">
                <a:lumMod val="75000"/>
              </a:srgbClr>
            </a:solidFill>
            <a:ln w="19050" cap="flat" cmpd="sng" algn="ctr">
              <a:solidFill>
                <a:srgbClr val="FFFFFF">
                  <a:lumMod val="65000"/>
                </a:srgbClr>
              </a:solidFill>
              <a:prstDash val="solid"/>
            </a:ln>
            <a:effectLst/>
          </p:spPr>
        </p:cxnSp>
        <p:cxnSp>
          <p:nvCxnSpPr>
            <p:cNvPr id="179" name="Straight Connector 146"/>
            <p:cNvCxnSpPr>
              <a:endCxn id="222" idx="48"/>
            </p:cNvCxnSpPr>
            <p:nvPr/>
          </p:nvCxnSpPr>
          <p:spPr>
            <a:xfrm flipV="1">
              <a:off x="3761801" y="3875149"/>
              <a:ext cx="61551" cy="47863"/>
            </a:xfrm>
            <a:prstGeom prst="line">
              <a:avLst/>
            </a:prstGeom>
            <a:solidFill>
              <a:srgbClr val="FFFFFF">
                <a:lumMod val="75000"/>
              </a:srgbClr>
            </a:solidFill>
            <a:ln w="19050" cap="flat" cmpd="sng" algn="ctr">
              <a:solidFill>
                <a:srgbClr val="FFFFFF">
                  <a:lumMod val="65000"/>
                </a:srgbClr>
              </a:solidFill>
              <a:prstDash val="solid"/>
            </a:ln>
            <a:effectLst/>
          </p:spPr>
        </p:cxnSp>
        <p:cxnSp>
          <p:nvCxnSpPr>
            <p:cNvPr id="180" name="Straight Connector 159"/>
            <p:cNvCxnSpPr>
              <a:stCxn id="201" idx="8"/>
              <a:endCxn id="197" idx="6"/>
            </p:cNvCxnSpPr>
            <p:nvPr/>
          </p:nvCxnSpPr>
          <p:spPr>
            <a:xfrm>
              <a:off x="4844490" y="5154001"/>
              <a:ext cx="147819" cy="65205"/>
            </a:xfrm>
            <a:prstGeom prst="line">
              <a:avLst/>
            </a:prstGeom>
            <a:solidFill>
              <a:srgbClr val="FFFFFF">
                <a:lumMod val="75000"/>
              </a:srgbClr>
            </a:solidFill>
            <a:ln w="19050" cap="flat" cmpd="sng" algn="ctr">
              <a:solidFill>
                <a:srgbClr val="FFFFFF">
                  <a:lumMod val="65000"/>
                </a:srgbClr>
              </a:solidFill>
              <a:prstDash val="solid"/>
            </a:ln>
            <a:effectLst/>
          </p:spPr>
        </p:cxnSp>
        <p:cxnSp>
          <p:nvCxnSpPr>
            <p:cNvPr id="181" name="Straight Connector 163"/>
            <p:cNvCxnSpPr>
              <a:stCxn id="201" idx="14"/>
              <a:endCxn id="172" idx="0"/>
            </p:cNvCxnSpPr>
            <p:nvPr/>
          </p:nvCxnSpPr>
          <p:spPr>
            <a:xfrm>
              <a:off x="4627669" y="4982424"/>
              <a:ext cx="246105" cy="9638"/>
            </a:xfrm>
            <a:prstGeom prst="line">
              <a:avLst/>
            </a:prstGeom>
            <a:solidFill>
              <a:srgbClr val="FFFFFF">
                <a:lumMod val="75000"/>
              </a:srgbClr>
            </a:solidFill>
            <a:ln w="19050" cap="flat" cmpd="sng" algn="ctr">
              <a:solidFill>
                <a:srgbClr val="FFFFFF">
                  <a:lumMod val="65000"/>
                </a:srgbClr>
              </a:solidFill>
              <a:prstDash val="dash"/>
            </a:ln>
            <a:effectLst/>
          </p:spPr>
        </p:cxnSp>
        <p:sp>
          <p:nvSpPr>
            <p:cNvPr id="182" name="TT"/>
            <p:cNvSpPr>
              <a:spLocks/>
            </p:cNvSpPr>
            <p:nvPr/>
          </p:nvSpPr>
          <p:spPr bwMode="auto">
            <a:xfrm rot="460133">
              <a:off x="4209872" y="4055272"/>
              <a:ext cx="486058" cy="541492"/>
            </a:xfrm>
            <a:custGeom>
              <a:avLst/>
              <a:gdLst>
                <a:gd name="T0" fmla="*/ 2147483647 w 213"/>
                <a:gd name="T1" fmla="*/ 2147483647 h 335"/>
                <a:gd name="T2" fmla="*/ 2147483647 w 213"/>
                <a:gd name="T3" fmla="*/ 2147483647 h 335"/>
                <a:gd name="T4" fmla="*/ 2147483647 w 213"/>
                <a:gd name="T5" fmla="*/ 2147483647 h 335"/>
                <a:gd name="T6" fmla="*/ 2147483647 w 213"/>
                <a:gd name="T7" fmla="*/ 2147483647 h 335"/>
                <a:gd name="T8" fmla="*/ 2147483647 w 213"/>
                <a:gd name="T9" fmla="*/ 2147483647 h 335"/>
                <a:gd name="T10" fmla="*/ 2147483647 w 213"/>
                <a:gd name="T11" fmla="*/ 2147483647 h 335"/>
                <a:gd name="T12" fmla="*/ 2147483647 w 213"/>
                <a:gd name="T13" fmla="*/ 2147483647 h 335"/>
                <a:gd name="T14" fmla="*/ 2147483647 w 213"/>
                <a:gd name="T15" fmla="*/ 2147483647 h 335"/>
                <a:gd name="T16" fmla="*/ 2147483647 w 213"/>
                <a:gd name="T17" fmla="*/ 2147483647 h 335"/>
                <a:gd name="T18" fmla="*/ 2147483647 w 213"/>
                <a:gd name="T19" fmla="*/ 2147483647 h 335"/>
                <a:gd name="T20" fmla="*/ 2147483647 w 213"/>
                <a:gd name="T21" fmla="*/ 2147483647 h 335"/>
                <a:gd name="T22" fmla="*/ 2147483647 w 213"/>
                <a:gd name="T23" fmla="*/ 2147483647 h 335"/>
                <a:gd name="T24" fmla="*/ 2147483647 w 213"/>
                <a:gd name="T25" fmla="*/ 2147483647 h 335"/>
                <a:gd name="T26" fmla="*/ 2147483647 w 213"/>
                <a:gd name="T27" fmla="*/ 2147483647 h 335"/>
                <a:gd name="T28" fmla="*/ 2147483647 w 213"/>
                <a:gd name="T29" fmla="*/ 2147483647 h 335"/>
                <a:gd name="T30" fmla="*/ 2147483647 w 213"/>
                <a:gd name="T31" fmla="*/ 2147483647 h 335"/>
                <a:gd name="T32" fmla="*/ 2147483647 w 213"/>
                <a:gd name="T33" fmla="*/ 2147483647 h 335"/>
                <a:gd name="T34" fmla="*/ 2147483647 w 213"/>
                <a:gd name="T35" fmla="*/ 2147483647 h 335"/>
                <a:gd name="T36" fmla="*/ 2147483647 w 213"/>
                <a:gd name="T37" fmla="*/ 2147483647 h 335"/>
                <a:gd name="T38" fmla="*/ 2147483647 w 213"/>
                <a:gd name="T39" fmla="*/ 2147483647 h 335"/>
                <a:gd name="T40" fmla="*/ 2147483647 w 213"/>
                <a:gd name="T41" fmla="*/ 2147483647 h 335"/>
                <a:gd name="T42" fmla="*/ 2147483647 w 213"/>
                <a:gd name="T43" fmla="*/ 2147483647 h 335"/>
                <a:gd name="T44" fmla="*/ 2147483647 w 213"/>
                <a:gd name="T45" fmla="*/ 2147483647 h 335"/>
                <a:gd name="T46" fmla="*/ 2147483647 w 213"/>
                <a:gd name="T47" fmla="*/ 2147483647 h 335"/>
                <a:gd name="T48" fmla="*/ 2147483647 w 213"/>
                <a:gd name="T49" fmla="*/ 2147483647 h 335"/>
                <a:gd name="T50" fmla="*/ 2147483647 w 213"/>
                <a:gd name="T51" fmla="*/ 2147483647 h 335"/>
                <a:gd name="T52" fmla="*/ 2147483647 w 213"/>
                <a:gd name="T53" fmla="*/ 2147483647 h 335"/>
                <a:gd name="T54" fmla="*/ 2147483647 w 213"/>
                <a:gd name="T55" fmla="*/ 2147483647 h 335"/>
                <a:gd name="T56" fmla="*/ 2147483647 w 213"/>
                <a:gd name="T57" fmla="*/ 2147483647 h 335"/>
                <a:gd name="T58" fmla="*/ 2147483647 w 213"/>
                <a:gd name="T59" fmla="*/ 2147483647 h 335"/>
                <a:gd name="T60" fmla="*/ 2147483647 w 213"/>
                <a:gd name="T61" fmla="*/ 2147483647 h 335"/>
                <a:gd name="T62" fmla="*/ 2147483647 w 213"/>
                <a:gd name="T63" fmla="*/ 2147483647 h 335"/>
                <a:gd name="T64" fmla="*/ 2147483647 w 213"/>
                <a:gd name="T65" fmla="*/ 2147483647 h 335"/>
                <a:gd name="T66" fmla="*/ 2147483647 w 213"/>
                <a:gd name="T67" fmla="*/ 2147483647 h 335"/>
                <a:gd name="T68" fmla="*/ 2147483647 w 213"/>
                <a:gd name="T69" fmla="*/ 2147483647 h 335"/>
                <a:gd name="T70" fmla="*/ 2147483647 w 213"/>
                <a:gd name="T71" fmla="*/ 2147483647 h 335"/>
                <a:gd name="T72" fmla="*/ 2147483647 w 213"/>
                <a:gd name="T73" fmla="*/ 2147483647 h 335"/>
                <a:gd name="T74" fmla="*/ 2147483647 w 213"/>
                <a:gd name="T75" fmla="*/ 2147483647 h 335"/>
                <a:gd name="T76" fmla="*/ 2147483647 w 213"/>
                <a:gd name="T77" fmla="*/ 2147483647 h 335"/>
                <a:gd name="T78" fmla="*/ 2147483647 w 213"/>
                <a:gd name="T79" fmla="*/ 2147483647 h 335"/>
                <a:gd name="T80" fmla="*/ 2147483647 w 213"/>
                <a:gd name="T81" fmla="*/ 2147483647 h 335"/>
                <a:gd name="T82" fmla="*/ 2147483647 w 213"/>
                <a:gd name="T83" fmla="*/ 2147483647 h 335"/>
                <a:gd name="T84" fmla="*/ 2147483647 w 213"/>
                <a:gd name="T85" fmla="*/ 2147483647 h 335"/>
                <a:gd name="T86" fmla="*/ 2147483647 w 213"/>
                <a:gd name="T87" fmla="*/ 2147483647 h 335"/>
                <a:gd name="T88" fmla="*/ 2147483647 w 213"/>
                <a:gd name="T89" fmla="*/ 2147483647 h 335"/>
                <a:gd name="T90" fmla="*/ 2147483647 w 213"/>
                <a:gd name="T91" fmla="*/ 2147483647 h 3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3"/>
                <a:gd name="T139" fmla="*/ 0 h 335"/>
                <a:gd name="T140" fmla="*/ 213 w 213"/>
                <a:gd name="T141" fmla="*/ 335 h 335"/>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474 w 10000"/>
                <a:gd name="connsiteY54" fmla="*/ 59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4930 w 10000"/>
                <a:gd name="connsiteY58" fmla="*/ 1187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5446 w 10000"/>
                <a:gd name="connsiteY65" fmla="*/ 2710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2629 w 10000"/>
                <a:gd name="connsiteY42" fmla="*/ 2411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770 w 10000"/>
                <a:gd name="connsiteY43" fmla="*/ 2023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562 w 10000"/>
                <a:gd name="connsiteY58" fmla="*/ 1016 h 10441"/>
                <a:gd name="connsiteX59" fmla="*/ 5634 w 10000"/>
                <a:gd name="connsiteY59" fmla="*/ 1426 h 10441"/>
                <a:gd name="connsiteX60" fmla="*/ 5915 w 10000"/>
                <a:gd name="connsiteY60" fmla="*/ 1277 h 10441"/>
                <a:gd name="connsiteX61" fmla="*/ 6103 w 10000"/>
                <a:gd name="connsiteY61" fmla="*/ 1605 h 10441"/>
                <a:gd name="connsiteX62" fmla="*/ 5681 w 10000"/>
                <a:gd name="connsiteY62" fmla="*/ 1844 h 10441"/>
                <a:gd name="connsiteX63" fmla="*/ 6009 w 10000"/>
                <a:gd name="connsiteY63" fmla="*/ 1963 h 10441"/>
                <a:gd name="connsiteX64" fmla="*/ 5915 w 10000"/>
                <a:gd name="connsiteY64" fmla="*/ 2381 h 10441"/>
                <a:gd name="connsiteX65" fmla="*/ 6553 w 10000"/>
                <a:gd name="connsiteY65" fmla="*/ 2835 h 10441"/>
                <a:gd name="connsiteX66" fmla="*/ 7042 w 10000"/>
                <a:gd name="connsiteY66" fmla="*/ 3247 h 10441"/>
                <a:gd name="connsiteX67" fmla="*/ 6620 w 10000"/>
                <a:gd name="connsiteY67" fmla="*/ 3486 h 10441"/>
                <a:gd name="connsiteX68" fmla="*/ 6103 w 10000"/>
                <a:gd name="connsiteY68" fmla="*/ 3396 h 10441"/>
                <a:gd name="connsiteX69" fmla="*/ 5634 w 10000"/>
                <a:gd name="connsiteY69" fmla="*/ 3486 h 10441"/>
                <a:gd name="connsiteX70" fmla="*/ 5728 w 10000"/>
                <a:gd name="connsiteY70" fmla="*/ 3754 h 10441"/>
                <a:gd name="connsiteX71" fmla="*/ 6056 w 10000"/>
                <a:gd name="connsiteY71" fmla="*/ 3874 h 10441"/>
                <a:gd name="connsiteX72" fmla="*/ 6150 w 10000"/>
                <a:gd name="connsiteY72" fmla="*/ 4590 h 10441"/>
                <a:gd name="connsiteX73" fmla="*/ 5540 w 10000"/>
                <a:gd name="connsiteY73" fmla="*/ 4620 h 10441"/>
                <a:gd name="connsiteX74" fmla="*/ 5540 w 10000"/>
                <a:gd name="connsiteY74" fmla="*/ 5038 h 10441"/>
                <a:gd name="connsiteX75" fmla="*/ 4601 w 10000"/>
                <a:gd name="connsiteY75" fmla="*/ 5456 h 10441"/>
                <a:gd name="connsiteX76" fmla="*/ 4883 w 10000"/>
                <a:gd name="connsiteY76" fmla="*/ 5844 h 10441"/>
                <a:gd name="connsiteX77" fmla="*/ 4648 w 10000"/>
                <a:gd name="connsiteY77" fmla="*/ 6202 h 10441"/>
                <a:gd name="connsiteX78" fmla="*/ 5446 w 10000"/>
                <a:gd name="connsiteY78" fmla="*/ 6889 h 10441"/>
                <a:gd name="connsiteX79" fmla="*/ 6573 w 10000"/>
                <a:gd name="connsiteY79" fmla="*/ 6889 h 10441"/>
                <a:gd name="connsiteX80" fmla="*/ 7230 w 10000"/>
                <a:gd name="connsiteY80" fmla="*/ 6769 h 10441"/>
                <a:gd name="connsiteX81" fmla="*/ 7793 w 10000"/>
                <a:gd name="connsiteY81" fmla="*/ 6919 h 10441"/>
                <a:gd name="connsiteX82" fmla="*/ 8263 w 10000"/>
                <a:gd name="connsiteY82" fmla="*/ 7307 h 10441"/>
                <a:gd name="connsiteX83" fmla="*/ 8638 w 10000"/>
                <a:gd name="connsiteY83" fmla="*/ 8053 h 10441"/>
                <a:gd name="connsiteX84" fmla="*/ 9014 w 10000"/>
                <a:gd name="connsiteY84" fmla="*/ 8023 h 10441"/>
                <a:gd name="connsiteX85" fmla="*/ 10000 w 10000"/>
                <a:gd name="connsiteY85" fmla="*/ 8769 h 10441"/>
                <a:gd name="connsiteX86" fmla="*/ 8826 w 10000"/>
                <a:gd name="connsiteY86" fmla="*/ 9575 h 10441"/>
                <a:gd name="connsiteX87" fmla="*/ 9296 w 10000"/>
                <a:gd name="connsiteY87" fmla="*/ 10172 h 10441"/>
                <a:gd name="connsiteX88" fmla="*/ 9108 w 10000"/>
                <a:gd name="connsiteY88" fmla="*/ 10411 h 10441"/>
                <a:gd name="connsiteX89" fmla="*/ 8826 w 10000"/>
                <a:gd name="connsiteY89" fmla="*/ 10172 h 10441"/>
                <a:gd name="connsiteX90" fmla="*/ 6948 w 10000"/>
                <a:gd name="connsiteY90" fmla="*/ 10142 h 10441"/>
                <a:gd name="connsiteX91" fmla="*/ 6620 w 10000"/>
                <a:gd name="connsiteY91" fmla="*/ 10441 h 10441"/>
                <a:gd name="connsiteX92" fmla="*/ 6056 w 10000"/>
                <a:gd name="connsiteY92"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549 w 10000"/>
                <a:gd name="connsiteY54" fmla="*/ 13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411 h 10441"/>
                <a:gd name="connsiteX1" fmla="*/ 6150 w 10000"/>
                <a:gd name="connsiteY1" fmla="*/ 9575 h 10441"/>
                <a:gd name="connsiteX2" fmla="*/ 6432 w 10000"/>
                <a:gd name="connsiteY2" fmla="*/ 8769 h 10441"/>
                <a:gd name="connsiteX3" fmla="*/ 5634 w 10000"/>
                <a:gd name="connsiteY3" fmla="*/ 8590 h 10441"/>
                <a:gd name="connsiteX4" fmla="*/ 5399 w 10000"/>
                <a:gd name="connsiteY4" fmla="*/ 8411 h 10441"/>
                <a:gd name="connsiteX5" fmla="*/ 5023 w 10000"/>
                <a:gd name="connsiteY5" fmla="*/ 8501 h 10441"/>
                <a:gd name="connsiteX6" fmla="*/ 4695 w 10000"/>
                <a:gd name="connsiteY6" fmla="*/ 7934 h 10441"/>
                <a:gd name="connsiteX7" fmla="*/ 4131 w 10000"/>
                <a:gd name="connsiteY7" fmla="*/ 7575 h 10441"/>
                <a:gd name="connsiteX8" fmla="*/ 3709 w 10000"/>
                <a:gd name="connsiteY8" fmla="*/ 7605 h 10441"/>
                <a:gd name="connsiteX9" fmla="*/ 3803 w 10000"/>
                <a:gd name="connsiteY9" fmla="*/ 7784 h 10441"/>
                <a:gd name="connsiteX10" fmla="*/ 3333 w 10000"/>
                <a:gd name="connsiteY10" fmla="*/ 7814 h 10441"/>
                <a:gd name="connsiteX11" fmla="*/ 3286 w 10000"/>
                <a:gd name="connsiteY11" fmla="*/ 7128 h 10441"/>
                <a:gd name="connsiteX12" fmla="*/ 2535 w 10000"/>
                <a:gd name="connsiteY12" fmla="*/ 7098 h 10441"/>
                <a:gd name="connsiteX13" fmla="*/ 2629 w 10000"/>
                <a:gd name="connsiteY13" fmla="*/ 6799 h 10441"/>
                <a:gd name="connsiteX14" fmla="*/ 2300 w 10000"/>
                <a:gd name="connsiteY14" fmla="*/ 6710 h 10441"/>
                <a:gd name="connsiteX15" fmla="*/ 2113 w 10000"/>
                <a:gd name="connsiteY15" fmla="*/ 6202 h 10441"/>
                <a:gd name="connsiteX16" fmla="*/ 2441 w 10000"/>
                <a:gd name="connsiteY16" fmla="*/ 6053 h 10441"/>
                <a:gd name="connsiteX17" fmla="*/ 2911 w 10000"/>
                <a:gd name="connsiteY17" fmla="*/ 5665 h 10441"/>
                <a:gd name="connsiteX18" fmla="*/ 2629 w 10000"/>
                <a:gd name="connsiteY18" fmla="*/ 5456 h 10441"/>
                <a:gd name="connsiteX19" fmla="*/ 3192 w 10000"/>
                <a:gd name="connsiteY19" fmla="*/ 5128 h 10441"/>
                <a:gd name="connsiteX20" fmla="*/ 2629 w 10000"/>
                <a:gd name="connsiteY20" fmla="*/ 5128 h 10441"/>
                <a:gd name="connsiteX21" fmla="*/ 2629 w 10000"/>
                <a:gd name="connsiteY21" fmla="*/ 4769 h 10441"/>
                <a:gd name="connsiteX22" fmla="*/ 2817 w 10000"/>
                <a:gd name="connsiteY22" fmla="*/ 4202 h 10441"/>
                <a:gd name="connsiteX23" fmla="*/ 2582 w 10000"/>
                <a:gd name="connsiteY23" fmla="*/ 3725 h 10441"/>
                <a:gd name="connsiteX24" fmla="*/ 2019 w 10000"/>
                <a:gd name="connsiteY24" fmla="*/ 3993 h 10441"/>
                <a:gd name="connsiteX25" fmla="*/ 1643 w 10000"/>
                <a:gd name="connsiteY25" fmla="*/ 3725 h 10441"/>
                <a:gd name="connsiteX26" fmla="*/ 1315 w 10000"/>
                <a:gd name="connsiteY26" fmla="*/ 3725 h 10441"/>
                <a:gd name="connsiteX27" fmla="*/ 1925 w 10000"/>
                <a:gd name="connsiteY27" fmla="*/ 3038 h 10441"/>
                <a:gd name="connsiteX28" fmla="*/ 1831 w 10000"/>
                <a:gd name="connsiteY28" fmla="*/ 2799 h 10441"/>
                <a:gd name="connsiteX29" fmla="*/ 1315 w 10000"/>
                <a:gd name="connsiteY29" fmla="*/ 2799 h 10441"/>
                <a:gd name="connsiteX30" fmla="*/ 939 w 10000"/>
                <a:gd name="connsiteY30" fmla="*/ 2620 h 10441"/>
                <a:gd name="connsiteX31" fmla="*/ 610 w 10000"/>
                <a:gd name="connsiteY31" fmla="*/ 2590 h 10441"/>
                <a:gd name="connsiteX32" fmla="*/ 798 w 10000"/>
                <a:gd name="connsiteY32" fmla="*/ 2292 h 10441"/>
                <a:gd name="connsiteX33" fmla="*/ 188 w 10000"/>
                <a:gd name="connsiteY33" fmla="*/ 2501 h 10441"/>
                <a:gd name="connsiteX34" fmla="*/ 0 w 10000"/>
                <a:gd name="connsiteY34" fmla="*/ 2471 h 10441"/>
                <a:gd name="connsiteX35" fmla="*/ 751 w 10000"/>
                <a:gd name="connsiteY35" fmla="*/ 2142 h 10441"/>
                <a:gd name="connsiteX36" fmla="*/ 986 w 10000"/>
                <a:gd name="connsiteY36" fmla="*/ 2142 h 10441"/>
                <a:gd name="connsiteX37" fmla="*/ 1784 w 10000"/>
                <a:gd name="connsiteY37" fmla="*/ 2142 h 10441"/>
                <a:gd name="connsiteX38" fmla="*/ 1033 w 10000"/>
                <a:gd name="connsiteY38" fmla="*/ 2202 h 10441"/>
                <a:gd name="connsiteX39" fmla="*/ 986 w 10000"/>
                <a:gd name="connsiteY39" fmla="*/ 2292 h 10441"/>
                <a:gd name="connsiteX40" fmla="*/ 1878 w 10000"/>
                <a:gd name="connsiteY40" fmla="*/ 2262 h 10441"/>
                <a:gd name="connsiteX41" fmla="*/ 2066 w 10000"/>
                <a:gd name="connsiteY41" fmla="*/ 2501 h 10441"/>
                <a:gd name="connsiteX42" fmla="*/ 1854 w 10000"/>
                <a:gd name="connsiteY42" fmla="*/ 1859 h 10441"/>
                <a:gd name="connsiteX43" fmla="*/ 2180 w 10000"/>
                <a:gd name="connsiteY43" fmla="*/ 1567 h 10441"/>
                <a:gd name="connsiteX44" fmla="*/ 3146 w 10000"/>
                <a:gd name="connsiteY44" fmla="*/ 1754 h 10441"/>
                <a:gd name="connsiteX45" fmla="*/ 3005 w 10000"/>
                <a:gd name="connsiteY45" fmla="*/ 1486 h 10441"/>
                <a:gd name="connsiteX46" fmla="*/ 2723 w 10000"/>
                <a:gd name="connsiteY46" fmla="*/ 1516 h 10441"/>
                <a:gd name="connsiteX47" fmla="*/ 2535 w 10000"/>
                <a:gd name="connsiteY47" fmla="*/ 1277 h 10441"/>
                <a:gd name="connsiteX48" fmla="*/ 3146 w 10000"/>
                <a:gd name="connsiteY48" fmla="*/ 1187 h 10441"/>
                <a:gd name="connsiteX49" fmla="*/ 2676 w 10000"/>
                <a:gd name="connsiteY49" fmla="*/ 680 h 10441"/>
                <a:gd name="connsiteX50" fmla="*/ 2300 w 10000"/>
                <a:gd name="connsiteY50" fmla="*/ 740 h 10441"/>
                <a:gd name="connsiteX51" fmla="*/ 2254 w 10000"/>
                <a:gd name="connsiteY51" fmla="*/ 560 h 10441"/>
                <a:gd name="connsiteX52" fmla="*/ 2629 w 10000"/>
                <a:gd name="connsiteY52" fmla="*/ 441 h 10441"/>
                <a:gd name="connsiteX53" fmla="*/ 2497 w 10000"/>
                <a:gd name="connsiteY53" fmla="*/ 0 h 10441"/>
                <a:gd name="connsiteX54" fmla="*/ 3876 w 10000"/>
                <a:gd name="connsiteY54" fmla="*/ 100 h 10441"/>
                <a:gd name="connsiteX55" fmla="*/ 4601 w 10000"/>
                <a:gd name="connsiteY55" fmla="*/ 769 h 10441"/>
                <a:gd name="connsiteX56" fmla="*/ 4695 w 10000"/>
                <a:gd name="connsiteY56" fmla="*/ 1068 h 10441"/>
                <a:gd name="connsiteX57" fmla="*/ 4413 w 10000"/>
                <a:gd name="connsiteY57" fmla="*/ 1307 h 10441"/>
                <a:gd name="connsiteX58" fmla="*/ 5143 w 10000"/>
                <a:gd name="connsiteY58" fmla="*/ 981 h 10441"/>
                <a:gd name="connsiteX59" fmla="*/ 5562 w 10000"/>
                <a:gd name="connsiteY59" fmla="*/ 1016 h 10441"/>
                <a:gd name="connsiteX60" fmla="*/ 5634 w 10000"/>
                <a:gd name="connsiteY60" fmla="*/ 1426 h 10441"/>
                <a:gd name="connsiteX61" fmla="*/ 5915 w 10000"/>
                <a:gd name="connsiteY61" fmla="*/ 1277 h 10441"/>
                <a:gd name="connsiteX62" fmla="*/ 6103 w 10000"/>
                <a:gd name="connsiteY62" fmla="*/ 1605 h 10441"/>
                <a:gd name="connsiteX63" fmla="*/ 5681 w 10000"/>
                <a:gd name="connsiteY63" fmla="*/ 1844 h 10441"/>
                <a:gd name="connsiteX64" fmla="*/ 6009 w 10000"/>
                <a:gd name="connsiteY64" fmla="*/ 1963 h 10441"/>
                <a:gd name="connsiteX65" fmla="*/ 5915 w 10000"/>
                <a:gd name="connsiteY65" fmla="*/ 2381 h 10441"/>
                <a:gd name="connsiteX66" fmla="*/ 6553 w 10000"/>
                <a:gd name="connsiteY66" fmla="*/ 2835 h 10441"/>
                <a:gd name="connsiteX67" fmla="*/ 7042 w 10000"/>
                <a:gd name="connsiteY67" fmla="*/ 3247 h 10441"/>
                <a:gd name="connsiteX68" fmla="*/ 6620 w 10000"/>
                <a:gd name="connsiteY68" fmla="*/ 3486 h 10441"/>
                <a:gd name="connsiteX69" fmla="*/ 6103 w 10000"/>
                <a:gd name="connsiteY69" fmla="*/ 3396 h 10441"/>
                <a:gd name="connsiteX70" fmla="*/ 5634 w 10000"/>
                <a:gd name="connsiteY70" fmla="*/ 3486 h 10441"/>
                <a:gd name="connsiteX71" fmla="*/ 5728 w 10000"/>
                <a:gd name="connsiteY71" fmla="*/ 3754 h 10441"/>
                <a:gd name="connsiteX72" fmla="*/ 6056 w 10000"/>
                <a:gd name="connsiteY72" fmla="*/ 3874 h 10441"/>
                <a:gd name="connsiteX73" fmla="*/ 6150 w 10000"/>
                <a:gd name="connsiteY73" fmla="*/ 4590 h 10441"/>
                <a:gd name="connsiteX74" fmla="*/ 5540 w 10000"/>
                <a:gd name="connsiteY74" fmla="*/ 4620 h 10441"/>
                <a:gd name="connsiteX75" fmla="*/ 5540 w 10000"/>
                <a:gd name="connsiteY75" fmla="*/ 5038 h 10441"/>
                <a:gd name="connsiteX76" fmla="*/ 4601 w 10000"/>
                <a:gd name="connsiteY76" fmla="*/ 5456 h 10441"/>
                <a:gd name="connsiteX77" fmla="*/ 4883 w 10000"/>
                <a:gd name="connsiteY77" fmla="*/ 5844 h 10441"/>
                <a:gd name="connsiteX78" fmla="*/ 4648 w 10000"/>
                <a:gd name="connsiteY78" fmla="*/ 6202 h 10441"/>
                <a:gd name="connsiteX79" fmla="*/ 5446 w 10000"/>
                <a:gd name="connsiteY79" fmla="*/ 6889 h 10441"/>
                <a:gd name="connsiteX80" fmla="*/ 6573 w 10000"/>
                <a:gd name="connsiteY80" fmla="*/ 6889 h 10441"/>
                <a:gd name="connsiteX81" fmla="*/ 7230 w 10000"/>
                <a:gd name="connsiteY81" fmla="*/ 6769 h 10441"/>
                <a:gd name="connsiteX82" fmla="*/ 7793 w 10000"/>
                <a:gd name="connsiteY82" fmla="*/ 6919 h 10441"/>
                <a:gd name="connsiteX83" fmla="*/ 8263 w 10000"/>
                <a:gd name="connsiteY83" fmla="*/ 7307 h 10441"/>
                <a:gd name="connsiteX84" fmla="*/ 8638 w 10000"/>
                <a:gd name="connsiteY84" fmla="*/ 8053 h 10441"/>
                <a:gd name="connsiteX85" fmla="*/ 9014 w 10000"/>
                <a:gd name="connsiteY85" fmla="*/ 8023 h 10441"/>
                <a:gd name="connsiteX86" fmla="*/ 10000 w 10000"/>
                <a:gd name="connsiteY86" fmla="*/ 8769 h 10441"/>
                <a:gd name="connsiteX87" fmla="*/ 8826 w 10000"/>
                <a:gd name="connsiteY87" fmla="*/ 9575 h 10441"/>
                <a:gd name="connsiteX88" fmla="*/ 9296 w 10000"/>
                <a:gd name="connsiteY88" fmla="*/ 10172 h 10441"/>
                <a:gd name="connsiteX89" fmla="*/ 9108 w 10000"/>
                <a:gd name="connsiteY89" fmla="*/ 10411 h 10441"/>
                <a:gd name="connsiteX90" fmla="*/ 8826 w 10000"/>
                <a:gd name="connsiteY90" fmla="*/ 10172 h 10441"/>
                <a:gd name="connsiteX91" fmla="*/ 6948 w 10000"/>
                <a:gd name="connsiteY91" fmla="*/ 10142 h 10441"/>
                <a:gd name="connsiteX92" fmla="*/ 6620 w 10000"/>
                <a:gd name="connsiteY92" fmla="*/ 10441 h 10441"/>
                <a:gd name="connsiteX93" fmla="*/ 6056 w 10000"/>
                <a:gd name="connsiteY93" fmla="*/ 10411 h 10441"/>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876 w 10000"/>
                <a:gd name="connsiteY54" fmla="*/ 419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3146 w 10000"/>
                <a:gd name="connsiteY48" fmla="*/ 1506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676 w 10000"/>
                <a:gd name="connsiteY49" fmla="*/ 99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629 w 10000"/>
                <a:gd name="connsiteY52" fmla="*/ 76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423 w 10000"/>
                <a:gd name="connsiteY54" fmla="*/ 234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413 w 10000"/>
                <a:gd name="connsiteY57" fmla="*/ 162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62 w 10000"/>
                <a:gd name="connsiteY59" fmla="*/ 1335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695 w 10000"/>
                <a:gd name="connsiteY56" fmla="*/ 1387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553 w 10000"/>
                <a:gd name="connsiteY66" fmla="*/ 3154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7042 w 10000"/>
                <a:gd name="connsiteY67" fmla="*/ 3566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6620 w 10000"/>
                <a:gd name="connsiteY68" fmla="*/ 3805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6056 w 10000"/>
                <a:gd name="connsiteY72" fmla="*/ 4193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728 w 10000"/>
                <a:gd name="connsiteY71" fmla="*/ 4073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2019 w 10000"/>
                <a:gd name="connsiteY24" fmla="*/ 431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1643 w 10000"/>
                <a:gd name="connsiteY25" fmla="*/ 4044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1315 w 10000"/>
                <a:gd name="connsiteY26" fmla="*/ 4044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831 w 10000"/>
                <a:gd name="connsiteY28" fmla="*/ 3118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610 w 10000"/>
                <a:gd name="connsiteY31" fmla="*/ 2909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798 w 10000"/>
                <a:gd name="connsiteY32" fmla="*/ 2611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751 w 10000"/>
                <a:gd name="connsiteY35" fmla="*/ 2461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986 w 10000"/>
                <a:gd name="connsiteY39" fmla="*/ 261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1033 w 10000"/>
                <a:gd name="connsiteY38" fmla="*/ 2521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986 w 10000"/>
                <a:gd name="connsiteY36" fmla="*/ 2461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3146 w 10000"/>
                <a:gd name="connsiteY44" fmla="*/ 207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878 w 10000"/>
                <a:gd name="connsiteY40" fmla="*/ 2581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056 w 10000"/>
                <a:gd name="connsiteY0" fmla="*/ 10730 h 10760"/>
                <a:gd name="connsiteX1" fmla="*/ 6150 w 10000"/>
                <a:gd name="connsiteY1" fmla="*/ 9894 h 10760"/>
                <a:gd name="connsiteX2" fmla="*/ 6432 w 10000"/>
                <a:gd name="connsiteY2" fmla="*/ 9088 h 10760"/>
                <a:gd name="connsiteX3" fmla="*/ 5634 w 10000"/>
                <a:gd name="connsiteY3" fmla="*/ 8909 h 10760"/>
                <a:gd name="connsiteX4" fmla="*/ 5399 w 10000"/>
                <a:gd name="connsiteY4" fmla="*/ 8730 h 10760"/>
                <a:gd name="connsiteX5" fmla="*/ 5023 w 10000"/>
                <a:gd name="connsiteY5" fmla="*/ 8820 h 10760"/>
                <a:gd name="connsiteX6" fmla="*/ 4695 w 10000"/>
                <a:gd name="connsiteY6" fmla="*/ 8253 h 10760"/>
                <a:gd name="connsiteX7" fmla="*/ 4131 w 10000"/>
                <a:gd name="connsiteY7" fmla="*/ 7894 h 10760"/>
                <a:gd name="connsiteX8" fmla="*/ 3709 w 10000"/>
                <a:gd name="connsiteY8" fmla="*/ 7924 h 10760"/>
                <a:gd name="connsiteX9" fmla="*/ 3803 w 10000"/>
                <a:gd name="connsiteY9" fmla="*/ 8103 h 10760"/>
                <a:gd name="connsiteX10" fmla="*/ 3333 w 10000"/>
                <a:gd name="connsiteY10" fmla="*/ 8133 h 10760"/>
                <a:gd name="connsiteX11" fmla="*/ 3286 w 10000"/>
                <a:gd name="connsiteY11" fmla="*/ 7447 h 10760"/>
                <a:gd name="connsiteX12" fmla="*/ 2535 w 10000"/>
                <a:gd name="connsiteY12" fmla="*/ 7417 h 10760"/>
                <a:gd name="connsiteX13" fmla="*/ 2629 w 10000"/>
                <a:gd name="connsiteY13" fmla="*/ 7118 h 10760"/>
                <a:gd name="connsiteX14" fmla="*/ 2300 w 10000"/>
                <a:gd name="connsiteY14" fmla="*/ 7029 h 10760"/>
                <a:gd name="connsiteX15" fmla="*/ 2113 w 10000"/>
                <a:gd name="connsiteY15" fmla="*/ 6521 h 10760"/>
                <a:gd name="connsiteX16" fmla="*/ 2441 w 10000"/>
                <a:gd name="connsiteY16" fmla="*/ 6372 h 10760"/>
                <a:gd name="connsiteX17" fmla="*/ 2911 w 10000"/>
                <a:gd name="connsiteY17" fmla="*/ 5984 h 10760"/>
                <a:gd name="connsiteX18" fmla="*/ 2629 w 10000"/>
                <a:gd name="connsiteY18" fmla="*/ 5775 h 10760"/>
                <a:gd name="connsiteX19" fmla="*/ 3192 w 10000"/>
                <a:gd name="connsiteY19" fmla="*/ 5447 h 10760"/>
                <a:gd name="connsiteX20" fmla="*/ 2629 w 10000"/>
                <a:gd name="connsiteY20" fmla="*/ 5447 h 10760"/>
                <a:gd name="connsiteX21" fmla="*/ 2629 w 10000"/>
                <a:gd name="connsiteY21" fmla="*/ 5088 h 10760"/>
                <a:gd name="connsiteX22" fmla="*/ 2817 w 10000"/>
                <a:gd name="connsiteY22" fmla="*/ 4521 h 10760"/>
                <a:gd name="connsiteX23" fmla="*/ 2582 w 10000"/>
                <a:gd name="connsiteY23" fmla="*/ 4044 h 10760"/>
                <a:gd name="connsiteX24" fmla="*/ 3288 w 10000"/>
                <a:gd name="connsiteY24" fmla="*/ 3532 h 10760"/>
                <a:gd name="connsiteX25" fmla="*/ 2890 w 10000"/>
                <a:gd name="connsiteY25" fmla="*/ 3342 h 10760"/>
                <a:gd name="connsiteX26" fmla="*/ 2620 w 10000"/>
                <a:gd name="connsiteY26" fmla="*/ 3260 h 10760"/>
                <a:gd name="connsiteX27" fmla="*/ 1925 w 10000"/>
                <a:gd name="connsiteY27" fmla="*/ 3357 h 10760"/>
                <a:gd name="connsiteX28" fmla="*/ 1687 w 10000"/>
                <a:gd name="connsiteY28" fmla="*/ 3336 h 10760"/>
                <a:gd name="connsiteX29" fmla="*/ 1315 w 10000"/>
                <a:gd name="connsiteY29" fmla="*/ 3118 h 10760"/>
                <a:gd name="connsiteX30" fmla="*/ 939 w 10000"/>
                <a:gd name="connsiteY30" fmla="*/ 2939 h 10760"/>
                <a:gd name="connsiteX31" fmla="*/ 169 w 10000"/>
                <a:gd name="connsiteY31" fmla="*/ 2950 h 10760"/>
                <a:gd name="connsiteX32" fmla="*/ 135 w 10000"/>
                <a:gd name="connsiteY32" fmla="*/ 2289 h 10760"/>
                <a:gd name="connsiteX33" fmla="*/ 188 w 10000"/>
                <a:gd name="connsiteY33" fmla="*/ 2820 h 10760"/>
                <a:gd name="connsiteX34" fmla="*/ 0 w 10000"/>
                <a:gd name="connsiteY34" fmla="*/ 2790 h 10760"/>
                <a:gd name="connsiteX35" fmla="*/ 358 w 10000"/>
                <a:gd name="connsiteY35" fmla="*/ 1986 h 10760"/>
                <a:gd name="connsiteX36" fmla="*/ 1007 w 10000"/>
                <a:gd name="connsiteY36" fmla="*/ 1999 h 10760"/>
                <a:gd name="connsiteX37" fmla="*/ 1784 w 10000"/>
                <a:gd name="connsiteY37" fmla="*/ 2461 h 10760"/>
                <a:gd name="connsiteX38" fmla="*/ 708 w 10000"/>
                <a:gd name="connsiteY38" fmla="*/ 2015 h 10760"/>
                <a:gd name="connsiteX39" fmla="*/ 1019 w 10000"/>
                <a:gd name="connsiteY39" fmla="*/ 2021 h 10760"/>
                <a:gd name="connsiteX40" fmla="*/ 1181 w 10000"/>
                <a:gd name="connsiteY40" fmla="*/ 2083 h 10760"/>
                <a:gd name="connsiteX41" fmla="*/ 2066 w 10000"/>
                <a:gd name="connsiteY41" fmla="*/ 2820 h 10760"/>
                <a:gd name="connsiteX42" fmla="*/ 1854 w 10000"/>
                <a:gd name="connsiteY42" fmla="*/ 2178 h 10760"/>
                <a:gd name="connsiteX43" fmla="*/ 2180 w 10000"/>
                <a:gd name="connsiteY43" fmla="*/ 1886 h 10760"/>
                <a:gd name="connsiteX44" fmla="*/ 2305 w 10000"/>
                <a:gd name="connsiteY44" fmla="*/ 1793 h 10760"/>
                <a:gd name="connsiteX45" fmla="*/ 3005 w 10000"/>
                <a:gd name="connsiteY45" fmla="*/ 1805 h 10760"/>
                <a:gd name="connsiteX46" fmla="*/ 2723 w 10000"/>
                <a:gd name="connsiteY46" fmla="*/ 1835 h 10760"/>
                <a:gd name="connsiteX47" fmla="*/ 2535 w 10000"/>
                <a:gd name="connsiteY47" fmla="*/ 1596 h 10760"/>
                <a:gd name="connsiteX48" fmla="*/ 2518 w 10000"/>
                <a:gd name="connsiteY48" fmla="*/ 1359 h 10760"/>
                <a:gd name="connsiteX49" fmla="*/ 2566 w 10000"/>
                <a:gd name="connsiteY49" fmla="*/ 1009 h 10760"/>
                <a:gd name="connsiteX50" fmla="*/ 2300 w 10000"/>
                <a:gd name="connsiteY50" fmla="*/ 1059 h 10760"/>
                <a:gd name="connsiteX51" fmla="*/ 2254 w 10000"/>
                <a:gd name="connsiteY51" fmla="*/ 879 h 10760"/>
                <a:gd name="connsiteX52" fmla="*/ 2369 w 10000"/>
                <a:gd name="connsiteY52" fmla="*/ 580 h 10760"/>
                <a:gd name="connsiteX53" fmla="*/ 2267 w 10000"/>
                <a:gd name="connsiteY53" fmla="*/ 0 h 10760"/>
                <a:gd name="connsiteX54" fmla="*/ 3565 w 10000"/>
                <a:gd name="connsiteY54" fmla="*/ 195 h 10760"/>
                <a:gd name="connsiteX55" fmla="*/ 4601 w 10000"/>
                <a:gd name="connsiteY55" fmla="*/ 1088 h 10760"/>
                <a:gd name="connsiteX56" fmla="*/ 4861 w 10000"/>
                <a:gd name="connsiteY56" fmla="*/ 1091 h 10760"/>
                <a:gd name="connsiteX57" fmla="*/ 4927 w 10000"/>
                <a:gd name="connsiteY57" fmla="*/ 1196 h 10760"/>
                <a:gd name="connsiteX58" fmla="*/ 5143 w 10000"/>
                <a:gd name="connsiteY58" fmla="*/ 1300 h 10760"/>
                <a:gd name="connsiteX59" fmla="*/ 5584 w 10000"/>
                <a:gd name="connsiteY59" fmla="*/ 1256 h 10760"/>
                <a:gd name="connsiteX60" fmla="*/ 5634 w 10000"/>
                <a:gd name="connsiteY60" fmla="*/ 1745 h 10760"/>
                <a:gd name="connsiteX61" fmla="*/ 5915 w 10000"/>
                <a:gd name="connsiteY61" fmla="*/ 1596 h 10760"/>
                <a:gd name="connsiteX62" fmla="*/ 6103 w 10000"/>
                <a:gd name="connsiteY62" fmla="*/ 1924 h 10760"/>
                <a:gd name="connsiteX63" fmla="*/ 5681 w 10000"/>
                <a:gd name="connsiteY63" fmla="*/ 2163 h 10760"/>
                <a:gd name="connsiteX64" fmla="*/ 6009 w 10000"/>
                <a:gd name="connsiteY64" fmla="*/ 2282 h 10760"/>
                <a:gd name="connsiteX65" fmla="*/ 5915 w 10000"/>
                <a:gd name="connsiteY65" fmla="*/ 2700 h 10760"/>
                <a:gd name="connsiteX66" fmla="*/ 6810 w 10000"/>
                <a:gd name="connsiteY66" fmla="*/ 3130 h 10760"/>
                <a:gd name="connsiteX67" fmla="*/ 5423 w 10000"/>
                <a:gd name="connsiteY67" fmla="*/ 3332 h 10760"/>
                <a:gd name="connsiteX68" fmla="*/ 5676 w 10000"/>
                <a:gd name="connsiteY68" fmla="*/ 3764 h 10760"/>
                <a:gd name="connsiteX69" fmla="*/ 6103 w 10000"/>
                <a:gd name="connsiteY69" fmla="*/ 3715 h 10760"/>
                <a:gd name="connsiteX70" fmla="*/ 5634 w 10000"/>
                <a:gd name="connsiteY70" fmla="*/ 3805 h 10760"/>
                <a:gd name="connsiteX71" fmla="*/ 5966 w 10000"/>
                <a:gd name="connsiteY71" fmla="*/ 3949 h 10760"/>
                <a:gd name="connsiteX72" fmla="*/ 5867 w 10000"/>
                <a:gd name="connsiteY72" fmla="*/ 4185 h 10760"/>
                <a:gd name="connsiteX73" fmla="*/ 6150 w 10000"/>
                <a:gd name="connsiteY73" fmla="*/ 4909 h 10760"/>
                <a:gd name="connsiteX74" fmla="*/ 5540 w 10000"/>
                <a:gd name="connsiteY74" fmla="*/ 4939 h 10760"/>
                <a:gd name="connsiteX75" fmla="*/ 5540 w 10000"/>
                <a:gd name="connsiteY75" fmla="*/ 5357 h 10760"/>
                <a:gd name="connsiteX76" fmla="*/ 4601 w 10000"/>
                <a:gd name="connsiteY76" fmla="*/ 5775 h 10760"/>
                <a:gd name="connsiteX77" fmla="*/ 4883 w 10000"/>
                <a:gd name="connsiteY77" fmla="*/ 6163 h 10760"/>
                <a:gd name="connsiteX78" fmla="*/ 4648 w 10000"/>
                <a:gd name="connsiteY78" fmla="*/ 6521 h 10760"/>
                <a:gd name="connsiteX79" fmla="*/ 5446 w 10000"/>
                <a:gd name="connsiteY79" fmla="*/ 7208 h 10760"/>
                <a:gd name="connsiteX80" fmla="*/ 6573 w 10000"/>
                <a:gd name="connsiteY80" fmla="*/ 7208 h 10760"/>
                <a:gd name="connsiteX81" fmla="*/ 7230 w 10000"/>
                <a:gd name="connsiteY81" fmla="*/ 7088 h 10760"/>
                <a:gd name="connsiteX82" fmla="*/ 7793 w 10000"/>
                <a:gd name="connsiteY82" fmla="*/ 7238 h 10760"/>
                <a:gd name="connsiteX83" fmla="*/ 8263 w 10000"/>
                <a:gd name="connsiteY83" fmla="*/ 7626 h 10760"/>
                <a:gd name="connsiteX84" fmla="*/ 8638 w 10000"/>
                <a:gd name="connsiteY84" fmla="*/ 8372 h 10760"/>
                <a:gd name="connsiteX85" fmla="*/ 9014 w 10000"/>
                <a:gd name="connsiteY85" fmla="*/ 8342 h 10760"/>
                <a:gd name="connsiteX86" fmla="*/ 10000 w 10000"/>
                <a:gd name="connsiteY86" fmla="*/ 9088 h 10760"/>
                <a:gd name="connsiteX87" fmla="*/ 8826 w 10000"/>
                <a:gd name="connsiteY87" fmla="*/ 9894 h 10760"/>
                <a:gd name="connsiteX88" fmla="*/ 9296 w 10000"/>
                <a:gd name="connsiteY88" fmla="*/ 10491 h 10760"/>
                <a:gd name="connsiteX89" fmla="*/ 9108 w 10000"/>
                <a:gd name="connsiteY89" fmla="*/ 10730 h 10760"/>
                <a:gd name="connsiteX90" fmla="*/ 8826 w 10000"/>
                <a:gd name="connsiteY90" fmla="*/ 10491 h 10760"/>
                <a:gd name="connsiteX91" fmla="*/ 6948 w 10000"/>
                <a:gd name="connsiteY91" fmla="*/ 10461 h 10760"/>
                <a:gd name="connsiteX92" fmla="*/ 6620 w 10000"/>
                <a:gd name="connsiteY92" fmla="*/ 10760 h 10760"/>
                <a:gd name="connsiteX93" fmla="*/ 6056 w 10000"/>
                <a:gd name="connsiteY93" fmla="*/ 10730 h 10760"/>
                <a:gd name="connsiteX0" fmla="*/ 6112 w 10056"/>
                <a:gd name="connsiteY0" fmla="*/ 10730 h 10760"/>
                <a:gd name="connsiteX1" fmla="*/ 6206 w 10056"/>
                <a:gd name="connsiteY1" fmla="*/ 9894 h 10760"/>
                <a:gd name="connsiteX2" fmla="*/ 6488 w 10056"/>
                <a:gd name="connsiteY2" fmla="*/ 9088 h 10760"/>
                <a:gd name="connsiteX3" fmla="*/ 5690 w 10056"/>
                <a:gd name="connsiteY3" fmla="*/ 8909 h 10760"/>
                <a:gd name="connsiteX4" fmla="*/ 5455 w 10056"/>
                <a:gd name="connsiteY4" fmla="*/ 8730 h 10760"/>
                <a:gd name="connsiteX5" fmla="*/ 5079 w 10056"/>
                <a:gd name="connsiteY5" fmla="*/ 8820 h 10760"/>
                <a:gd name="connsiteX6" fmla="*/ 4751 w 10056"/>
                <a:gd name="connsiteY6" fmla="*/ 8253 h 10760"/>
                <a:gd name="connsiteX7" fmla="*/ 4187 w 10056"/>
                <a:gd name="connsiteY7" fmla="*/ 7894 h 10760"/>
                <a:gd name="connsiteX8" fmla="*/ 3765 w 10056"/>
                <a:gd name="connsiteY8" fmla="*/ 7924 h 10760"/>
                <a:gd name="connsiteX9" fmla="*/ 3859 w 10056"/>
                <a:gd name="connsiteY9" fmla="*/ 8103 h 10760"/>
                <a:gd name="connsiteX10" fmla="*/ 3389 w 10056"/>
                <a:gd name="connsiteY10" fmla="*/ 8133 h 10760"/>
                <a:gd name="connsiteX11" fmla="*/ 3342 w 10056"/>
                <a:gd name="connsiteY11" fmla="*/ 7447 h 10760"/>
                <a:gd name="connsiteX12" fmla="*/ 2591 w 10056"/>
                <a:gd name="connsiteY12" fmla="*/ 7417 h 10760"/>
                <a:gd name="connsiteX13" fmla="*/ 2685 w 10056"/>
                <a:gd name="connsiteY13" fmla="*/ 7118 h 10760"/>
                <a:gd name="connsiteX14" fmla="*/ 2356 w 10056"/>
                <a:gd name="connsiteY14" fmla="*/ 7029 h 10760"/>
                <a:gd name="connsiteX15" fmla="*/ 2169 w 10056"/>
                <a:gd name="connsiteY15" fmla="*/ 6521 h 10760"/>
                <a:gd name="connsiteX16" fmla="*/ 2497 w 10056"/>
                <a:gd name="connsiteY16" fmla="*/ 6372 h 10760"/>
                <a:gd name="connsiteX17" fmla="*/ 2967 w 10056"/>
                <a:gd name="connsiteY17" fmla="*/ 5984 h 10760"/>
                <a:gd name="connsiteX18" fmla="*/ 2685 w 10056"/>
                <a:gd name="connsiteY18" fmla="*/ 5775 h 10760"/>
                <a:gd name="connsiteX19" fmla="*/ 3248 w 10056"/>
                <a:gd name="connsiteY19" fmla="*/ 5447 h 10760"/>
                <a:gd name="connsiteX20" fmla="*/ 2685 w 10056"/>
                <a:gd name="connsiteY20" fmla="*/ 5447 h 10760"/>
                <a:gd name="connsiteX21" fmla="*/ 2685 w 10056"/>
                <a:gd name="connsiteY21" fmla="*/ 5088 h 10760"/>
                <a:gd name="connsiteX22" fmla="*/ 2873 w 10056"/>
                <a:gd name="connsiteY22" fmla="*/ 4521 h 10760"/>
                <a:gd name="connsiteX23" fmla="*/ 2638 w 10056"/>
                <a:gd name="connsiteY23" fmla="*/ 4044 h 10760"/>
                <a:gd name="connsiteX24" fmla="*/ 3344 w 10056"/>
                <a:gd name="connsiteY24" fmla="*/ 3532 h 10760"/>
                <a:gd name="connsiteX25" fmla="*/ 2946 w 10056"/>
                <a:gd name="connsiteY25" fmla="*/ 3342 h 10760"/>
                <a:gd name="connsiteX26" fmla="*/ 2676 w 10056"/>
                <a:gd name="connsiteY26" fmla="*/ 3260 h 10760"/>
                <a:gd name="connsiteX27" fmla="*/ 1981 w 10056"/>
                <a:gd name="connsiteY27" fmla="*/ 3357 h 10760"/>
                <a:gd name="connsiteX28" fmla="*/ 1743 w 10056"/>
                <a:gd name="connsiteY28" fmla="*/ 3336 h 10760"/>
                <a:gd name="connsiteX29" fmla="*/ 1371 w 10056"/>
                <a:gd name="connsiteY29" fmla="*/ 3118 h 10760"/>
                <a:gd name="connsiteX30" fmla="*/ 995 w 10056"/>
                <a:gd name="connsiteY30" fmla="*/ 2939 h 10760"/>
                <a:gd name="connsiteX31" fmla="*/ 225 w 10056"/>
                <a:gd name="connsiteY31" fmla="*/ 2950 h 10760"/>
                <a:gd name="connsiteX32" fmla="*/ 7 w 10056"/>
                <a:gd name="connsiteY32" fmla="*/ 2306 h 10760"/>
                <a:gd name="connsiteX33" fmla="*/ 244 w 10056"/>
                <a:gd name="connsiteY33" fmla="*/ 2820 h 10760"/>
                <a:gd name="connsiteX34" fmla="*/ 56 w 10056"/>
                <a:gd name="connsiteY34" fmla="*/ 2790 h 10760"/>
                <a:gd name="connsiteX35" fmla="*/ 414 w 10056"/>
                <a:gd name="connsiteY35" fmla="*/ 1986 h 10760"/>
                <a:gd name="connsiteX36" fmla="*/ 1063 w 10056"/>
                <a:gd name="connsiteY36" fmla="*/ 1999 h 10760"/>
                <a:gd name="connsiteX37" fmla="*/ 1840 w 10056"/>
                <a:gd name="connsiteY37" fmla="*/ 2461 h 10760"/>
                <a:gd name="connsiteX38" fmla="*/ 764 w 10056"/>
                <a:gd name="connsiteY38" fmla="*/ 2015 h 10760"/>
                <a:gd name="connsiteX39" fmla="*/ 1075 w 10056"/>
                <a:gd name="connsiteY39" fmla="*/ 2021 h 10760"/>
                <a:gd name="connsiteX40" fmla="*/ 1237 w 10056"/>
                <a:gd name="connsiteY40" fmla="*/ 2083 h 10760"/>
                <a:gd name="connsiteX41" fmla="*/ 2122 w 10056"/>
                <a:gd name="connsiteY41" fmla="*/ 2820 h 10760"/>
                <a:gd name="connsiteX42" fmla="*/ 1910 w 10056"/>
                <a:gd name="connsiteY42" fmla="*/ 2178 h 10760"/>
                <a:gd name="connsiteX43" fmla="*/ 2236 w 10056"/>
                <a:gd name="connsiteY43" fmla="*/ 1886 h 10760"/>
                <a:gd name="connsiteX44" fmla="*/ 2361 w 10056"/>
                <a:gd name="connsiteY44" fmla="*/ 1793 h 10760"/>
                <a:gd name="connsiteX45" fmla="*/ 3061 w 10056"/>
                <a:gd name="connsiteY45" fmla="*/ 1805 h 10760"/>
                <a:gd name="connsiteX46" fmla="*/ 2779 w 10056"/>
                <a:gd name="connsiteY46" fmla="*/ 1835 h 10760"/>
                <a:gd name="connsiteX47" fmla="*/ 2591 w 10056"/>
                <a:gd name="connsiteY47" fmla="*/ 1596 h 10760"/>
                <a:gd name="connsiteX48" fmla="*/ 2574 w 10056"/>
                <a:gd name="connsiteY48" fmla="*/ 1359 h 10760"/>
                <a:gd name="connsiteX49" fmla="*/ 2622 w 10056"/>
                <a:gd name="connsiteY49" fmla="*/ 1009 h 10760"/>
                <a:gd name="connsiteX50" fmla="*/ 2356 w 10056"/>
                <a:gd name="connsiteY50" fmla="*/ 1059 h 10760"/>
                <a:gd name="connsiteX51" fmla="*/ 2310 w 10056"/>
                <a:gd name="connsiteY51" fmla="*/ 879 h 10760"/>
                <a:gd name="connsiteX52" fmla="*/ 2425 w 10056"/>
                <a:gd name="connsiteY52" fmla="*/ 580 h 10760"/>
                <a:gd name="connsiteX53" fmla="*/ 2323 w 10056"/>
                <a:gd name="connsiteY53" fmla="*/ 0 h 10760"/>
                <a:gd name="connsiteX54" fmla="*/ 3621 w 10056"/>
                <a:gd name="connsiteY54" fmla="*/ 195 h 10760"/>
                <a:gd name="connsiteX55" fmla="*/ 4657 w 10056"/>
                <a:gd name="connsiteY55" fmla="*/ 1088 h 10760"/>
                <a:gd name="connsiteX56" fmla="*/ 4917 w 10056"/>
                <a:gd name="connsiteY56" fmla="*/ 1091 h 10760"/>
                <a:gd name="connsiteX57" fmla="*/ 4983 w 10056"/>
                <a:gd name="connsiteY57" fmla="*/ 1196 h 10760"/>
                <a:gd name="connsiteX58" fmla="*/ 5199 w 10056"/>
                <a:gd name="connsiteY58" fmla="*/ 1300 h 10760"/>
                <a:gd name="connsiteX59" fmla="*/ 5640 w 10056"/>
                <a:gd name="connsiteY59" fmla="*/ 1256 h 10760"/>
                <a:gd name="connsiteX60" fmla="*/ 5690 w 10056"/>
                <a:gd name="connsiteY60" fmla="*/ 1745 h 10760"/>
                <a:gd name="connsiteX61" fmla="*/ 5971 w 10056"/>
                <a:gd name="connsiteY61" fmla="*/ 1596 h 10760"/>
                <a:gd name="connsiteX62" fmla="*/ 6159 w 10056"/>
                <a:gd name="connsiteY62" fmla="*/ 1924 h 10760"/>
                <a:gd name="connsiteX63" fmla="*/ 5737 w 10056"/>
                <a:gd name="connsiteY63" fmla="*/ 2163 h 10760"/>
                <a:gd name="connsiteX64" fmla="*/ 6065 w 10056"/>
                <a:gd name="connsiteY64" fmla="*/ 2282 h 10760"/>
                <a:gd name="connsiteX65" fmla="*/ 5971 w 10056"/>
                <a:gd name="connsiteY65" fmla="*/ 2700 h 10760"/>
                <a:gd name="connsiteX66" fmla="*/ 6866 w 10056"/>
                <a:gd name="connsiteY66" fmla="*/ 3130 h 10760"/>
                <a:gd name="connsiteX67" fmla="*/ 5479 w 10056"/>
                <a:gd name="connsiteY67" fmla="*/ 3332 h 10760"/>
                <a:gd name="connsiteX68" fmla="*/ 5732 w 10056"/>
                <a:gd name="connsiteY68" fmla="*/ 3764 h 10760"/>
                <a:gd name="connsiteX69" fmla="*/ 6159 w 10056"/>
                <a:gd name="connsiteY69" fmla="*/ 3715 h 10760"/>
                <a:gd name="connsiteX70" fmla="*/ 5690 w 10056"/>
                <a:gd name="connsiteY70" fmla="*/ 3805 h 10760"/>
                <a:gd name="connsiteX71" fmla="*/ 6022 w 10056"/>
                <a:gd name="connsiteY71" fmla="*/ 3949 h 10760"/>
                <a:gd name="connsiteX72" fmla="*/ 5923 w 10056"/>
                <a:gd name="connsiteY72" fmla="*/ 4185 h 10760"/>
                <a:gd name="connsiteX73" fmla="*/ 6206 w 10056"/>
                <a:gd name="connsiteY73" fmla="*/ 4909 h 10760"/>
                <a:gd name="connsiteX74" fmla="*/ 5596 w 10056"/>
                <a:gd name="connsiteY74" fmla="*/ 4939 h 10760"/>
                <a:gd name="connsiteX75" fmla="*/ 5596 w 10056"/>
                <a:gd name="connsiteY75" fmla="*/ 5357 h 10760"/>
                <a:gd name="connsiteX76" fmla="*/ 4657 w 10056"/>
                <a:gd name="connsiteY76" fmla="*/ 5775 h 10760"/>
                <a:gd name="connsiteX77" fmla="*/ 4939 w 10056"/>
                <a:gd name="connsiteY77" fmla="*/ 6163 h 10760"/>
                <a:gd name="connsiteX78" fmla="*/ 4704 w 10056"/>
                <a:gd name="connsiteY78" fmla="*/ 6521 h 10760"/>
                <a:gd name="connsiteX79" fmla="*/ 5502 w 10056"/>
                <a:gd name="connsiteY79" fmla="*/ 7208 h 10760"/>
                <a:gd name="connsiteX80" fmla="*/ 6629 w 10056"/>
                <a:gd name="connsiteY80" fmla="*/ 7208 h 10760"/>
                <a:gd name="connsiteX81" fmla="*/ 7286 w 10056"/>
                <a:gd name="connsiteY81" fmla="*/ 7088 h 10760"/>
                <a:gd name="connsiteX82" fmla="*/ 7849 w 10056"/>
                <a:gd name="connsiteY82" fmla="*/ 7238 h 10760"/>
                <a:gd name="connsiteX83" fmla="*/ 8319 w 10056"/>
                <a:gd name="connsiteY83" fmla="*/ 7626 h 10760"/>
                <a:gd name="connsiteX84" fmla="*/ 8694 w 10056"/>
                <a:gd name="connsiteY84" fmla="*/ 8372 h 10760"/>
                <a:gd name="connsiteX85" fmla="*/ 9070 w 10056"/>
                <a:gd name="connsiteY85" fmla="*/ 8342 h 10760"/>
                <a:gd name="connsiteX86" fmla="*/ 10056 w 10056"/>
                <a:gd name="connsiteY86" fmla="*/ 9088 h 10760"/>
                <a:gd name="connsiteX87" fmla="*/ 8882 w 10056"/>
                <a:gd name="connsiteY87" fmla="*/ 9894 h 10760"/>
                <a:gd name="connsiteX88" fmla="*/ 9352 w 10056"/>
                <a:gd name="connsiteY88" fmla="*/ 10491 h 10760"/>
                <a:gd name="connsiteX89" fmla="*/ 9164 w 10056"/>
                <a:gd name="connsiteY89" fmla="*/ 10730 h 10760"/>
                <a:gd name="connsiteX90" fmla="*/ 8882 w 10056"/>
                <a:gd name="connsiteY90" fmla="*/ 10491 h 10760"/>
                <a:gd name="connsiteX91" fmla="*/ 7004 w 10056"/>
                <a:gd name="connsiteY91" fmla="*/ 10461 h 10760"/>
                <a:gd name="connsiteX92" fmla="*/ 6676 w 10056"/>
                <a:gd name="connsiteY92" fmla="*/ 10760 h 10760"/>
                <a:gd name="connsiteX93" fmla="*/ 6112 w 10056"/>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2231 w 10165"/>
                <a:gd name="connsiteY41" fmla="*/ 2820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90 w 10165"/>
                <a:gd name="connsiteY27" fmla="*/ 3357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1104 w 10165"/>
                <a:gd name="connsiteY30" fmla="*/ 2939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268 w 10165"/>
                <a:gd name="connsiteY62" fmla="*/ 1924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5846 w 10165"/>
                <a:gd name="connsiteY63" fmla="*/ 2163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6174 w 10165"/>
                <a:gd name="connsiteY64" fmla="*/ 2282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6080 w 10165"/>
                <a:gd name="connsiteY65" fmla="*/ 2700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6975 w 10165"/>
                <a:gd name="connsiteY66" fmla="*/ 3130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5588 w 10165"/>
                <a:gd name="connsiteY67" fmla="*/ 3332 h 10760"/>
                <a:gd name="connsiteX68" fmla="*/ 5841 w 10165"/>
                <a:gd name="connsiteY68" fmla="*/ 3764 h 10760"/>
                <a:gd name="connsiteX69" fmla="*/ 6268 w 10165"/>
                <a:gd name="connsiteY69" fmla="*/ 3715 h 10760"/>
                <a:gd name="connsiteX70" fmla="*/ 5799 w 10165"/>
                <a:gd name="connsiteY70" fmla="*/ 3805 h 10760"/>
                <a:gd name="connsiteX71" fmla="*/ 6131 w 10165"/>
                <a:gd name="connsiteY71" fmla="*/ 3949 h 10760"/>
                <a:gd name="connsiteX72" fmla="*/ 6032 w 10165"/>
                <a:gd name="connsiteY72" fmla="*/ 4185 h 10760"/>
                <a:gd name="connsiteX73" fmla="*/ 6315 w 10165"/>
                <a:gd name="connsiteY73" fmla="*/ 4909 h 10760"/>
                <a:gd name="connsiteX74" fmla="*/ 5705 w 10165"/>
                <a:gd name="connsiteY74" fmla="*/ 4939 h 10760"/>
                <a:gd name="connsiteX75" fmla="*/ 5705 w 10165"/>
                <a:gd name="connsiteY75" fmla="*/ 5357 h 10760"/>
                <a:gd name="connsiteX76" fmla="*/ 4766 w 10165"/>
                <a:gd name="connsiteY76" fmla="*/ 5775 h 10760"/>
                <a:gd name="connsiteX77" fmla="*/ 5048 w 10165"/>
                <a:gd name="connsiteY77" fmla="*/ 6163 h 10760"/>
                <a:gd name="connsiteX78" fmla="*/ 4813 w 10165"/>
                <a:gd name="connsiteY78" fmla="*/ 6521 h 10760"/>
                <a:gd name="connsiteX79" fmla="*/ 5611 w 10165"/>
                <a:gd name="connsiteY79" fmla="*/ 7208 h 10760"/>
                <a:gd name="connsiteX80" fmla="*/ 6738 w 10165"/>
                <a:gd name="connsiteY80" fmla="*/ 7208 h 10760"/>
                <a:gd name="connsiteX81" fmla="*/ 7395 w 10165"/>
                <a:gd name="connsiteY81" fmla="*/ 7088 h 10760"/>
                <a:gd name="connsiteX82" fmla="*/ 7958 w 10165"/>
                <a:gd name="connsiteY82" fmla="*/ 7238 h 10760"/>
                <a:gd name="connsiteX83" fmla="*/ 8428 w 10165"/>
                <a:gd name="connsiteY83" fmla="*/ 7626 h 10760"/>
                <a:gd name="connsiteX84" fmla="*/ 8803 w 10165"/>
                <a:gd name="connsiteY84" fmla="*/ 8372 h 10760"/>
                <a:gd name="connsiteX85" fmla="*/ 9179 w 10165"/>
                <a:gd name="connsiteY85" fmla="*/ 8342 h 10760"/>
                <a:gd name="connsiteX86" fmla="*/ 10165 w 10165"/>
                <a:gd name="connsiteY86" fmla="*/ 9088 h 10760"/>
                <a:gd name="connsiteX87" fmla="*/ 8991 w 10165"/>
                <a:gd name="connsiteY87" fmla="*/ 9894 h 10760"/>
                <a:gd name="connsiteX88" fmla="*/ 9461 w 10165"/>
                <a:gd name="connsiteY88" fmla="*/ 10491 h 10760"/>
                <a:gd name="connsiteX89" fmla="*/ 9273 w 10165"/>
                <a:gd name="connsiteY89" fmla="*/ 10730 h 10760"/>
                <a:gd name="connsiteX90" fmla="*/ 8991 w 10165"/>
                <a:gd name="connsiteY90" fmla="*/ 10491 h 10760"/>
                <a:gd name="connsiteX91" fmla="*/ 7113 w 10165"/>
                <a:gd name="connsiteY91" fmla="*/ 10461 h 10760"/>
                <a:gd name="connsiteX92" fmla="*/ 6785 w 10165"/>
                <a:gd name="connsiteY92" fmla="*/ 10760 h 10760"/>
                <a:gd name="connsiteX93" fmla="*/ 6221 w 10165"/>
                <a:gd name="connsiteY93"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7647 w 10165"/>
                <a:gd name="connsiteY67" fmla="*/ 2090 h 10760"/>
                <a:gd name="connsiteX68" fmla="*/ 5588 w 10165"/>
                <a:gd name="connsiteY68" fmla="*/ 3332 h 10760"/>
                <a:gd name="connsiteX69" fmla="*/ 5841 w 10165"/>
                <a:gd name="connsiteY69" fmla="*/ 3764 h 10760"/>
                <a:gd name="connsiteX70" fmla="*/ 6268 w 10165"/>
                <a:gd name="connsiteY70" fmla="*/ 3715 h 10760"/>
                <a:gd name="connsiteX71" fmla="*/ 5799 w 10165"/>
                <a:gd name="connsiteY71" fmla="*/ 3805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7647 w 10165"/>
                <a:gd name="connsiteY67" fmla="*/ 2090 h 10760"/>
                <a:gd name="connsiteX68" fmla="*/ 5588 w 10165"/>
                <a:gd name="connsiteY68" fmla="*/ 3332 h 10760"/>
                <a:gd name="connsiteX69" fmla="*/ 5841 w 10165"/>
                <a:gd name="connsiteY69" fmla="*/ 3764 h 10760"/>
                <a:gd name="connsiteX70" fmla="*/ 6268 w 10165"/>
                <a:gd name="connsiteY70" fmla="*/ 3715 h 10760"/>
                <a:gd name="connsiteX71" fmla="*/ 5799 w 10165"/>
                <a:gd name="connsiteY71" fmla="*/ 3805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7647 w 10165"/>
                <a:gd name="connsiteY67" fmla="*/ 2090 h 10760"/>
                <a:gd name="connsiteX68" fmla="*/ 5588 w 10165"/>
                <a:gd name="connsiteY68" fmla="*/ 3332 h 10760"/>
                <a:gd name="connsiteX69" fmla="*/ 5841 w 10165"/>
                <a:gd name="connsiteY69" fmla="*/ 3764 h 10760"/>
                <a:gd name="connsiteX70" fmla="*/ 6268 w 10165"/>
                <a:gd name="connsiteY70" fmla="*/ 3715 h 10760"/>
                <a:gd name="connsiteX71" fmla="*/ 5799 w 10165"/>
                <a:gd name="connsiteY71" fmla="*/ 3805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5588 w 10165"/>
                <a:gd name="connsiteY68" fmla="*/ 3332 h 10760"/>
                <a:gd name="connsiteX69" fmla="*/ 5841 w 10165"/>
                <a:gd name="connsiteY69" fmla="*/ 3764 h 10760"/>
                <a:gd name="connsiteX70" fmla="*/ 6268 w 10165"/>
                <a:gd name="connsiteY70" fmla="*/ 3715 h 10760"/>
                <a:gd name="connsiteX71" fmla="*/ 5799 w 10165"/>
                <a:gd name="connsiteY71" fmla="*/ 3805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9759 w 10165"/>
                <a:gd name="connsiteY68" fmla="*/ 1213 h 10760"/>
                <a:gd name="connsiteX69" fmla="*/ 5841 w 10165"/>
                <a:gd name="connsiteY69" fmla="*/ 3764 h 10760"/>
                <a:gd name="connsiteX70" fmla="*/ 6268 w 10165"/>
                <a:gd name="connsiteY70" fmla="*/ 3715 h 10760"/>
                <a:gd name="connsiteX71" fmla="*/ 5799 w 10165"/>
                <a:gd name="connsiteY71" fmla="*/ 3805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9759 w 10165"/>
                <a:gd name="connsiteY68" fmla="*/ 1213 h 10760"/>
                <a:gd name="connsiteX69" fmla="*/ 5841 w 10165"/>
                <a:gd name="connsiteY69" fmla="*/ 3764 h 10760"/>
                <a:gd name="connsiteX70" fmla="*/ 6268 w 10165"/>
                <a:gd name="connsiteY70" fmla="*/ 3715 h 10760"/>
                <a:gd name="connsiteX71" fmla="*/ 5799 w 10165"/>
                <a:gd name="connsiteY71" fmla="*/ 3805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9759 w 10165"/>
                <a:gd name="connsiteY68" fmla="*/ 1213 h 10760"/>
                <a:gd name="connsiteX69" fmla="*/ 5841 w 10165"/>
                <a:gd name="connsiteY69" fmla="*/ 3764 h 10760"/>
                <a:gd name="connsiteX70" fmla="*/ 6268 w 10165"/>
                <a:gd name="connsiteY70" fmla="*/ 3715 h 10760"/>
                <a:gd name="connsiteX71" fmla="*/ 9135 w 10165"/>
                <a:gd name="connsiteY71" fmla="*/ 4156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9759 w 10165"/>
                <a:gd name="connsiteY68" fmla="*/ 1213 h 10760"/>
                <a:gd name="connsiteX69" fmla="*/ 9371 w 10165"/>
                <a:gd name="connsiteY69" fmla="*/ 1544 h 10760"/>
                <a:gd name="connsiteX70" fmla="*/ 6268 w 10165"/>
                <a:gd name="connsiteY70" fmla="*/ 3715 h 10760"/>
                <a:gd name="connsiteX71" fmla="*/ 9135 w 10165"/>
                <a:gd name="connsiteY71" fmla="*/ 4156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9759 w 10165"/>
                <a:gd name="connsiteY68" fmla="*/ 1213 h 10760"/>
                <a:gd name="connsiteX69" fmla="*/ 9371 w 10165"/>
                <a:gd name="connsiteY69" fmla="*/ 1544 h 10760"/>
                <a:gd name="connsiteX70" fmla="*/ 6268 w 10165"/>
                <a:gd name="connsiteY70" fmla="*/ 3715 h 10760"/>
                <a:gd name="connsiteX71" fmla="*/ 9135 w 10165"/>
                <a:gd name="connsiteY71" fmla="*/ 4156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335"/>
                <a:gd name="connsiteY0" fmla="*/ 10730 h 10760"/>
                <a:gd name="connsiteX1" fmla="*/ 6315 w 10335"/>
                <a:gd name="connsiteY1" fmla="*/ 9894 h 10760"/>
                <a:gd name="connsiteX2" fmla="*/ 6597 w 10335"/>
                <a:gd name="connsiteY2" fmla="*/ 9088 h 10760"/>
                <a:gd name="connsiteX3" fmla="*/ 5799 w 10335"/>
                <a:gd name="connsiteY3" fmla="*/ 8909 h 10760"/>
                <a:gd name="connsiteX4" fmla="*/ 5564 w 10335"/>
                <a:gd name="connsiteY4" fmla="*/ 8730 h 10760"/>
                <a:gd name="connsiteX5" fmla="*/ 5188 w 10335"/>
                <a:gd name="connsiteY5" fmla="*/ 8820 h 10760"/>
                <a:gd name="connsiteX6" fmla="*/ 4860 w 10335"/>
                <a:gd name="connsiteY6" fmla="*/ 8253 h 10760"/>
                <a:gd name="connsiteX7" fmla="*/ 4296 w 10335"/>
                <a:gd name="connsiteY7" fmla="*/ 7894 h 10760"/>
                <a:gd name="connsiteX8" fmla="*/ 3874 w 10335"/>
                <a:gd name="connsiteY8" fmla="*/ 7924 h 10760"/>
                <a:gd name="connsiteX9" fmla="*/ 3968 w 10335"/>
                <a:gd name="connsiteY9" fmla="*/ 8103 h 10760"/>
                <a:gd name="connsiteX10" fmla="*/ 3498 w 10335"/>
                <a:gd name="connsiteY10" fmla="*/ 8133 h 10760"/>
                <a:gd name="connsiteX11" fmla="*/ 3451 w 10335"/>
                <a:gd name="connsiteY11" fmla="*/ 7447 h 10760"/>
                <a:gd name="connsiteX12" fmla="*/ 2700 w 10335"/>
                <a:gd name="connsiteY12" fmla="*/ 7417 h 10760"/>
                <a:gd name="connsiteX13" fmla="*/ 2794 w 10335"/>
                <a:gd name="connsiteY13" fmla="*/ 7118 h 10760"/>
                <a:gd name="connsiteX14" fmla="*/ 2465 w 10335"/>
                <a:gd name="connsiteY14" fmla="*/ 7029 h 10760"/>
                <a:gd name="connsiteX15" fmla="*/ 2278 w 10335"/>
                <a:gd name="connsiteY15" fmla="*/ 6521 h 10760"/>
                <a:gd name="connsiteX16" fmla="*/ 2606 w 10335"/>
                <a:gd name="connsiteY16" fmla="*/ 6372 h 10760"/>
                <a:gd name="connsiteX17" fmla="*/ 3076 w 10335"/>
                <a:gd name="connsiteY17" fmla="*/ 5984 h 10760"/>
                <a:gd name="connsiteX18" fmla="*/ 2794 w 10335"/>
                <a:gd name="connsiteY18" fmla="*/ 5775 h 10760"/>
                <a:gd name="connsiteX19" fmla="*/ 3357 w 10335"/>
                <a:gd name="connsiteY19" fmla="*/ 5447 h 10760"/>
                <a:gd name="connsiteX20" fmla="*/ 2794 w 10335"/>
                <a:gd name="connsiteY20" fmla="*/ 5447 h 10760"/>
                <a:gd name="connsiteX21" fmla="*/ 2794 w 10335"/>
                <a:gd name="connsiteY21" fmla="*/ 5088 h 10760"/>
                <a:gd name="connsiteX22" fmla="*/ 2982 w 10335"/>
                <a:gd name="connsiteY22" fmla="*/ 4521 h 10760"/>
                <a:gd name="connsiteX23" fmla="*/ 2747 w 10335"/>
                <a:gd name="connsiteY23" fmla="*/ 4044 h 10760"/>
                <a:gd name="connsiteX24" fmla="*/ 3453 w 10335"/>
                <a:gd name="connsiteY24" fmla="*/ 3532 h 10760"/>
                <a:gd name="connsiteX25" fmla="*/ 3055 w 10335"/>
                <a:gd name="connsiteY25" fmla="*/ 3342 h 10760"/>
                <a:gd name="connsiteX26" fmla="*/ 2785 w 10335"/>
                <a:gd name="connsiteY26" fmla="*/ 3260 h 10760"/>
                <a:gd name="connsiteX27" fmla="*/ 2078 w 10335"/>
                <a:gd name="connsiteY27" fmla="*/ 3486 h 10760"/>
                <a:gd name="connsiteX28" fmla="*/ 1852 w 10335"/>
                <a:gd name="connsiteY28" fmla="*/ 3336 h 10760"/>
                <a:gd name="connsiteX29" fmla="*/ 1480 w 10335"/>
                <a:gd name="connsiteY29" fmla="*/ 3118 h 10760"/>
                <a:gd name="connsiteX30" fmla="*/ 793 w 10335"/>
                <a:gd name="connsiteY30" fmla="*/ 3070 h 10760"/>
                <a:gd name="connsiteX31" fmla="*/ 334 w 10335"/>
                <a:gd name="connsiteY31" fmla="*/ 2950 h 10760"/>
                <a:gd name="connsiteX32" fmla="*/ 6 w 10335"/>
                <a:gd name="connsiteY32" fmla="*/ 2316 h 10760"/>
                <a:gd name="connsiteX33" fmla="*/ 353 w 10335"/>
                <a:gd name="connsiteY33" fmla="*/ 2820 h 10760"/>
                <a:gd name="connsiteX34" fmla="*/ 165 w 10335"/>
                <a:gd name="connsiteY34" fmla="*/ 2790 h 10760"/>
                <a:gd name="connsiteX35" fmla="*/ 523 w 10335"/>
                <a:gd name="connsiteY35" fmla="*/ 1986 h 10760"/>
                <a:gd name="connsiteX36" fmla="*/ 1172 w 10335"/>
                <a:gd name="connsiteY36" fmla="*/ 1999 h 10760"/>
                <a:gd name="connsiteX37" fmla="*/ 1949 w 10335"/>
                <a:gd name="connsiteY37" fmla="*/ 2461 h 10760"/>
                <a:gd name="connsiteX38" fmla="*/ 873 w 10335"/>
                <a:gd name="connsiteY38" fmla="*/ 2015 h 10760"/>
                <a:gd name="connsiteX39" fmla="*/ 1184 w 10335"/>
                <a:gd name="connsiteY39" fmla="*/ 2021 h 10760"/>
                <a:gd name="connsiteX40" fmla="*/ 1346 w 10335"/>
                <a:gd name="connsiteY40" fmla="*/ 2083 h 10760"/>
                <a:gd name="connsiteX41" fmla="*/ 1821 w 10335"/>
                <a:gd name="connsiteY41" fmla="*/ 2449 h 10760"/>
                <a:gd name="connsiteX42" fmla="*/ 2019 w 10335"/>
                <a:gd name="connsiteY42" fmla="*/ 2178 h 10760"/>
                <a:gd name="connsiteX43" fmla="*/ 2345 w 10335"/>
                <a:gd name="connsiteY43" fmla="*/ 1886 h 10760"/>
                <a:gd name="connsiteX44" fmla="*/ 2470 w 10335"/>
                <a:gd name="connsiteY44" fmla="*/ 1793 h 10760"/>
                <a:gd name="connsiteX45" fmla="*/ 3170 w 10335"/>
                <a:gd name="connsiteY45" fmla="*/ 1805 h 10760"/>
                <a:gd name="connsiteX46" fmla="*/ 2888 w 10335"/>
                <a:gd name="connsiteY46" fmla="*/ 1835 h 10760"/>
                <a:gd name="connsiteX47" fmla="*/ 2700 w 10335"/>
                <a:gd name="connsiteY47" fmla="*/ 1596 h 10760"/>
                <a:gd name="connsiteX48" fmla="*/ 2683 w 10335"/>
                <a:gd name="connsiteY48" fmla="*/ 1359 h 10760"/>
                <a:gd name="connsiteX49" fmla="*/ 2731 w 10335"/>
                <a:gd name="connsiteY49" fmla="*/ 1009 h 10760"/>
                <a:gd name="connsiteX50" fmla="*/ 2465 w 10335"/>
                <a:gd name="connsiteY50" fmla="*/ 1059 h 10760"/>
                <a:gd name="connsiteX51" fmla="*/ 2419 w 10335"/>
                <a:gd name="connsiteY51" fmla="*/ 879 h 10760"/>
                <a:gd name="connsiteX52" fmla="*/ 2534 w 10335"/>
                <a:gd name="connsiteY52" fmla="*/ 580 h 10760"/>
                <a:gd name="connsiteX53" fmla="*/ 2432 w 10335"/>
                <a:gd name="connsiteY53" fmla="*/ 0 h 10760"/>
                <a:gd name="connsiteX54" fmla="*/ 3730 w 10335"/>
                <a:gd name="connsiteY54" fmla="*/ 195 h 10760"/>
                <a:gd name="connsiteX55" fmla="*/ 4766 w 10335"/>
                <a:gd name="connsiteY55" fmla="*/ 1088 h 10760"/>
                <a:gd name="connsiteX56" fmla="*/ 5026 w 10335"/>
                <a:gd name="connsiteY56" fmla="*/ 1091 h 10760"/>
                <a:gd name="connsiteX57" fmla="*/ 5092 w 10335"/>
                <a:gd name="connsiteY57" fmla="*/ 1196 h 10760"/>
                <a:gd name="connsiteX58" fmla="*/ 5308 w 10335"/>
                <a:gd name="connsiteY58" fmla="*/ 1300 h 10760"/>
                <a:gd name="connsiteX59" fmla="*/ 5749 w 10335"/>
                <a:gd name="connsiteY59" fmla="*/ 1256 h 10760"/>
                <a:gd name="connsiteX60" fmla="*/ 5799 w 10335"/>
                <a:gd name="connsiteY60" fmla="*/ 1745 h 10760"/>
                <a:gd name="connsiteX61" fmla="*/ 6080 w 10335"/>
                <a:gd name="connsiteY61" fmla="*/ 1596 h 10760"/>
                <a:gd name="connsiteX62" fmla="*/ 6595 w 10335"/>
                <a:gd name="connsiteY62" fmla="*/ 1755 h 10760"/>
                <a:gd name="connsiteX63" fmla="*/ 7332 w 10335"/>
                <a:gd name="connsiteY63" fmla="*/ 1218 h 10760"/>
                <a:gd name="connsiteX64" fmla="*/ 7756 w 10335"/>
                <a:gd name="connsiteY64" fmla="*/ 983 h 10760"/>
                <a:gd name="connsiteX65" fmla="*/ 8774 w 10335"/>
                <a:gd name="connsiteY65" fmla="*/ 1065 h 10760"/>
                <a:gd name="connsiteX66" fmla="*/ 9151 w 10335"/>
                <a:gd name="connsiteY66" fmla="*/ 1177 h 10760"/>
                <a:gd name="connsiteX67" fmla="*/ 9477 w 10335"/>
                <a:gd name="connsiteY67" fmla="*/ 721 h 10760"/>
                <a:gd name="connsiteX68" fmla="*/ 9759 w 10335"/>
                <a:gd name="connsiteY68" fmla="*/ 1213 h 10760"/>
                <a:gd name="connsiteX69" fmla="*/ 9371 w 10335"/>
                <a:gd name="connsiteY69" fmla="*/ 1544 h 10760"/>
                <a:gd name="connsiteX70" fmla="*/ 9991 w 10335"/>
                <a:gd name="connsiteY70" fmla="*/ 1477 h 10760"/>
                <a:gd name="connsiteX71" fmla="*/ 9135 w 10335"/>
                <a:gd name="connsiteY71" fmla="*/ 4156 h 10760"/>
                <a:gd name="connsiteX72" fmla="*/ 6131 w 10335"/>
                <a:gd name="connsiteY72" fmla="*/ 3949 h 10760"/>
                <a:gd name="connsiteX73" fmla="*/ 6032 w 10335"/>
                <a:gd name="connsiteY73" fmla="*/ 4185 h 10760"/>
                <a:gd name="connsiteX74" fmla="*/ 6315 w 10335"/>
                <a:gd name="connsiteY74" fmla="*/ 4909 h 10760"/>
                <a:gd name="connsiteX75" fmla="*/ 5705 w 10335"/>
                <a:gd name="connsiteY75" fmla="*/ 4939 h 10760"/>
                <a:gd name="connsiteX76" fmla="*/ 5705 w 10335"/>
                <a:gd name="connsiteY76" fmla="*/ 5357 h 10760"/>
                <a:gd name="connsiteX77" fmla="*/ 4766 w 10335"/>
                <a:gd name="connsiteY77" fmla="*/ 5775 h 10760"/>
                <a:gd name="connsiteX78" fmla="*/ 5048 w 10335"/>
                <a:gd name="connsiteY78" fmla="*/ 6163 h 10760"/>
                <a:gd name="connsiteX79" fmla="*/ 4813 w 10335"/>
                <a:gd name="connsiteY79" fmla="*/ 6521 h 10760"/>
                <a:gd name="connsiteX80" fmla="*/ 5611 w 10335"/>
                <a:gd name="connsiteY80" fmla="*/ 7208 h 10760"/>
                <a:gd name="connsiteX81" fmla="*/ 6738 w 10335"/>
                <a:gd name="connsiteY81" fmla="*/ 7208 h 10760"/>
                <a:gd name="connsiteX82" fmla="*/ 7395 w 10335"/>
                <a:gd name="connsiteY82" fmla="*/ 7088 h 10760"/>
                <a:gd name="connsiteX83" fmla="*/ 7958 w 10335"/>
                <a:gd name="connsiteY83" fmla="*/ 7238 h 10760"/>
                <a:gd name="connsiteX84" fmla="*/ 8428 w 10335"/>
                <a:gd name="connsiteY84" fmla="*/ 7626 h 10760"/>
                <a:gd name="connsiteX85" fmla="*/ 8803 w 10335"/>
                <a:gd name="connsiteY85" fmla="*/ 8372 h 10760"/>
                <a:gd name="connsiteX86" fmla="*/ 9179 w 10335"/>
                <a:gd name="connsiteY86" fmla="*/ 8342 h 10760"/>
                <a:gd name="connsiteX87" fmla="*/ 10165 w 10335"/>
                <a:gd name="connsiteY87" fmla="*/ 9088 h 10760"/>
                <a:gd name="connsiteX88" fmla="*/ 8991 w 10335"/>
                <a:gd name="connsiteY88" fmla="*/ 9894 h 10760"/>
                <a:gd name="connsiteX89" fmla="*/ 9461 w 10335"/>
                <a:gd name="connsiteY89" fmla="*/ 10491 h 10760"/>
                <a:gd name="connsiteX90" fmla="*/ 9273 w 10335"/>
                <a:gd name="connsiteY90" fmla="*/ 10730 h 10760"/>
                <a:gd name="connsiteX91" fmla="*/ 8991 w 10335"/>
                <a:gd name="connsiteY91" fmla="*/ 10491 h 10760"/>
                <a:gd name="connsiteX92" fmla="*/ 7113 w 10335"/>
                <a:gd name="connsiteY92" fmla="*/ 10461 h 10760"/>
                <a:gd name="connsiteX93" fmla="*/ 6785 w 10335"/>
                <a:gd name="connsiteY93" fmla="*/ 10760 h 10760"/>
                <a:gd name="connsiteX94" fmla="*/ 6221 w 1033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9759 w 10165"/>
                <a:gd name="connsiteY68" fmla="*/ 1213 h 10760"/>
                <a:gd name="connsiteX69" fmla="*/ 9371 w 10165"/>
                <a:gd name="connsiteY69" fmla="*/ 1544 h 10760"/>
                <a:gd name="connsiteX70" fmla="*/ 9991 w 10165"/>
                <a:gd name="connsiteY70" fmla="*/ 1477 h 10760"/>
                <a:gd name="connsiteX71" fmla="*/ 9135 w 10165"/>
                <a:gd name="connsiteY71" fmla="*/ 4156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165"/>
                <a:gd name="connsiteY0" fmla="*/ 10730 h 10760"/>
                <a:gd name="connsiteX1" fmla="*/ 6315 w 10165"/>
                <a:gd name="connsiteY1" fmla="*/ 9894 h 10760"/>
                <a:gd name="connsiteX2" fmla="*/ 6597 w 10165"/>
                <a:gd name="connsiteY2" fmla="*/ 9088 h 10760"/>
                <a:gd name="connsiteX3" fmla="*/ 5799 w 10165"/>
                <a:gd name="connsiteY3" fmla="*/ 8909 h 10760"/>
                <a:gd name="connsiteX4" fmla="*/ 5564 w 10165"/>
                <a:gd name="connsiteY4" fmla="*/ 8730 h 10760"/>
                <a:gd name="connsiteX5" fmla="*/ 5188 w 10165"/>
                <a:gd name="connsiteY5" fmla="*/ 8820 h 10760"/>
                <a:gd name="connsiteX6" fmla="*/ 4860 w 10165"/>
                <a:gd name="connsiteY6" fmla="*/ 8253 h 10760"/>
                <a:gd name="connsiteX7" fmla="*/ 4296 w 10165"/>
                <a:gd name="connsiteY7" fmla="*/ 7894 h 10760"/>
                <a:gd name="connsiteX8" fmla="*/ 3874 w 10165"/>
                <a:gd name="connsiteY8" fmla="*/ 7924 h 10760"/>
                <a:gd name="connsiteX9" fmla="*/ 3968 w 10165"/>
                <a:gd name="connsiteY9" fmla="*/ 8103 h 10760"/>
                <a:gd name="connsiteX10" fmla="*/ 3498 w 10165"/>
                <a:gd name="connsiteY10" fmla="*/ 8133 h 10760"/>
                <a:gd name="connsiteX11" fmla="*/ 3451 w 10165"/>
                <a:gd name="connsiteY11" fmla="*/ 7447 h 10760"/>
                <a:gd name="connsiteX12" fmla="*/ 2700 w 10165"/>
                <a:gd name="connsiteY12" fmla="*/ 7417 h 10760"/>
                <a:gd name="connsiteX13" fmla="*/ 2794 w 10165"/>
                <a:gd name="connsiteY13" fmla="*/ 7118 h 10760"/>
                <a:gd name="connsiteX14" fmla="*/ 2465 w 10165"/>
                <a:gd name="connsiteY14" fmla="*/ 7029 h 10760"/>
                <a:gd name="connsiteX15" fmla="*/ 2278 w 10165"/>
                <a:gd name="connsiteY15" fmla="*/ 6521 h 10760"/>
                <a:gd name="connsiteX16" fmla="*/ 2606 w 10165"/>
                <a:gd name="connsiteY16" fmla="*/ 6372 h 10760"/>
                <a:gd name="connsiteX17" fmla="*/ 3076 w 10165"/>
                <a:gd name="connsiteY17" fmla="*/ 5984 h 10760"/>
                <a:gd name="connsiteX18" fmla="*/ 2794 w 10165"/>
                <a:gd name="connsiteY18" fmla="*/ 5775 h 10760"/>
                <a:gd name="connsiteX19" fmla="*/ 3357 w 10165"/>
                <a:gd name="connsiteY19" fmla="*/ 5447 h 10760"/>
                <a:gd name="connsiteX20" fmla="*/ 2794 w 10165"/>
                <a:gd name="connsiteY20" fmla="*/ 5447 h 10760"/>
                <a:gd name="connsiteX21" fmla="*/ 2794 w 10165"/>
                <a:gd name="connsiteY21" fmla="*/ 5088 h 10760"/>
                <a:gd name="connsiteX22" fmla="*/ 2982 w 10165"/>
                <a:gd name="connsiteY22" fmla="*/ 4521 h 10760"/>
                <a:gd name="connsiteX23" fmla="*/ 2747 w 10165"/>
                <a:gd name="connsiteY23" fmla="*/ 4044 h 10760"/>
                <a:gd name="connsiteX24" fmla="*/ 3453 w 10165"/>
                <a:gd name="connsiteY24" fmla="*/ 3532 h 10760"/>
                <a:gd name="connsiteX25" fmla="*/ 3055 w 10165"/>
                <a:gd name="connsiteY25" fmla="*/ 3342 h 10760"/>
                <a:gd name="connsiteX26" fmla="*/ 2785 w 10165"/>
                <a:gd name="connsiteY26" fmla="*/ 3260 h 10760"/>
                <a:gd name="connsiteX27" fmla="*/ 2078 w 10165"/>
                <a:gd name="connsiteY27" fmla="*/ 3486 h 10760"/>
                <a:gd name="connsiteX28" fmla="*/ 1852 w 10165"/>
                <a:gd name="connsiteY28" fmla="*/ 3336 h 10760"/>
                <a:gd name="connsiteX29" fmla="*/ 1480 w 10165"/>
                <a:gd name="connsiteY29" fmla="*/ 3118 h 10760"/>
                <a:gd name="connsiteX30" fmla="*/ 793 w 10165"/>
                <a:gd name="connsiteY30" fmla="*/ 3070 h 10760"/>
                <a:gd name="connsiteX31" fmla="*/ 334 w 10165"/>
                <a:gd name="connsiteY31" fmla="*/ 2950 h 10760"/>
                <a:gd name="connsiteX32" fmla="*/ 6 w 10165"/>
                <a:gd name="connsiteY32" fmla="*/ 2316 h 10760"/>
                <a:gd name="connsiteX33" fmla="*/ 353 w 10165"/>
                <a:gd name="connsiteY33" fmla="*/ 2820 h 10760"/>
                <a:gd name="connsiteX34" fmla="*/ 165 w 10165"/>
                <a:gd name="connsiteY34" fmla="*/ 2790 h 10760"/>
                <a:gd name="connsiteX35" fmla="*/ 523 w 10165"/>
                <a:gd name="connsiteY35" fmla="*/ 1986 h 10760"/>
                <a:gd name="connsiteX36" fmla="*/ 1172 w 10165"/>
                <a:gd name="connsiteY36" fmla="*/ 1999 h 10760"/>
                <a:gd name="connsiteX37" fmla="*/ 1949 w 10165"/>
                <a:gd name="connsiteY37" fmla="*/ 2461 h 10760"/>
                <a:gd name="connsiteX38" fmla="*/ 873 w 10165"/>
                <a:gd name="connsiteY38" fmla="*/ 2015 h 10760"/>
                <a:gd name="connsiteX39" fmla="*/ 1184 w 10165"/>
                <a:gd name="connsiteY39" fmla="*/ 2021 h 10760"/>
                <a:gd name="connsiteX40" fmla="*/ 1346 w 10165"/>
                <a:gd name="connsiteY40" fmla="*/ 2083 h 10760"/>
                <a:gd name="connsiteX41" fmla="*/ 1821 w 10165"/>
                <a:gd name="connsiteY41" fmla="*/ 2449 h 10760"/>
                <a:gd name="connsiteX42" fmla="*/ 2019 w 10165"/>
                <a:gd name="connsiteY42" fmla="*/ 2178 h 10760"/>
                <a:gd name="connsiteX43" fmla="*/ 2345 w 10165"/>
                <a:gd name="connsiteY43" fmla="*/ 1886 h 10760"/>
                <a:gd name="connsiteX44" fmla="*/ 2470 w 10165"/>
                <a:gd name="connsiteY44" fmla="*/ 1793 h 10760"/>
                <a:gd name="connsiteX45" fmla="*/ 3170 w 10165"/>
                <a:gd name="connsiteY45" fmla="*/ 1805 h 10760"/>
                <a:gd name="connsiteX46" fmla="*/ 2888 w 10165"/>
                <a:gd name="connsiteY46" fmla="*/ 1835 h 10760"/>
                <a:gd name="connsiteX47" fmla="*/ 2700 w 10165"/>
                <a:gd name="connsiteY47" fmla="*/ 1596 h 10760"/>
                <a:gd name="connsiteX48" fmla="*/ 2683 w 10165"/>
                <a:gd name="connsiteY48" fmla="*/ 1359 h 10760"/>
                <a:gd name="connsiteX49" fmla="*/ 2731 w 10165"/>
                <a:gd name="connsiteY49" fmla="*/ 1009 h 10760"/>
                <a:gd name="connsiteX50" fmla="*/ 2465 w 10165"/>
                <a:gd name="connsiteY50" fmla="*/ 1059 h 10760"/>
                <a:gd name="connsiteX51" fmla="*/ 2419 w 10165"/>
                <a:gd name="connsiteY51" fmla="*/ 879 h 10760"/>
                <a:gd name="connsiteX52" fmla="*/ 2534 w 10165"/>
                <a:gd name="connsiteY52" fmla="*/ 580 h 10760"/>
                <a:gd name="connsiteX53" fmla="*/ 2432 w 10165"/>
                <a:gd name="connsiteY53" fmla="*/ 0 h 10760"/>
                <a:gd name="connsiteX54" fmla="*/ 3730 w 10165"/>
                <a:gd name="connsiteY54" fmla="*/ 195 h 10760"/>
                <a:gd name="connsiteX55" fmla="*/ 4766 w 10165"/>
                <a:gd name="connsiteY55" fmla="*/ 1088 h 10760"/>
                <a:gd name="connsiteX56" fmla="*/ 5026 w 10165"/>
                <a:gd name="connsiteY56" fmla="*/ 1091 h 10760"/>
                <a:gd name="connsiteX57" fmla="*/ 5092 w 10165"/>
                <a:gd name="connsiteY57" fmla="*/ 1196 h 10760"/>
                <a:gd name="connsiteX58" fmla="*/ 5308 w 10165"/>
                <a:gd name="connsiteY58" fmla="*/ 1300 h 10760"/>
                <a:gd name="connsiteX59" fmla="*/ 5749 w 10165"/>
                <a:gd name="connsiteY59" fmla="*/ 1256 h 10760"/>
                <a:gd name="connsiteX60" fmla="*/ 5799 w 10165"/>
                <a:gd name="connsiteY60" fmla="*/ 1745 h 10760"/>
                <a:gd name="connsiteX61" fmla="*/ 6080 w 10165"/>
                <a:gd name="connsiteY61" fmla="*/ 1596 h 10760"/>
                <a:gd name="connsiteX62" fmla="*/ 6595 w 10165"/>
                <a:gd name="connsiteY62" fmla="*/ 1755 h 10760"/>
                <a:gd name="connsiteX63" fmla="*/ 7332 w 10165"/>
                <a:gd name="connsiteY63" fmla="*/ 1218 h 10760"/>
                <a:gd name="connsiteX64" fmla="*/ 7756 w 10165"/>
                <a:gd name="connsiteY64" fmla="*/ 983 h 10760"/>
                <a:gd name="connsiteX65" fmla="*/ 8774 w 10165"/>
                <a:gd name="connsiteY65" fmla="*/ 1065 h 10760"/>
                <a:gd name="connsiteX66" fmla="*/ 9151 w 10165"/>
                <a:gd name="connsiteY66" fmla="*/ 1177 h 10760"/>
                <a:gd name="connsiteX67" fmla="*/ 9477 w 10165"/>
                <a:gd name="connsiteY67" fmla="*/ 721 h 10760"/>
                <a:gd name="connsiteX68" fmla="*/ 9759 w 10165"/>
                <a:gd name="connsiteY68" fmla="*/ 1213 h 10760"/>
                <a:gd name="connsiteX69" fmla="*/ 9371 w 10165"/>
                <a:gd name="connsiteY69" fmla="*/ 1544 h 10760"/>
                <a:gd name="connsiteX70" fmla="*/ 9991 w 10165"/>
                <a:gd name="connsiteY70" fmla="*/ 1477 h 10760"/>
                <a:gd name="connsiteX71" fmla="*/ 9135 w 10165"/>
                <a:gd name="connsiteY71" fmla="*/ 4156 h 10760"/>
                <a:gd name="connsiteX72" fmla="*/ 6131 w 10165"/>
                <a:gd name="connsiteY72" fmla="*/ 3949 h 10760"/>
                <a:gd name="connsiteX73" fmla="*/ 6032 w 10165"/>
                <a:gd name="connsiteY73" fmla="*/ 4185 h 10760"/>
                <a:gd name="connsiteX74" fmla="*/ 6315 w 10165"/>
                <a:gd name="connsiteY74" fmla="*/ 4909 h 10760"/>
                <a:gd name="connsiteX75" fmla="*/ 5705 w 10165"/>
                <a:gd name="connsiteY75" fmla="*/ 4939 h 10760"/>
                <a:gd name="connsiteX76" fmla="*/ 5705 w 10165"/>
                <a:gd name="connsiteY76" fmla="*/ 5357 h 10760"/>
                <a:gd name="connsiteX77" fmla="*/ 4766 w 10165"/>
                <a:gd name="connsiteY77" fmla="*/ 5775 h 10760"/>
                <a:gd name="connsiteX78" fmla="*/ 5048 w 10165"/>
                <a:gd name="connsiteY78" fmla="*/ 6163 h 10760"/>
                <a:gd name="connsiteX79" fmla="*/ 4813 w 10165"/>
                <a:gd name="connsiteY79" fmla="*/ 6521 h 10760"/>
                <a:gd name="connsiteX80" fmla="*/ 5611 w 10165"/>
                <a:gd name="connsiteY80" fmla="*/ 7208 h 10760"/>
                <a:gd name="connsiteX81" fmla="*/ 6738 w 10165"/>
                <a:gd name="connsiteY81" fmla="*/ 7208 h 10760"/>
                <a:gd name="connsiteX82" fmla="*/ 7395 w 10165"/>
                <a:gd name="connsiteY82" fmla="*/ 7088 h 10760"/>
                <a:gd name="connsiteX83" fmla="*/ 7958 w 10165"/>
                <a:gd name="connsiteY83" fmla="*/ 7238 h 10760"/>
                <a:gd name="connsiteX84" fmla="*/ 8428 w 10165"/>
                <a:gd name="connsiteY84" fmla="*/ 7626 h 10760"/>
                <a:gd name="connsiteX85" fmla="*/ 8803 w 10165"/>
                <a:gd name="connsiteY85" fmla="*/ 8372 h 10760"/>
                <a:gd name="connsiteX86" fmla="*/ 9179 w 10165"/>
                <a:gd name="connsiteY86" fmla="*/ 8342 h 10760"/>
                <a:gd name="connsiteX87" fmla="*/ 10165 w 10165"/>
                <a:gd name="connsiteY87" fmla="*/ 9088 h 10760"/>
                <a:gd name="connsiteX88" fmla="*/ 8991 w 10165"/>
                <a:gd name="connsiteY88" fmla="*/ 9894 h 10760"/>
                <a:gd name="connsiteX89" fmla="*/ 9461 w 10165"/>
                <a:gd name="connsiteY89" fmla="*/ 10491 h 10760"/>
                <a:gd name="connsiteX90" fmla="*/ 9273 w 10165"/>
                <a:gd name="connsiteY90" fmla="*/ 10730 h 10760"/>
                <a:gd name="connsiteX91" fmla="*/ 8991 w 10165"/>
                <a:gd name="connsiteY91" fmla="*/ 10491 h 10760"/>
                <a:gd name="connsiteX92" fmla="*/ 7113 w 10165"/>
                <a:gd name="connsiteY92" fmla="*/ 10461 h 10760"/>
                <a:gd name="connsiteX93" fmla="*/ 6785 w 10165"/>
                <a:gd name="connsiteY93" fmla="*/ 10760 h 10760"/>
                <a:gd name="connsiteX94" fmla="*/ 6221 w 10165"/>
                <a:gd name="connsiteY94" fmla="*/ 10730 h 10760"/>
                <a:gd name="connsiteX0" fmla="*/ 6221 w 10783"/>
                <a:gd name="connsiteY0" fmla="*/ 10730 h 10760"/>
                <a:gd name="connsiteX1" fmla="*/ 6315 w 10783"/>
                <a:gd name="connsiteY1" fmla="*/ 9894 h 10760"/>
                <a:gd name="connsiteX2" fmla="*/ 6597 w 10783"/>
                <a:gd name="connsiteY2" fmla="*/ 9088 h 10760"/>
                <a:gd name="connsiteX3" fmla="*/ 5799 w 10783"/>
                <a:gd name="connsiteY3" fmla="*/ 8909 h 10760"/>
                <a:gd name="connsiteX4" fmla="*/ 5564 w 10783"/>
                <a:gd name="connsiteY4" fmla="*/ 8730 h 10760"/>
                <a:gd name="connsiteX5" fmla="*/ 5188 w 10783"/>
                <a:gd name="connsiteY5" fmla="*/ 8820 h 10760"/>
                <a:gd name="connsiteX6" fmla="*/ 4860 w 10783"/>
                <a:gd name="connsiteY6" fmla="*/ 8253 h 10760"/>
                <a:gd name="connsiteX7" fmla="*/ 4296 w 10783"/>
                <a:gd name="connsiteY7" fmla="*/ 7894 h 10760"/>
                <a:gd name="connsiteX8" fmla="*/ 3874 w 10783"/>
                <a:gd name="connsiteY8" fmla="*/ 7924 h 10760"/>
                <a:gd name="connsiteX9" fmla="*/ 3968 w 10783"/>
                <a:gd name="connsiteY9" fmla="*/ 8103 h 10760"/>
                <a:gd name="connsiteX10" fmla="*/ 3498 w 10783"/>
                <a:gd name="connsiteY10" fmla="*/ 8133 h 10760"/>
                <a:gd name="connsiteX11" fmla="*/ 3451 w 10783"/>
                <a:gd name="connsiteY11" fmla="*/ 7447 h 10760"/>
                <a:gd name="connsiteX12" fmla="*/ 2700 w 10783"/>
                <a:gd name="connsiteY12" fmla="*/ 7417 h 10760"/>
                <a:gd name="connsiteX13" fmla="*/ 2794 w 10783"/>
                <a:gd name="connsiteY13" fmla="*/ 7118 h 10760"/>
                <a:gd name="connsiteX14" fmla="*/ 2465 w 10783"/>
                <a:gd name="connsiteY14" fmla="*/ 7029 h 10760"/>
                <a:gd name="connsiteX15" fmla="*/ 2278 w 10783"/>
                <a:gd name="connsiteY15" fmla="*/ 6521 h 10760"/>
                <a:gd name="connsiteX16" fmla="*/ 2606 w 10783"/>
                <a:gd name="connsiteY16" fmla="*/ 6372 h 10760"/>
                <a:gd name="connsiteX17" fmla="*/ 3076 w 10783"/>
                <a:gd name="connsiteY17" fmla="*/ 5984 h 10760"/>
                <a:gd name="connsiteX18" fmla="*/ 2794 w 10783"/>
                <a:gd name="connsiteY18" fmla="*/ 5775 h 10760"/>
                <a:gd name="connsiteX19" fmla="*/ 3357 w 10783"/>
                <a:gd name="connsiteY19" fmla="*/ 5447 h 10760"/>
                <a:gd name="connsiteX20" fmla="*/ 2794 w 10783"/>
                <a:gd name="connsiteY20" fmla="*/ 5447 h 10760"/>
                <a:gd name="connsiteX21" fmla="*/ 2794 w 10783"/>
                <a:gd name="connsiteY21" fmla="*/ 5088 h 10760"/>
                <a:gd name="connsiteX22" fmla="*/ 2982 w 10783"/>
                <a:gd name="connsiteY22" fmla="*/ 4521 h 10760"/>
                <a:gd name="connsiteX23" fmla="*/ 2747 w 10783"/>
                <a:gd name="connsiteY23" fmla="*/ 4044 h 10760"/>
                <a:gd name="connsiteX24" fmla="*/ 3453 w 10783"/>
                <a:gd name="connsiteY24" fmla="*/ 3532 h 10760"/>
                <a:gd name="connsiteX25" fmla="*/ 3055 w 10783"/>
                <a:gd name="connsiteY25" fmla="*/ 3342 h 10760"/>
                <a:gd name="connsiteX26" fmla="*/ 2785 w 10783"/>
                <a:gd name="connsiteY26" fmla="*/ 3260 h 10760"/>
                <a:gd name="connsiteX27" fmla="*/ 2078 w 10783"/>
                <a:gd name="connsiteY27" fmla="*/ 3486 h 10760"/>
                <a:gd name="connsiteX28" fmla="*/ 1852 w 10783"/>
                <a:gd name="connsiteY28" fmla="*/ 3336 h 10760"/>
                <a:gd name="connsiteX29" fmla="*/ 1480 w 10783"/>
                <a:gd name="connsiteY29" fmla="*/ 3118 h 10760"/>
                <a:gd name="connsiteX30" fmla="*/ 793 w 10783"/>
                <a:gd name="connsiteY30" fmla="*/ 3070 h 10760"/>
                <a:gd name="connsiteX31" fmla="*/ 334 w 10783"/>
                <a:gd name="connsiteY31" fmla="*/ 2950 h 10760"/>
                <a:gd name="connsiteX32" fmla="*/ 6 w 10783"/>
                <a:gd name="connsiteY32" fmla="*/ 2316 h 10760"/>
                <a:gd name="connsiteX33" fmla="*/ 353 w 10783"/>
                <a:gd name="connsiteY33" fmla="*/ 2820 h 10760"/>
                <a:gd name="connsiteX34" fmla="*/ 165 w 10783"/>
                <a:gd name="connsiteY34" fmla="*/ 2790 h 10760"/>
                <a:gd name="connsiteX35" fmla="*/ 523 w 10783"/>
                <a:gd name="connsiteY35" fmla="*/ 1986 h 10760"/>
                <a:gd name="connsiteX36" fmla="*/ 1172 w 10783"/>
                <a:gd name="connsiteY36" fmla="*/ 1999 h 10760"/>
                <a:gd name="connsiteX37" fmla="*/ 1949 w 10783"/>
                <a:gd name="connsiteY37" fmla="*/ 2461 h 10760"/>
                <a:gd name="connsiteX38" fmla="*/ 873 w 10783"/>
                <a:gd name="connsiteY38" fmla="*/ 2015 h 10760"/>
                <a:gd name="connsiteX39" fmla="*/ 1184 w 10783"/>
                <a:gd name="connsiteY39" fmla="*/ 2021 h 10760"/>
                <a:gd name="connsiteX40" fmla="*/ 1346 w 10783"/>
                <a:gd name="connsiteY40" fmla="*/ 2083 h 10760"/>
                <a:gd name="connsiteX41" fmla="*/ 1821 w 10783"/>
                <a:gd name="connsiteY41" fmla="*/ 2449 h 10760"/>
                <a:gd name="connsiteX42" fmla="*/ 2019 w 10783"/>
                <a:gd name="connsiteY42" fmla="*/ 2178 h 10760"/>
                <a:gd name="connsiteX43" fmla="*/ 2345 w 10783"/>
                <a:gd name="connsiteY43" fmla="*/ 1886 h 10760"/>
                <a:gd name="connsiteX44" fmla="*/ 2470 w 10783"/>
                <a:gd name="connsiteY44" fmla="*/ 1793 h 10760"/>
                <a:gd name="connsiteX45" fmla="*/ 3170 w 10783"/>
                <a:gd name="connsiteY45" fmla="*/ 1805 h 10760"/>
                <a:gd name="connsiteX46" fmla="*/ 2888 w 10783"/>
                <a:gd name="connsiteY46" fmla="*/ 1835 h 10760"/>
                <a:gd name="connsiteX47" fmla="*/ 2700 w 10783"/>
                <a:gd name="connsiteY47" fmla="*/ 1596 h 10760"/>
                <a:gd name="connsiteX48" fmla="*/ 2683 w 10783"/>
                <a:gd name="connsiteY48" fmla="*/ 1359 h 10760"/>
                <a:gd name="connsiteX49" fmla="*/ 2731 w 10783"/>
                <a:gd name="connsiteY49" fmla="*/ 1009 h 10760"/>
                <a:gd name="connsiteX50" fmla="*/ 2465 w 10783"/>
                <a:gd name="connsiteY50" fmla="*/ 1059 h 10760"/>
                <a:gd name="connsiteX51" fmla="*/ 2419 w 10783"/>
                <a:gd name="connsiteY51" fmla="*/ 879 h 10760"/>
                <a:gd name="connsiteX52" fmla="*/ 2534 w 10783"/>
                <a:gd name="connsiteY52" fmla="*/ 580 h 10760"/>
                <a:gd name="connsiteX53" fmla="*/ 2432 w 10783"/>
                <a:gd name="connsiteY53" fmla="*/ 0 h 10760"/>
                <a:gd name="connsiteX54" fmla="*/ 3730 w 10783"/>
                <a:gd name="connsiteY54" fmla="*/ 195 h 10760"/>
                <a:gd name="connsiteX55" fmla="*/ 4766 w 10783"/>
                <a:gd name="connsiteY55" fmla="*/ 1088 h 10760"/>
                <a:gd name="connsiteX56" fmla="*/ 5026 w 10783"/>
                <a:gd name="connsiteY56" fmla="*/ 1091 h 10760"/>
                <a:gd name="connsiteX57" fmla="*/ 5092 w 10783"/>
                <a:gd name="connsiteY57" fmla="*/ 1196 h 10760"/>
                <a:gd name="connsiteX58" fmla="*/ 5308 w 10783"/>
                <a:gd name="connsiteY58" fmla="*/ 1300 h 10760"/>
                <a:gd name="connsiteX59" fmla="*/ 5749 w 10783"/>
                <a:gd name="connsiteY59" fmla="*/ 1256 h 10760"/>
                <a:gd name="connsiteX60" fmla="*/ 5799 w 10783"/>
                <a:gd name="connsiteY60" fmla="*/ 1745 h 10760"/>
                <a:gd name="connsiteX61" fmla="*/ 6080 w 10783"/>
                <a:gd name="connsiteY61" fmla="*/ 1596 h 10760"/>
                <a:gd name="connsiteX62" fmla="*/ 6595 w 10783"/>
                <a:gd name="connsiteY62" fmla="*/ 1755 h 10760"/>
                <a:gd name="connsiteX63" fmla="*/ 7332 w 10783"/>
                <a:gd name="connsiteY63" fmla="*/ 1218 h 10760"/>
                <a:gd name="connsiteX64" fmla="*/ 7756 w 10783"/>
                <a:gd name="connsiteY64" fmla="*/ 983 h 10760"/>
                <a:gd name="connsiteX65" fmla="*/ 8774 w 10783"/>
                <a:gd name="connsiteY65" fmla="*/ 1065 h 10760"/>
                <a:gd name="connsiteX66" fmla="*/ 9151 w 10783"/>
                <a:gd name="connsiteY66" fmla="*/ 1177 h 10760"/>
                <a:gd name="connsiteX67" fmla="*/ 9477 w 10783"/>
                <a:gd name="connsiteY67" fmla="*/ 721 h 10760"/>
                <a:gd name="connsiteX68" fmla="*/ 9759 w 10783"/>
                <a:gd name="connsiteY68" fmla="*/ 1213 h 10760"/>
                <a:gd name="connsiteX69" fmla="*/ 9371 w 10783"/>
                <a:gd name="connsiteY69" fmla="*/ 1544 h 10760"/>
                <a:gd name="connsiteX70" fmla="*/ 9991 w 10783"/>
                <a:gd name="connsiteY70" fmla="*/ 1477 h 10760"/>
                <a:gd name="connsiteX71" fmla="*/ 10734 w 10783"/>
                <a:gd name="connsiteY71" fmla="*/ 1751 h 10760"/>
                <a:gd name="connsiteX72" fmla="*/ 6131 w 10783"/>
                <a:gd name="connsiteY72" fmla="*/ 3949 h 10760"/>
                <a:gd name="connsiteX73" fmla="*/ 6032 w 10783"/>
                <a:gd name="connsiteY73" fmla="*/ 4185 h 10760"/>
                <a:gd name="connsiteX74" fmla="*/ 6315 w 10783"/>
                <a:gd name="connsiteY74" fmla="*/ 4909 h 10760"/>
                <a:gd name="connsiteX75" fmla="*/ 5705 w 10783"/>
                <a:gd name="connsiteY75" fmla="*/ 4939 h 10760"/>
                <a:gd name="connsiteX76" fmla="*/ 5705 w 10783"/>
                <a:gd name="connsiteY76" fmla="*/ 5357 h 10760"/>
                <a:gd name="connsiteX77" fmla="*/ 4766 w 10783"/>
                <a:gd name="connsiteY77" fmla="*/ 5775 h 10760"/>
                <a:gd name="connsiteX78" fmla="*/ 5048 w 10783"/>
                <a:gd name="connsiteY78" fmla="*/ 6163 h 10760"/>
                <a:gd name="connsiteX79" fmla="*/ 4813 w 10783"/>
                <a:gd name="connsiteY79" fmla="*/ 6521 h 10760"/>
                <a:gd name="connsiteX80" fmla="*/ 5611 w 10783"/>
                <a:gd name="connsiteY80" fmla="*/ 7208 h 10760"/>
                <a:gd name="connsiteX81" fmla="*/ 6738 w 10783"/>
                <a:gd name="connsiteY81" fmla="*/ 7208 h 10760"/>
                <a:gd name="connsiteX82" fmla="*/ 7395 w 10783"/>
                <a:gd name="connsiteY82" fmla="*/ 7088 h 10760"/>
                <a:gd name="connsiteX83" fmla="*/ 7958 w 10783"/>
                <a:gd name="connsiteY83" fmla="*/ 7238 h 10760"/>
                <a:gd name="connsiteX84" fmla="*/ 8428 w 10783"/>
                <a:gd name="connsiteY84" fmla="*/ 7626 h 10760"/>
                <a:gd name="connsiteX85" fmla="*/ 8803 w 10783"/>
                <a:gd name="connsiteY85" fmla="*/ 8372 h 10760"/>
                <a:gd name="connsiteX86" fmla="*/ 9179 w 10783"/>
                <a:gd name="connsiteY86" fmla="*/ 8342 h 10760"/>
                <a:gd name="connsiteX87" fmla="*/ 10165 w 10783"/>
                <a:gd name="connsiteY87" fmla="*/ 9088 h 10760"/>
                <a:gd name="connsiteX88" fmla="*/ 8991 w 10783"/>
                <a:gd name="connsiteY88" fmla="*/ 9894 h 10760"/>
                <a:gd name="connsiteX89" fmla="*/ 9461 w 10783"/>
                <a:gd name="connsiteY89" fmla="*/ 10491 h 10760"/>
                <a:gd name="connsiteX90" fmla="*/ 9273 w 10783"/>
                <a:gd name="connsiteY90" fmla="*/ 10730 h 10760"/>
                <a:gd name="connsiteX91" fmla="*/ 8991 w 10783"/>
                <a:gd name="connsiteY91" fmla="*/ 10491 h 10760"/>
                <a:gd name="connsiteX92" fmla="*/ 7113 w 10783"/>
                <a:gd name="connsiteY92" fmla="*/ 10461 h 10760"/>
                <a:gd name="connsiteX93" fmla="*/ 6785 w 10783"/>
                <a:gd name="connsiteY93" fmla="*/ 10760 h 10760"/>
                <a:gd name="connsiteX94" fmla="*/ 6221 w 10783"/>
                <a:gd name="connsiteY94" fmla="*/ 10730 h 10760"/>
                <a:gd name="connsiteX0" fmla="*/ 6221 w 10734"/>
                <a:gd name="connsiteY0" fmla="*/ 10730 h 10760"/>
                <a:gd name="connsiteX1" fmla="*/ 6315 w 10734"/>
                <a:gd name="connsiteY1" fmla="*/ 9894 h 10760"/>
                <a:gd name="connsiteX2" fmla="*/ 6597 w 10734"/>
                <a:gd name="connsiteY2" fmla="*/ 9088 h 10760"/>
                <a:gd name="connsiteX3" fmla="*/ 5799 w 10734"/>
                <a:gd name="connsiteY3" fmla="*/ 8909 h 10760"/>
                <a:gd name="connsiteX4" fmla="*/ 5564 w 10734"/>
                <a:gd name="connsiteY4" fmla="*/ 8730 h 10760"/>
                <a:gd name="connsiteX5" fmla="*/ 5188 w 10734"/>
                <a:gd name="connsiteY5" fmla="*/ 8820 h 10760"/>
                <a:gd name="connsiteX6" fmla="*/ 4860 w 10734"/>
                <a:gd name="connsiteY6" fmla="*/ 8253 h 10760"/>
                <a:gd name="connsiteX7" fmla="*/ 4296 w 10734"/>
                <a:gd name="connsiteY7" fmla="*/ 7894 h 10760"/>
                <a:gd name="connsiteX8" fmla="*/ 3874 w 10734"/>
                <a:gd name="connsiteY8" fmla="*/ 7924 h 10760"/>
                <a:gd name="connsiteX9" fmla="*/ 3968 w 10734"/>
                <a:gd name="connsiteY9" fmla="*/ 8103 h 10760"/>
                <a:gd name="connsiteX10" fmla="*/ 3498 w 10734"/>
                <a:gd name="connsiteY10" fmla="*/ 8133 h 10760"/>
                <a:gd name="connsiteX11" fmla="*/ 3451 w 10734"/>
                <a:gd name="connsiteY11" fmla="*/ 7447 h 10760"/>
                <a:gd name="connsiteX12" fmla="*/ 2700 w 10734"/>
                <a:gd name="connsiteY12" fmla="*/ 7417 h 10760"/>
                <a:gd name="connsiteX13" fmla="*/ 2794 w 10734"/>
                <a:gd name="connsiteY13" fmla="*/ 7118 h 10760"/>
                <a:gd name="connsiteX14" fmla="*/ 2465 w 10734"/>
                <a:gd name="connsiteY14" fmla="*/ 7029 h 10760"/>
                <a:gd name="connsiteX15" fmla="*/ 2278 w 10734"/>
                <a:gd name="connsiteY15" fmla="*/ 6521 h 10760"/>
                <a:gd name="connsiteX16" fmla="*/ 2606 w 10734"/>
                <a:gd name="connsiteY16" fmla="*/ 6372 h 10760"/>
                <a:gd name="connsiteX17" fmla="*/ 3076 w 10734"/>
                <a:gd name="connsiteY17" fmla="*/ 5984 h 10760"/>
                <a:gd name="connsiteX18" fmla="*/ 2794 w 10734"/>
                <a:gd name="connsiteY18" fmla="*/ 5775 h 10760"/>
                <a:gd name="connsiteX19" fmla="*/ 3357 w 10734"/>
                <a:gd name="connsiteY19" fmla="*/ 5447 h 10760"/>
                <a:gd name="connsiteX20" fmla="*/ 2794 w 10734"/>
                <a:gd name="connsiteY20" fmla="*/ 5447 h 10760"/>
                <a:gd name="connsiteX21" fmla="*/ 2794 w 10734"/>
                <a:gd name="connsiteY21" fmla="*/ 5088 h 10760"/>
                <a:gd name="connsiteX22" fmla="*/ 2982 w 10734"/>
                <a:gd name="connsiteY22" fmla="*/ 4521 h 10760"/>
                <a:gd name="connsiteX23" fmla="*/ 2747 w 10734"/>
                <a:gd name="connsiteY23" fmla="*/ 4044 h 10760"/>
                <a:gd name="connsiteX24" fmla="*/ 3453 w 10734"/>
                <a:gd name="connsiteY24" fmla="*/ 3532 h 10760"/>
                <a:gd name="connsiteX25" fmla="*/ 3055 w 10734"/>
                <a:gd name="connsiteY25" fmla="*/ 3342 h 10760"/>
                <a:gd name="connsiteX26" fmla="*/ 2785 w 10734"/>
                <a:gd name="connsiteY26" fmla="*/ 3260 h 10760"/>
                <a:gd name="connsiteX27" fmla="*/ 2078 w 10734"/>
                <a:gd name="connsiteY27" fmla="*/ 3486 h 10760"/>
                <a:gd name="connsiteX28" fmla="*/ 1852 w 10734"/>
                <a:gd name="connsiteY28" fmla="*/ 3336 h 10760"/>
                <a:gd name="connsiteX29" fmla="*/ 1480 w 10734"/>
                <a:gd name="connsiteY29" fmla="*/ 3118 h 10760"/>
                <a:gd name="connsiteX30" fmla="*/ 793 w 10734"/>
                <a:gd name="connsiteY30" fmla="*/ 3070 h 10760"/>
                <a:gd name="connsiteX31" fmla="*/ 334 w 10734"/>
                <a:gd name="connsiteY31" fmla="*/ 2950 h 10760"/>
                <a:gd name="connsiteX32" fmla="*/ 6 w 10734"/>
                <a:gd name="connsiteY32" fmla="*/ 2316 h 10760"/>
                <a:gd name="connsiteX33" fmla="*/ 353 w 10734"/>
                <a:gd name="connsiteY33" fmla="*/ 2820 h 10760"/>
                <a:gd name="connsiteX34" fmla="*/ 165 w 10734"/>
                <a:gd name="connsiteY34" fmla="*/ 2790 h 10760"/>
                <a:gd name="connsiteX35" fmla="*/ 523 w 10734"/>
                <a:gd name="connsiteY35" fmla="*/ 1986 h 10760"/>
                <a:gd name="connsiteX36" fmla="*/ 1172 w 10734"/>
                <a:gd name="connsiteY36" fmla="*/ 1999 h 10760"/>
                <a:gd name="connsiteX37" fmla="*/ 1949 w 10734"/>
                <a:gd name="connsiteY37" fmla="*/ 2461 h 10760"/>
                <a:gd name="connsiteX38" fmla="*/ 873 w 10734"/>
                <a:gd name="connsiteY38" fmla="*/ 2015 h 10760"/>
                <a:gd name="connsiteX39" fmla="*/ 1184 w 10734"/>
                <a:gd name="connsiteY39" fmla="*/ 2021 h 10760"/>
                <a:gd name="connsiteX40" fmla="*/ 1346 w 10734"/>
                <a:gd name="connsiteY40" fmla="*/ 2083 h 10760"/>
                <a:gd name="connsiteX41" fmla="*/ 1821 w 10734"/>
                <a:gd name="connsiteY41" fmla="*/ 2449 h 10760"/>
                <a:gd name="connsiteX42" fmla="*/ 2019 w 10734"/>
                <a:gd name="connsiteY42" fmla="*/ 2178 h 10760"/>
                <a:gd name="connsiteX43" fmla="*/ 2345 w 10734"/>
                <a:gd name="connsiteY43" fmla="*/ 1886 h 10760"/>
                <a:gd name="connsiteX44" fmla="*/ 2470 w 10734"/>
                <a:gd name="connsiteY44" fmla="*/ 1793 h 10760"/>
                <a:gd name="connsiteX45" fmla="*/ 3170 w 10734"/>
                <a:gd name="connsiteY45" fmla="*/ 1805 h 10760"/>
                <a:gd name="connsiteX46" fmla="*/ 2888 w 10734"/>
                <a:gd name="connsiteY46" fmla="*/ 1835 h 10760"/>
                <a:gd name="connsiteX47" fmla="*/ 2700 w 10734"/>
                <a:gd name="connsiteY47" fmla="*/ 1596 h 10760"/>
                <a:gd name="connsiteX48" fmla="*/ 2683 w 10734"/>
                <a:gd name="connsiteY48" fmla="*/ 1359 h 10760"/>
                <a:gd name="connsiteX49" fmla="*/ 2731 w 10734"/>
                <a:gd name="connsiteY49" fmla="*/ 1009 h 10760"/>
                <a:gd name="connsiteX50" fmla="*/ 2465 w 10734"/>
                <a:gd name="connsiteY50" fmla="*/ 1059 h 10760"/>
                <a:gd name="connsiteX51" fmla="*/ 2419 w 10734"/>
                <a:gd name="connsiteY51" fmla="*/ 879 h 10760"/>
                <a:gd name="connsiteX52" fmla="*/ 2534 w 10734"/>
                <a:gd name="connsiteY52" fmla="*/ 580 h 10760"/>
                <a:gd name="connsiteX53" fmla="*/ 2432 w 10734"/>
                <a:gd name="connsiteY53" fmla="*/ 0 h 10760"/>
                <a:gd name="connsiteX54" fmla="*/ 3730 w 10734"/>
                <a:gd name="connsiteY54" fmla="*/ 195 h 10760"/>
                <a:gd name="connsiteX55" fmla="*/ 4766 w 10734"/>
                <a:gd name="connsiteY55" fmla="*/ 1088 h 10760"/>
                <a:gd name="connsiteX56" fmla="*/ 5026 w 10734"/>
                <a:gd name="connsiteY56" fmla="*/ 1091 h 10760"/>
                <a:gd name="connsiteX57" fmla="*/ 5092 w 10734"/>
                <a:gd name="connsiteY57" fmla="*/ 1196 h 10760"/>
                <a:gd name="connsiteX58" fmla="*/ 5308 w 10734"/>
                <a:gd name="connsiteY58" fmla="*/ 1300 h 10760"/>
                <a:gd name="connsiteX59" fmla="*/ 5749 w 10734"/>
                <a:gd name="connsiteY59" fmla="*/ 1256 h 10760"/>
                <a:gd name="connsiteX60" fmla="*/ 5799 w 10734"/>
                <a:gd name="connsiteY60" fmla="*/ 1745 h 10760"/>
                <a:gd name="connsiteX61" fmla="*/ 6080 w 10734"/>
                <a:gd name="connsiteY61" fmla="*/ 1596 h 10760"/>
                <a:gd name="connsiteX62" fmla="*/ 6595 w 10734"/>
                <a:gd name="connsiteY62" fmla="*/ 1755 h 10760"/>
                <a:gd name="connsiteX63" fmla="*/ 7332 w 10734"/>
                <a:gd name="connsiteY63" fmla="*/ 1218 h 10760"/>
                <a:gd name="connsiteX64" fmla="*/ 7756 w 10734"/>
                <a:gd name="connsiteY64" fmla="*/ 983 h 10760"/>
                <a:gd name="connsiteX65" fmla="*/ 8774 w 10734"/>
                <a:gd name="connsiteY65" fmla="*/ 1065 h 10760"/>
                <a:gd name="connsiteX66" fmla="*/ 9151 w 10734"/>
                <a:gd name="connsiteY66" fmla="*/ 1177 h 10760"/>
                <a:gd name="connsiteX67" fmla="*/ 9477 w 10734"/>
                <a:gd name="connsiteY67" fmla="*/ 721 h 10760"/>
                <a:gd name="connsiteX68" fmla="*/ 9759 w 10734"/>
                <a:gd name="connsiteY68" fmla="*/ 1213 h 10760"/>
                <a:gd name="connsiteX69" fmla="*/ 9371 w 10734"/>
                <a:gd name="connsiteY69" fmla="*/ 1544 h 10760"/>
                <a:gd name="connsiteX70" fmla="*/ 9991 w 10734"/>
                <a:gd name="connsiteY70" fmla="*/ 1477 h 10760"/>
                <a:gd name="connsiteX71" fmla="*/ 10734 w 10734"/>
                <a:gd name="connsiteY71" fmla="*/ 1751 h 10760"/>
                <a:gd name="connsiteX72" fmla="*/ 6131 w 10734"/>
                <a:gd name="connsiteY72" fmla="*/ 3949 h 10760"/>
                <a:gd name="connsiteX73" fmla="*/ 6032 w 10734"/>
                <a:gd name="connsiteY73" fmla="*/ 4185 h 10760"/>
                <a:gd name="connsiteX74" fmla="*/ 6315 w 10734"/>
                <a:gd name="connsiteY74" fmla="*/ 4909 h 10760"/>
                <a:gd name="connsiteX75" fmla="*/ 5705 w 10734"/>
                <a:gd name="connsiteY75" fmla="*/ 4939 h 10760"/>
                <a:gd name="connsiteX76" fmla="*/ 5705 w 10734"/>
                <a:gd name="connsiteY76" fmla="*/ 5357 h 10760"/>
                <a:gd name="connsiteX77" fmla="*/ 4766 w 10734"/>
                <a:gd name="connsiteY77" fmla="*/ 5775 h 10760"/>
                <a:gd name="connsiteX78" fmla="*/ 5048 w 10734"/>
                <a:gd name="connsiteY78" fmla="*/ 6163 h 10760"/>
                <a:gd name="connsiteX79" fmla="*/ 4813 w 10734"/>
                <a:gd name="connsiteY79" fmla="*/ 6521 h 10760"/>
                <a:gd name="connsiteX80" fmla="*/ 5611 w 10734"/>
                <a:gd name="connsiteY80" fmla="*/ 7208 h 10760"/>
                <a:gd name="connsiteX81" fmla="*/ 6738 w 10734"/>
                <a:gd name="connsiteY81" fmla="*/ 7208 h 10760"/>
                <a:gd name="connsiteX82" fmla="*/ 7395 w 10734"/>
                <a:gd name="connsiteY82" fmla="*/ 7088 h 10760"/>
                <a:gd name="connsiteX83" fmla="*/ 7958 w 10734"/>
                <a:gd name="connsiteY83" fmla="*/ 7238 h 10760"/>
                <a:gd name="connsiteX84" fmla="*/ 8428 w 10734"/>
                <a:gd name="connsiteY84" fmla="*/ 7626 h 10760"/>
                <a:gd name="connsiteX85" fmla="*/ 8803 w 10734"/>
                <a:gd name="connsiteY85" fmla="*/ 8372 h 10760"/>
                <a:gd name="connsiteX86" fmla="*/ 9179 w 10734"/>
                <a:gd name="connsiteY86" fmla="*/ 8342 h 10760"/>
                <a:gd name="connsiteX87" fmla="*/ 10165 w 10734"/>
                <a:gd name="connsiteY87" fmla="*/ 9088 h 10760"/>
                <a:gd name="connsiteX88" fmla="*/ 8991 w 10734"/>
                <a:gd name="connsiteY88" fmla="*/ 9894 h 10760"/>
                <a:gd name="connsiteX89" fmla="*/ 9461 w 10734"/>
                <a:gd name="connsiteY89" fmla="*/ 10491 h 10760"/>
                <a:gd name="connsiteX90" fmla="*/ 9273 w 10734"/>
                <a:gd name="connsiteY90" fmla="*/ 10730 h 10760"/>
                <a:gd name="connsiteX91" fmla="*/ 8991 w 10734"/>
                <a:gd name="connsiteY91" fmla="*/ 10491 h 10760"/>
                <a:gd name="connsiteX92" fmla="*/ 7113 w 10734"/>
                <a:gd name="connsiteY92" fmla="*/ 10461 h 10760"/>
                <a:gd name="connsiteX93" fmla="*/ 6785 w 10734"/>
                <a:gd name="connsiteY93" fmla="*/ 10760 h 10760"/>
                <a:gd name="connsiteX94" fmla="*/ 6221 w 10734"/>
                <a:gd name="connsiteY94" fmla="*/ 10730 h 10760"/>
                <a:gd name="connsiteX0" fmla="*/ 6221 w 10992"/>
                <a:gd name="connsiteY0" fmla="*/ 10730 h 10760"/>
                <a:gd name="connsiteX1" fmla="*/ 6315 w 10992"/>
                <a:gd name="connsiteY1" fmla="*/ 9894 h 10760"/>
                <a:gd name="connsiteX2" fmla="*/ 6597 w 10992"/>
                <a:gd name="connsiteY2" fmla="*/ 9088 h 10760"/>
                <a:gd name="connsiteX3" fmla="*/ 5799 w 10992"/>
                <a:gd name="connsiteY3" fmla="*/ 8909 h 10760"/>
                <a:gd name="connsiteX4" fmla="*/ 5564 w 10992"/>
                <a:gd name="connsiteY4" fmla="*/ 8730 h 10760"/>
                <a:gd name="connsiteX5" fmla="*/ 5188 w 10992"/>
                <a:gd name="connsiteY5" fmla="*/ 8820 h 10760"/>
                <a:gd name="connsiteX6" fmla="*/ 4860 w 10992"/>
                <a:gd name="connsiteY6" fmla="*/ 8253 h 10760"/>
                <a:gd name="connsiteX7" fmla="*/ 4296 w 10992"/>
                <a:gd name="connsiteY7" fmla="*/ 7894 h 10760"/>
                <a:gd name="connsiteX8" fmla="*/ 3874 w 10992"/>
                <a:gd name="connsiteY8" fmla="*/ 7924 h 10760"/>
                <a:gd name="connsiteX9" fmla="*/ 3968 w 10992"/>
                <a:gd name="connsiteY9" fmla="*/ 8103 h 10760"/>
                <a:gd name="connsiteX10" fmla="*/ 3498 w 10992"/>
                <a:gd name="connsiteY10" fmla="*/ 8133 h 10760"/>
                <a:gd name="connsiteX11" fmla="*/ 3451 w 10992"/>
                <a:gd name="connsiteY11" fmla="*/ 7447 h 10760"/>
                <a:gd name="connsiteX12" fmla="*/ 2700 w 10992"/>
                <a:gd name="connsiteY12" fmla="*/ 7417 h 10760"/>
                <a:gd name="connsiteX13" fmla="*/ 2794 w 10992"/>
                <a:gd name="connsiteY13" fmla="*/ 7118 h 10760"/>
                <a:gd name="connsiteX14" fmla="*/ 2465 w 10992"/>
                <a:gd name="connsiteY14" fmla="*/ 7029 h 10760"/>
                <a:gd name="connsiteX15" fmla="*/ 2278 w 10992"/>
                <a:gd name="connsiteY15" fmla="*/ 6521 h 10760"/>
                <a:gd name="connsiteX16" fmla="*/ 2606 w 10992"/>
                <a:gd name="connsiteY16" fmla="*/ 6372 h 10760"/>
                <a:gd name="connsiteX17" fmla="*/ 3076 w 10992"/>
                <a:gd name="connsiteY17" fmla="*/ 5984 h 10760"/>
                <a:gd name="connsiteX18" fmla="*/ 2794 w 10992"/>
                <a:gd name="connsiteY18" fmla="*/ 5775 h 10760"/>
                <a:gd name="connsiteX19" fmla="*/ 3357 w 10992"/>
                <a:gd name="connsiteY19" fmla="*/ 5447 h 10760"/>
                <a:gd name="connsiteX20" fmla="*/ 2794 w 10992"/>
                <a:gd name="connsiteY20" fmla="*/ 5447 h 10760"/>
                <a:gd name="connsiteX21" fmla="*/ 2794 w 10992"/>
                <a:gd name="connsiteY21" fmla="*/ 5088 h 10760"/>
                <a:gd name="connsiteX22" fmla="*/ 2982 w 10992"/>
                <a:gd name="connsiteY22" fmla="*/ 4521 h 10760"/>
                <a:gd name="connsiteX23" fmla="*/ 2747 w 10992"/>
                <a:gd name="connsiteY23" fmla="*/ 4044 h 10760"/>
                <a:gd name="connsiteX24" fmla="*/ 3453 w 10992"/>
                <a:gd name="connsiteY24" fmla="*/ 3532 h 10760"/>
                <a:gd name="connsiteX25" fmla="*/ 3055 w 10992"/>
                <a:gd name="connsiteY25" fmla="*/ 3342 h 10760"/>
                <a:gd name="connsiteX26" fmla="*/ 2785 w 10992"/>
                <a:gd name="connsiteY26" fmla="*/ 3260 h 10760"/>
                <a:gd name="connsiteX27" fmla="*/ 2078 w 10992"/>
                <a:gd name="connsiteY27" fmla="*/ 3486 h 10760"/>
                <a:gd name="connsiteX28" fmla="*/ 1852 w 10992"/>
                <a:gd name="connsiteY28" fmla="*/ 3336 h 10760"/>
                <a:gd name="connsiteX29" fmla="*/ 1480 w 10992"/>
                <a:gd name="connsiteY29" fmla="*/ 3118 h 10760"/>
                <a:gd name="connsiteX30" fmla="*/ 793 w 10992"/>
                <a:gd name="connsiteY30" fmla="*/ 3070 h 10760"/>
                <a:gd name="connsiteX31" fmla="*/ 334 w 10992"/>
                <a:gd name="connsiteY31" fmla="*/ 2950 h 10760"/>
                <a:gd name="connsiteX32" fmla="*/ 6 w 10992"/>
                <a:gd name="connsiteY32" fmla="*/ 2316 h 10760"/>
                <a:gd name="connsiteX33" fmla="*/ 353 w 10992"/>
                <a:gd name="connsiteY33" fmla="*/ 2820 h 10760"/>
                <a:gd name="connsiteX34" fmla="*/ 165 w 10992"/>
                <a:gd name="connsiteY34" fmla="*/ 2790 h 10760"/>
                <a:gd name="connsiteX35" fmla="*/ 523 w 10992"/>
                <a:gd name="connsiteY35" fmla="*/ 1986 h 10760"/>
                <a:gd name="connsiteX36" fmla="*/ 1172 w 10992"/>
                <a:gd name="connsiteY36" fmla="*/ 1999 h 10760"/>
                <a:gd name="connsiteX37" fmla="*/ 1949 w 10992"/>
                <a:gd name="connsiteY37" fmla="*/ 2461 h 10760"/>
                <a:gd name="connsiteX38" fmla="*/ 873 w 10992"/>
                <a:gd name="connsiteY38" fmla="*/ 2015 h 10760"/>
                <a:gd name="connsiteX39" fmla="*/ 1184 w 10992"/>
                <a:gd name="connsiteY39" fmla="*/ 2021 h 10760"/>
                <a:gd name="connsiteX40" fmla="*/ 1346 w 10992"/>
                <a:gd name="connsiteY40" fmla="*/ 2083 h 10760"/>
                <a:gd name="connsiteX41" fmla="*/ 1821 w 10992"/>
                <a:gd name="connsiteY41" fmla="*/ 2449 h 10760"/>
                <a:gd name="connsiteX42" fmla="*/ 2019 w 10992"/>
                <a:gd name="connsiteY42" fmla="*/ 2178 h 10760"/>
                <a:gd name="connsiteX43" fmla="*/ 2345 w 10992"/>
                <a:gd name="connsiteY43" fmla="*/ 1886 h 10760"/>
                <a:gd name="connsiteX44" fmla="*/ 2470 w 10992"/>
                <a:gd name="connsiteY44" fmla="*/ 1793 h 10760"/>
                <a:gd name="connsiteX45" fmla="*/ 3170 w 10992"/>
                <a:gd name="connsiteY45" fmla="*/ 1805 h 10760"/>
                <a:gd name="connsiteX46" fmla="*/ 2888 w 10992"/>
                <a:gd name="connsiteY46" fmla="*/ 1835 h 10760"/>
                <a:gd name="connsiteX47" fmla="*/ 2700 w 10992"/>
                <a:gd name="connsiteY47" fmla="*/ 1596 h 10760"/>
                <a:gd name="connsiteX48" fmla="*/ 2683 w 10992"/>
                <a:gd name="connsiteY48" fmla="*/ 1359 h 10760"/>
                <a:gd name="connsiteX49" fmla="*/ 2731 w 10992"/>
                <a:gd name="connsiteY49" fmla="*/ 1009 h 10760"/>
                <a:gd name="connsiteX50" fmla="*/ 2465 w 10992"/>
                <a:gd name="connsiteY50" fmla="*/ 1059 h 10760"/>
                <a:gd name="connsiteX51" fmla="*/ 2419 w 10992"/>
                <a:gd name="connsiteY51" fmla="*/ 879 h 10760"/>
                <a:gd name="connsiteX52" fmla="*/ 2534 w 10992"/>
                <a:gd name="connsiteY52" fmla="*/ 580 h 10760"/>
                <a:gd name="connsiteX53" fmla="*/ 2432 w 10992"/>
                <a:gd name="connsiteY53" fmla="*/ 0 h 10760"/>
                <a:gd name="connsiteX54" fmla="*/ 3730 w 10992"/>
                <a:gd name="connsiteY54" fmla="*/ 195 h 10760"/>
                <a:gd name="connsiteX55" fmla="*/ 4766 w 10992"/>
                <a:gd name="connsiteY55" fmla="*/ 1088 h 10760"/>
                <a:gd name="connsiteX56" fmla="*/ 5026 w 10992"/>
                <a:gd name="connsiteY56" fmla="*/ 1091 h 10760"/>
                <a:gd name="connsiteX57" fmla="*/ 5092 w 10992"/>
                <a:gd name="connsiteY57" fmla="*/ 1196 h 10760"/>
                <a:gd name="connsiteX58" fmla="*/ 5308 w 10992"/>
                <a:gd name="connsiteY58" fmla="*/ 1300 h 10760"/>
                <a:gd name="connsiteX59" fmla="*/ 5749 w 10992"/>
                <a:gd name="connsiteY59" fmla="*/ 1256 h 10760"/>
                <a:gd name="connsiteX60" fmla="*/ 5799 w 10992"/>
                <a:gd name="connsiteY60" fmla="*/ 1745 h 10760"/>
                <a:gd name="connsiteX61" fmla="*/ 6080 w 10992"/>
                <a:gd name="connsiteY61" fmla="*/ 1596 h 10760"/>
                <a:gd name="connsiteX62" fmla="*/ 6595 w 10992"/>
                <a:gd name="connsiteY62" fmla="*/ 1755 h 10760"/>
                <a:gd name="connsiteX63" fmla="*/ 7332 w 10992"/>
                <a:gd name="connsiteY63" fmla="*/ 1218 h 10760"/>
                <a:gd name="connsiteX64" fmla="*/ 7756 w 10992"/>
                <a:gd name="connsiteY64" fmla="*/ 983 h 10760"/>
                <a:gd name="connsiteX65" fmla="*/ 8774 w 10992"/>
                <a:gd name="connsiteY65" fmla="*/ 1065 h 10760"/>
                <a:gd name="connsiteX66" fmla="*/ 9151 w 10992"/>
                <a:gd name="connsiteY66" fmla="*/ 1177 h 10760"/>
                <a:gd name="connsiteX67" fmla="*/ 9477 w 10992"/>
                <a:gd name="connsiteY67" fmla="*/ 721 h 10760"/>
                <a:gd name="connsiteX68" fmla="*/ 9759 w 10992"/>
                <a:gd name="connsiteY68" fmla="*/ 1213 h 10760"/>
                <a:gd name="connsiteX69" fmla="*/ 9371 w 10992"/>
                <a:gd name="connsiteY69" fmla="*/ 1544 h 10760"/>
                <a:gd name="connsiteX70" fmla="*/ 9991 w 10992"/>
                <a:gd name="connsiteY70" fmla="*/ 1477 h 10760"/>
                <a:gd name="connsiteX71" fmla="*/ 10734 w 10992"/>
                <a:gd name="connsiteY71" fmla="*/ 1751 h 10760"/>
                <a:gd name="connsiteX72" fmla="*/ 10992 w 10992"/>
                <a:gd name="connsiteY72" fmla="*/ 4408 h 10760"/>
                <a:gd name="connsiteX73" fmla="*/ 6032 w 10992"/>
                <a:gd name="connsiteY73" fmla="*/ 4185 h 10760"/>
                <a:gd name="connsiteX74" fmla="*/ 6315 w 10992"/>
                <a:gd name="connsiteY74" fmla="*/ 4909 h 10760"/>
                <a:gd name="connsiteX75" fmla="*/ 5705 w 10992"/>
                <a:gd name="connsiteY75" fmla="*/ 4939 h 10760"/>
                <a:gd name="connsiteX76" fmla="*/ 5705 w 10992"/>
                <a:gd name="connsiteY76" fmla="*/ 5357 h 10760"/>
                <a:gd name="connsiteX77" fmla="*/ 4766 w 10992"/>
                <a:gd name="connsiteY77" fmla="*/ 5775 h 10760"/>
                <a:gd name="connsiteX78" fmla="*/ 5048 w 10992"/>
                <a:gd name="connsiteY78" fmla="*/ 6163 h 10760"/>
                <a:gd name="connsiteX79" fmla="*/ 4813 w 10992"/>
                <a:gd name="connsiteY79" fmla="*/ 6521 h 10760"/>
                <a:gd name="connsiteX80" fmla="*/ 5611 w 10992"/>
                <a:gd name="connsiteY80" fmla="*/ 7208 h 10760"/>
                <a:gd name="connsiteX81" fmla="*/ 6738 w 10992"/>
                <a:gd name="connsiteY81" fmla="*/ 7208 h 10760"/>
                <a:gd name="connsiteX82" fmla="*/ 7395 w 10992"/>
                <a:gd name="connsiteY82" fmla="*/ 7088 h 10760"/>
                <a:gd name="connsiteX83" fmla="*/ 7958 w 10992"/>
                <a:gd name="connsiteY83" fmla="*/ 7238 h 10760"/>
                <a:gd name="connsiteX84" fmla="*/ 8428 w 10992"/>
                <a:gd name="connsiteY84" fmla="*/ 7626 h 10760"/>
                <a:gd name="connsiteX85" fmla="*/ 8803 w 10992"/>
                <a:gd name="connsiteY85" fmla="*/ 8372 h 10760"/>
                <a:gd name="connsiteX86" fmla="*/ 9179 w 10992"/>
                <a:gd name="connsiteY86" fmla="*/ 8342 h 10760"/>
                <a:gd name="connsiteX87" fmla="*/ 10165 w 10992"/>
                <a:gd name="connsiteY87" fmla="*/ 9088 h 10760"/>
                <a:gd name="connsiteX88" fmla="*/ 8991 w 10992"/>
                <a:gd name="connsiteY88" fmla="*/ 9894 h 10760"/>
                <a:gd name="connsiteX89" fmla="*/ 9461 w 10992"/>
                <a:gd name="connsiteY89" fmla="*/ 10491 h 10760"/>
                <a:gd name="connsiteX90" fmla="*/ 9273 w 10992"/>
                <a:gd name="connsiteY90" fmla="*/ 10730 h 10760"/>
                <a:gd name="connsiteX91" fmla="*/ 8991 w 10992"/>
                <a:gd name="connsiteY91" fmla="*/ 10491 h 10760"/>
                <a:gd name="connsiteX92" fmla="*/ 7113 w 10992"/>
                <a:gd name="connsiteY92" fmla="*/ 10461 h 10760"/>
                <a:gd name="connsiteX93" fmla="*/ 6785 w 10992"/>
                <a:gd name="connsiteY93" fmla="*/ 10760 h 10760"/>
                <a:gd name="connsiteX94" fmla="*/ 6221 w 10992"/>
                <a:gd name="connsiteY94" fmla="*/ 10730 h 10760"/>
                <a:gd name="connsiteX0" fmla="*/ 6221 w 11687"/>
                <a:gd name="connsiteY0" fmla="*/ 10730 h 10760"/>
                <a:gd name="connsiteX1" fmla="*/ 6315 w 11687"/>
                <a:gd name="connsiteY1" fmla="*/ 9894 h 10760"/>
                <a:gd name="connsiteX2" fmla="*/ 6597 w 11687"/>
                <a:gd name="connsiteY2" fmla="*/ 9088 h 10760"/>
                <a:gd name="connsiteX3" fmla="*/ 5799 w 11687"/>
                <a:gd name="connsiteY3" fmla="*/ 8909 h 10760"/>
                <a:gd name="connsiteX4" fmla="*/ 5564 w 11687"/>
                <a:gd name="connsiteY4" fmla="*/ 8730 h 10760"/>
                <a:gd name="connsiteX5" fmla="*/ 5188 w 11687"/>
                <a:gd name="connsiteY5" fmla="*/ 8820 h 10760"/>
                <a:gd name="connsiteX6" fmla="*/ 4860 w 11687"/>
                <a:gd name="connsiteY6" fmla="*/ 8253 h 10760"/>
                <a:gd name="connsiteX7" fmla="*/ 4296 w 11687"/>
                <a:gd name="connsiteY7" fmla="*/ 7894 h 10760"/>
                <a:gd name="connsiteX8" fmla="*/ 3874 w 11687"/>
                <a:gd name="connsiteY8" fmla="*/ 7924 h 10760"/>
                <a:gd name="connsiteX9" fmla="*/ 3968 w 11687"/>
                <a:gd name="connsiteY9" fmla="*/ 8103 h 10760"/>
                <a:gd name="connsiteX10" fmla="*/ 3498 w 11687"/>
                <a:gd name="connsiteY10" fmla="*/ 8133 h 10760"/>
                <a:gd name="connsiteX11" fmla="*/ 3451 w 11687"/>
                <a:gd name="connsiteY11" fmla="*/ 7447 h 10760"/>
                <a:gd name="connsiteX12" fmla="*/ 2700 w 11687"/>
                <a:gd name="connsiteY12" fmla="*/ 7417 h 10760"/>
                <a:gd name="connsiteX13" fmla="*/ 2794 w 11687"/>
                <a:gd name="connsiteY13" fmla="*/ 7118 h 10760"/>
                <a:gd name="connsiteX14" fmla="*/ 2465 w 11687"/>
                <a:gd name="connsiteY14" fmla="*/ 7029 h 10760"/>
                <a:gd name="connsiteX15" fmla="*/ 2278 w 11687"/>
                <a:gd name="connsiteY15" fmla="*/ 6521 h 10760"/>
                <a:gd name="connsiteX16" fmla="*/ 2606 w 11687"/>
                <a:gd name="connsiteY16" fmla="*/ 6372 h 10760"/>
                <a:gd name="connsiteX17" fmla="*/ 3076 w 11687"/>
                <a:gd name="connsiteY17" fmla="*/ 5984 h 10760"/>
                <a:gd name="connsiteX18" fmla="*/ 2794 w 11687"/>
                <a:gd name="connsiteY18" fmla="*/ 5775 h 10760"/>
                <a:gd name="connsiteX19" fmla="*/ 3357 w 11687"/>
                <a:gd name="connsiteY19" fmla="*/ 5447 h 10760"/>
                <a:gd name="connsiteX20" fmla="*/ 2794 w 11687"/>
                <a:gd name="connsiteY20" fmla="*/ 5447 h 10760"/>
                <a:gd name="connsiteX21" fmla="*/ 2794 w 11687"/>
                <a:gd name="connsiteY21" fmla="*/ 5088 h 10760"/>
                <a:gd name="connsiteX22" fmla="*/ 2982 w 11687"/>
                <a:gd name="connsiteY22" fmla="*/ 4521 h 10760"/>
                <a:gd name="connsiteX23" fmla="*/ 2747 w 11687"/>
                <a:gd name="connsiteY23" fmla="*/ 4044 h 10760"/>
                <a:gd name="connsiteX24" fmla="*/ 3453 w 11687"/>
                <a:gd name="connsiteY24" fmla="*/ 3532 h 10760"/>
                <a:gd name="connsiteX25" fmla="*/ 3055 w 11687"/>
                <a:gd name="connsiteY25" fmla="*/ 3342 h 10760"/>
                <a:gd name="connsiteX26" fmla="*/ 2785 w 11687"/>
                <a:gd name="connsiteY26" fmla="*/ 3260 h 10760"/>
                <a:gd name="connsiteX27" fmla="*/ 2078 w 11687"/>
                <a:gd name="connsiteY27" fmla="*/ 3486 h 10760"/>
                <a:gd name="connsiteX28" fmla="*/ 1852 w 11687"/>
                <a:gd name="connsiteY28" fmla="*/ 3336 h 10760"/>
                <a:gd name="connsiteX29" fmla="*/ 1480 w 11687"/>
                <a:gd name="connsiteY29" fmla="*/ 3118 h 10760"/>
                <a:gd name="connsiteX30" fmla="*/ 793 w 11687"/>
                <a:gd name="connsiteY30" fmla="*/ 3070 h 10760"/>
                <a:gd name="connsiteX31" fmla="*/ 334 w 11687"/>
                <a:gd name="connsiteY31" fmla="*/ 2950 h 10760"/>
                <a:gd name="connsiteX32" fmla="*/ 6 w 11687"/>
                <a:gd name="connsiteY32" fmla="*/ 2316 h 10760"/>
                <a:gd name="connsiteX33" fmla="*/ 353 w 11687"/>
                <a:gd name="connsiteY33" fmla="*/ 2820 h 10760"/>
                <a:gd name="connsiteX34" fmla="*/ 165 w 11687"/>
                <a:gd name="connsiteY34" fmla="*/ 2790 h 10760"/>
                <a:gd name="connsiteX35" fmla="*/ 523 w 11687"/>
                <a:gd name="connsiteY35" fmla="*/ 1986 h 10760"/>
                <a:gd name="connsiteX36" fmla="*/ 1172 w 11687"/>
                <a:gd name="connsiteY36" fmla="*/ 1999 h 10760"/>
                <a:gd name="connsiteX37" fmla="*/ 1949 w 11687"/>
                <a:gd name="connsiteY37" fmla="*/ 2461 h 10760"/>
                <a:gd name="connsiteX38" fmla="*/ 873 w 11687"/>
                <a:gd name="connsiteY38" fmla="*/ 2015 h 10760"/>
                <a:gd name="connsiteX39" fmla="*/ 1184 w 11687"/>
                <a:gd name="connsiteY39" fmla="*/ 2021 h 10760"/>
                <a:gd name="connsiteX40" fmla="*/ 1346 w 11687"/>
                <a:gd name="connsiteY40" fmla="*/ 2083 h 10760"/>
                <a:gd name="connsiteX41" fmla="*/ 1821 w 11687"/>
                <a:gd name="connsiteY41" fmla="*/ 2449 h 10760"/>
                <a:gd name="connsiteX42" fmla="*/ 2019 w 11687"/>
                <a:gd name="connsiteY42" fmla="*/ 2178 h 10760"/>
                <a:gd name="connsiteX43" fmla="*/ 2345 w 11687"/>
                <a:gd name="connsiteY43" fmla="*/ 1886 h 10760"/>
                <a:gd name="connsiteX44" fmla="*/ 2470 w 11687"/>
                <a:gd name="connsiteY44" fmla="*/ 1793 h 10760"/>
                <a:gd name="connsiteX45" fmla="*/ 3170 w 11687"/>
                <a:gd name="connsiteY45" fmla="*/ 1805 h 10760"/>
                <a:gd name="connsiteX46" fmla="*/ 2888 w 11687"/>
                <a:gd name="connsiteY46" fmla="*/ 1835 h 10760"/>
                <a:gd name="connsiteX47" fmla="*/ 2700 w 11687"/>
                <a:gd name="connsiteY47" fmla="*/ 1596 h 10760"/>
                <a:gd name="connsiteX48" fmla="*/ 2683 w 11687"/>
                <a:gd name="connsiteY48" fmla="*/ 1359 h 10760"/>
                <a:gd name="connsiteX49" fmla="*/ 2731 w 11687"/>
                <a:gd name="connsiteY49" fmla="*/ 1009 h 10760"/>
                <a:gd name="connsiteX50" fmla="*/ 2465 w 11687"/>
                <a:gd name="connsiteY50" fmla="*/ 1059 h 10760"/>
                <a:gd name="connsiteX51" fmla="*/ 2419 w 11687"/>
                <a:gd name="connsiteY51" fmla="*/ 879 h 10760"/>
                <a:gd name="connsiteX52" fmla="*/ 2534 w 11687"/>
                <a:gd name="connsiteY52" fmla="*/ 580 h 10760"/>
                <a:gd name="connsiteX53" fmla="*/ 2432 w 11687"/>
                <a:gd name="connsiteY53" fmla="*/ 0 h 10760"/>
                <a:gd name="connsiteX54" fmla="*/ 3730 w 11687"/>
                <a:gd name="connsiteY54" fmla="*/ 195 h 10760"/>
                <a:gd name="connsiteX55" fmla="*/ 4766 w 11687"/>
                <a:gd name="connsiteY55" fmla="*/ 1088 h 10760"/>
                <a:gd name="connsiteX56" fmla="*/ 5026 w 11687"/>
                <a:gd name="connsiteY56" fmla="*/ 1091 h 10760"/>
                <a:gd name="connsiteX57" fmla="*/ 5092 w 11687"/>
                <a:gd name="connsiteY57" fmla="*/ 1196 h 10760"/>
                <a:gd name="connsiteX58" fmla="*/ 5308 w 11687"/>
                <a:gd name="connsiteY58" fmla="*/ 1300 h 10760"/>
                <a:gd name="connsiteX59" fmla="*/ 5749 w 11687"/>
                <a:gd name="connsiteY59" fmla="*/ 1256 h 10760"/>
                <a:gd name="connsiteX60" fmla="*/ 5799 w 11687"/>
                <a:gd name="connsiteY60" fmla="*/ 1745 h 10760"/>
                <a:gd name="connsiteX61" fmla="*/ 6080 w 11687"/>
                <a:gd name="connsiteY61" fmla="*/ 1596 h 10760"/>
                <a:gd name="connsiteX62" fmla="*/ 6595 w 11687"/>
                <a:gd name="connsiteY62" fmla="*/ 1755 h 10760"/>
                <a:gd name="connsiteX63" fmla="*/ 7332 w 11687"/>
                <a:gd name="connsiteY63" fmla="*/ 1218 h 10760"/>
                <a:gd name="connsiteX64" fmla="*/ 7756 w 11687"/>
                <a:gd name="connsiteY64" fmla="*/ 983 h 10760"/>
                <a:gd name="connsiteX65" fmla="*/ 8774 w 11687"/>
                <a:gd name="connsiteY65" fmla="*/ 1065 h 10760"/>
                <a:gd name="connsiteX66" fmla="*/ 9151 w 11687"/>
                <a:gd name="connsiteY66" fmla="*/ 1177 h 10760"/>
                <a:gd name="connsiteX67" fmla="*/ 9477 w 11687"/>
                <a:gd name="connsiteY67" fmla="*/ 721 h 10760"/>
                <a:gd name="connsiteX68" fmla="*/ 9759 w 11687"/>
                <a:gd name="connsiteY68" fmla="*/ 1213 h 10760"/>
                <a:gd name="connsiteX69" fmla="*/ 9371 w 11687"/>
                <a:gd name="connsiteY69" fmla="*/ 1544 h 10760"/>
                <a:gd name="connsiteX70" fmla="*/ 9991 w 11687"/>
                <a:gd name="connsiteY70" fmla="*/ 1477 h 10760"/>
                <a:gd name="connsiteX71" fmla="*/ 10734 w 11687"/>
                <a:gd name="connsiteY71" fmla="*/ 1751 h 10760"/>
                <a:gd name="connsiteX72" fmla="*/ 10992 w 11687"/>
                <a:gd name="connsiteY72" fmla="*/ 4408 h 10760"/>
                <a:gd name="connsiteX73" fmla="*/ 11686 w 11687"/>
                <a:gd name="connsiteY73" fmla="*/ 5374 h 10760"/>
                <a:gd name="connsiteX74" fmla="*/ 6315 w 11687"/>
                <a:gd name="connsiteY74" fmla="*/ 4909 h 10760"/>
                <a:gd name="connsiteX75" fmla="*/ 5705 w 11687"/>
                <a:gd name="connsiteY75" fmla="*/ 4939 h 10760"/>
                <a:gd name="connsiteX76" fmla="*/ 5705 w 11687"/>
                <a:gd name="connsiteY76" fmla="*/ 5357 h 10760"/>
                <a:gd name="connsiteX77" fmla="*/ 4766 w 11687"/>
                <a:gd name="connsiteY77" fmla="*/ 5775 h 10760"/>
                <a:gd name="connsiteX78" fmla="*/ 5048 w 11687"/>
                <a:gd name="connsiteY78" fmla="*/ 6163 h 10760"/>
                <a:gd name="connsiteX79" fmla="*/ 4813 w 11687"/>
                <a:gd name="connsiteY79" fmla="*/ 6521 h 10760"/>
                <a:gd name="connsiteX80" fmla="*/ 5611 w 11687"/>
                <a:gd name="connsiteY80" fmla="*/ 7208 h 10760"/>
                <a:gd name="connsiteX81" fmla="*/ 6738 w 11687"/>
                <a:gd name="connsiteY81" fmla="*/ 7208 h 10760"/>
                <a:gd name="connsiteX82" fmla="*/ 7395 w 11687"/>
                <a:gd name="connsiteY82" fmla="*/ 7088 h 10760"/>
                <a:gd name="connsiteX83" fmla="*/ 7958 w 11687"/>
                <a:gd name="connsiteY83" fmla="*/ 7238 h 10760"/>
                <a:gd name="connsiteX84" fmla="*/ 8428 w 11687"/>
                <a:gd name="connsiteY84" fmla="*/ 7626 h 10760"/>
                <a:gd name="connsiteX85" fmla="*/ 8803 w 11687"/>
                <a:gd name="connsiteY85" fmla="*/ 8372 h 10760"/>
                <a:gd name="connsiteX86" fmla="*/ 9179 w 11687"/>
                <a:gd name="connsiteY86" fmla="*/ 8342 h 10760"/>
                <a:gd name="connsiteX87" fmla="*/ 10165 w 11687"/>
                <a:gd name="connsiteY87" fmla="*/ 9088 h 10760"/>
                <a:gd name="connsiteX88" fmla="*/ 8991 w 11687"/>
                <a:gd name="connsiteY88" fmla="*/ 9894 h 10760"/>
                <a:gd name="connsiteX89" fmla="*/ 9461 w 11687"/>
                <a:gd name="connsiteY89" fmla="*/ 10491 h 10760"/>
                <a:gd name="connsiteX90" fmla="*/ 9273 w 11687"/>
                <a:gd name="connsiteY90" fmla="*/ 10730 h 10760"/>
                <a:gd name="connsiteX91" fmla="*/ 8991 w 11687"/>
                <a:gd name="connsiteY91" fmla="*/ 10491 h 10760"/>
                <a:gd name="connsiteX92" fmla="*/ 7113 w 11687"/>
                <a:gd name="connsiteY92" fmla="*/ 10461 h 10760"/>
                <a:gd name="connsiteX93" fmla="*/ 6785 w 11687"/>
                <a:gd name="connsiteY93" fmla="*/ 10760 h 10760"/>
                <a:gd name="connsiteX94" fmla="*/ 6221 w 11687"/>
                <a:gd name="connsiteY94" fmla="*/ 10730 h 10760"/>
                <a:gd name="connsiteX0" fmla="*/ 6221 w 11687"/>
                <a:gd name="connsiteY0" fmla="*/ 10730 h 10760"/>
                <a:gd name="connsiteX1" fmla="*/ 6315 w 11687"/>
                <a:gd name="connsiteY1" fmla="*/ 9894 h 10760"/>
                <a:gd name="connsiteX2" fmla="*/ 6597 w 11687"/>
                <a:gd name="connsiteY2" fmla="*/ 9088 h 10760"/>
                <a:gd name="connsiteX3" fmla="*/ 5799 w 11687"/>
                <a:gd name="connsiteY3" fmla="*/ 8909 h 10760"/>
                <a:gd name="connsiteX4" fmla="*/ 5564 w 11687"/>
                <a:gd name="connsiteY4" fmla="*/ 8730 h 10760"/>
                <a:gd name="connsiteX5" fmla="*/ 5188 w 11687"/>
                <a:gd name="connsiteY5" fmla="*/ 8820 h 10760"/>
                <a:gd name="connsiteX6" fmla="*/ 4860 w 11687"/>
                <a:gd name="connsiteY6" fmla="*/ 8253 h 10760"/>
                <a:gd name="connsiteX7" fmla="*/ 4296 w 11687"/>
                <a:gd name="connsiteY7" fmla="*/ 7894 h 10760"/>
                <a:gd name="connsiteX8" fmla="*/ 3874 w 11687"/>
                <a:gd name="connsiteY8" fmla="*/ 7924 h 10760"/>
                <a:gd name="connsiteX9" fmla="*/ 3968 w 11687"/>
                <a:gd name="connsiteY9" fmla="*/ 8103 h 10760"/>
                <a:gd name="connsiteX10" fmla="*/ 3498 w 11687"/>
                <a:gd name="connsiteY10" fmla="*/ 8133 h 10760"/>
                <a:gd name="connsiteX11" fmla="*/ 3451 w 11687"/>
                <a:gd name="connsiteY11" fmla="*/ 7447 h 10760"/>
                <a:gd name="connsiteX12" fmla="*/ 2700 w 11687"/>
                <a:gd name="connsiteY12" fmla="*/ 7417 h 10760"/>
                <a:gd name="connsiteX13" fmla="*/ 2794 w 11687"/>
                <a:gd name="connsiteY13" fmla="*/ 7118 h 10760"/>
                <a:gd name="connsiteX14" fmla="*/ 2465 w 11687"/>
                <a:gd name="connsiteY14" fmla="*/ 7029 h 10760"/>
                <a:gd name="connsiteX15" fmla="*/ 2278 w 11687"/>
                <a:gd name="connsiteY15" fmla="*/ 6521 h 10760"/>
                <a:gd name="connsiteX16" fmla="*/ 2606 w 11687"/>
                <a:gd name="connsiteY16" fmla="*/ 6372 h 10760"/>
                <a:gd name="connsiteX17" fmla="*/ 3076 w 11687"/>
                <a:gd name="connsiteY17" fmla="*/ 5984 h 10760"/>
                <a:gd name="connsiteX18" fmla="*/ 2794 w 11687"/>
                <a:gd name="connsiteY18" fmla="*/ 5775 h 10760"/>
                <a:gd name="connsiteX19" fmla="*/ 3357 w 11687"/>
                <a:gd name="connsiteY19" fmla="*/ 5447 h 10760"/>
                <a:gd name="connsiteX20" fmla="*/ 2794 w 11687"/>
                <a:gd name="connsiteY20" fmla="*/ 5447 h 10760"/>
                <a:gd name="connsiteX21" fmla="*/ 2794 w 11687"/>
                <a:gd name="connsiteY21" fmla="*/ 5088 h 10760"/>
                <a:gd name="connsiteX22" fmla="*/ 2982 w 11687"/>
                <a:gd name="connsiteY22" fmla="*/ 4521 h 10760"/>
                <a:gd name="connsiteX23" fmla="*/ 2747 w 11687"/>
                <a:gd name="connsiteY23" fmla="*/ 4044 h 10760"/>
                <a:gd name="connsiteX24" fmla="*/ 3453 w 11687"/>
                <a:gd name="connsiteY24" fmla="*/ 3532 h 10760"/>
                <a:gd name="connsiteX25" fmla="*/ 3055 w 11687"/>
                <a:gd name="connsiteY25" fmla="*/ 3342 h 10760"/>
                <a:gd name="connsiteX26" fmla="*/ 2785 w 11687"/>
                <a:gd name="connsiteY26" fmla="*/ 3260 h 10760"/>
                <a:gd name="connsiteX27" fmla="*/ 2078 w 11687"/>
                <a:gd name="connsiteY27" fmla="*/ 3486 h 10760"/>
                <a:gd name="connsiteX28" fmla="*/ 1852 w 11687"/>
                <a:gd name="connsiteY28" fmla="*/ 3336 h 10760"/>
                <a:gd name="connsiteX29" fmla="*/ 1480 w 11687"/>
                <a:gd name="connsiteY29" fmla="*/ 3118 h 10760"/>
                <a:gd name="connsiteX30" fmla="*/ 793 w 11687"/>
                <a:gd name="connsiteY30" fmla="*/ 3070 h 10760"/>
                <a:gd name="connsiteX31" fmla="*/ 334 w 11687"/>
                <a:gd name="connsiteY31" fmla="*/ 2950 h 10760"/>
                <a:gd name="connsiteX32" fmla="*/ 6 w 11687"/>
                <a:gd name="connsiteY32" fmla="*/ 2316 h 10760"/>
                <a:gd name="connsiteX33" fmla="*/ 353 w 11687"/>
                <a:gd name="connsiteY33" fmla="*/ 2820 h 10760"/>
                <a:gd name="connsiteX34" fmla="*/ 165 w 11687"/>
                <a:gd name="connsiteY34" fmla="*/ 2790 h 10760"/>
                <a:gd name="connsiteX35" fmla="*/ 523 w 11687"/>
                <a:gd name="connsiteY35" fmla="*/ 1986 h 10760"/>
                <a:gd name="connsiteX36" fmla="*/ 1172 w 11687"/>
                <a:gd name="connsiteY36" fmla="*/ 1999 h 10760"/>
                <a:gd name="connsiteX37" fmla="*/ 1949 w 11687"/>
                <a:gd name="connsiteY37" fmla="*/ 2461 h 10760"/>
                <a:gd name="connsiteX38" fmla="*/ 873 w 11687"/>
                <a:gd name="connsiteY38" fmla="*/ 2015 h 10760"/>
                <a:gd name="connsiteX39" fmla="*/ 1184 w 11687"/>
                <a:gd name="connsiteY39" fmla="*/ 2021 h 10760"/>
                <a:gd name="connsiteX40" fmla="*/ 1346 w 11687"/>
                <a:gd name="connsiteY40" fmla="*/ 2083 h 10760"/>
                <a:gd name="connsiteX41" fmla="*/ 1821 w 11687"/>
                <a:gd name="connsiteY41" fmla="*/ 2449 h 10760"/>
                <a:gd name="connsiteX42" fmla="*/ 2019 w 11687"/>
                <a:gd name="connsiteY42" fmla="*/ 2178 h 10760"/>
                <a:gd name="connsiteX43" fmla="*/ 2345 w 11687"/>
                <a:gd name="connsiteY43" fmla="*/ 1886 h 10760"/>
                <a:gd name="connsiteX44" fmla="*/ 2470 w 11687"/>
                <a:gd name="connsiteY44" fmla="*/ 1793 h 10760"/>
                <a:gd name="connsiteX45" fmla="*/ 3170 w 11687"/>
                <a:gd name="connsiteY45" fmla="*/ 1805 h 10760"/>
                <a:gd name="connsiteX46" fmla="*/ 2888 w 11687"/>
                <a:gd name="connsiteY46" fmla="*/ 1835 h 10760"/>
                <a:gd name="connsiteX47" fmla="*/ 2700 w 11687"/>
                <a:gd name="connsiteY47" fmla="*/ 1596 h 10760"/>
                <a:gd name="connsiteX48" fmla="*/ 2683 w 11687"/>
                <a:gd name="connsiteY48" fmla="*/ 1359 h 10760"/>
                <a:gd name="connsiteX49" fmla="*/ 2731 w 11687"/>
                <a:gd name="connsiteY49" fmla="*/ 1009 h 10760"/>
                <a:gd name="connsiteX50" fmla="*/ 2465 w 11687"/>
                <a:gd name="connsiteY50" fmla="*/ 1059 h 10760"/>
                <a:gd name="connsiteX51" fmla="*/ 2419 w 11687"/>
                <a:gd name="connsiteY51" fmla="*/ 879 h 10760"/>
                <a:gd name="connsiteX52" fmla="*/ 2534 w 11687"/>
                <a:gd name="connsiteY52" fmla="*/ 580 h 10760"/>
                <a:gd name="connsiteX53" fmla="*/ 2432 w 11687"/>
                <a:gd name="connsiteY53" fmla="*/ 0 h 10760"/>
                <a:gd name="connsiteX54" fmla="*/ 3730 w 11687"/>
                <a:gd name="connsiteY54" fmla="*/ 195 h 10760"/>
                <a:gd name="connsiteX55" fmla="*/ 4766 w 11687"/>
                <a:gd name="connsiteY55" fmla="*/ 1088 h 10760"/>
                <a:gd name="connsiteX56" fmla="*/ 5026 w 11687"/>
                <a:gd name="connsiteY56" fmla="*/ 1091 h 10760"/>
                <a:gd name="connsiteX57" fmla="*/ 5092 w 11687"/>
                <a:gd name="connsiteY57" fmla="*/ 1196 h 10760"/>
                <a:gd name="connsiteX58" fmla="*/ 5308 w 11687"/>
                <a:gd name="connsiteY58" fmla="*/ 1300 h 10760"/>
                <a:gd name="connsiteX59" fmla="*/ 5749 w 11687"/>
                <a:gd name="connsiteY59" fmla="*/ 1256 h 10760"/>
                <a:gd name="connsiteX60" fmla="*/ 5799 w 11687"/>
                <a:gd name="connsiteY60" fmla="*/ 1745 h 10760"/>
                <a:gd name="connsiteX61" fmla="*/ 6080 w 11687"/>
                <a:gd name="connsiteY61" fmla="*/ 1596 h 10760"/>
                <a:gd name="connsiteX62" fmla="*/ 6595 w 11687"/>
                <a:gd name="connsiteY62" fmla="*/ 1755 h 10760"/>
                <a:gd name="connsiteX63" fmla="*/ 7332 w 11687"/>
                <a:gd name="connsiteY63" fmla="*/ 1218 h 10760"/>
                <a:gd name="connsiteX64" fmla="*/ 7756 w 11687"/>
                <a:gd name="connsiteY64" fmla="*/ 983 h 10760"/>
                <a:gd name="connsiteX65" fmla="*/ 8774 w 11687"/>
                <a:gd name="connsiteY65" fmla="*/ 1065 h 10760"/>
                <a:gd name="connsiteX66" fmla="*/ 9151 w 11687"/>
                <a:gd name="connsiteY66" fmla="*/ 1177 h 10760"/>
                <a:gd name="connsiteX67" fmla="*/ 9477 w 11687"/>
                <a:gd name="connsiteY67" fmla="*/ 721 h 10760"/>
                <a:gd name="connsiteX68" fmla="*/ 9759 w 11687"/>
                <a:gd name="connsiteY68" fmla="*/ 1213 h 10760"/>
                <a:gd name="connsiteX69" fmla="*/ 9371 w 11687"/>
                <a:gd name="connsiteY69" fmla="*/ 1544 h 10760"/>
                <a:gd name="connsiteX70" fmla="*/ 9991 w 11687"/>
                <a:gd name="connsiteY70" fmla="*/ 1477 h 10760"/>
                <a:gd name="connsiteX71" fmla="*/ 10734 w 11687"/>
                <a:gd name="connsiteY71" fmla="*/ 1751 h 10760"/>
                <a:gd name="connsiteX72" fmla="*/ 11024 w 11687"/>
                <a:gd name="connsiteY72" fmla="*/ 4405 h 10760"/>
                <a:gd name="connsiteX73" fmla="*/ 11686 w 11687"/>
                <a:gd name="connsiteY73" fmla="*/ 5374 h 10760"/>
                <a:gd name="connsiteX74" fmla="*/ 6315 w 11687"/>
                <a:gd name="connsiteY74" fmla="*/ 4909 h 10760"/>
                <a:gd name="connsiteX75" fmla="*/ 5705 w 11687"/>
                <a:gd name="connsiteY75" fmla="*/ 4939 h 10760"/>
                <a:gd name="connsiteX76" fmla="*/ 5705 w 11687"/>
                <a:gd name="connsiteY76" fmla="*/ 5357 h 10760"/>
                <a:gd name="connsiteX77" fmla="*/ 4766 w 11687"/>
                <a:gd name="connsiteY77" fmla="*/ 5775 h 10760"/>
                <a:gd name="connsiteX78" fmla="*/ 5048 w 11687"/>
                <a:gd name="connsiteY78" fmla="*/ 6163 h 10760"/>
                <a:gd name="connsiteX79" fmla="*/ 4813 w 11687"/>
                <a:gd name="connsiteY79" fmla="*/ 6521 h 10760"/>
                <a:gd name="connsiteX80" fmla="*/ 5611 w 11687"/>
                <a:gd name="connsiteY80" fmla="*/ 7208 h 10760"/>
                <a:gd name="connsiteX81" fmla="*/ 6738 w 11687"/>
                <a:gd name="connsiteY81" fmla="*/ 7208 h 10760"/>
                <a:gd name="connsiteX82" fmla="*/ 7395 w 11687"/>
                <a:gd name="connsiteY82" fmla="*/ 7088 h 10760"/>
                <a:gd name="connsiteX83" fmla="*/ 7958 w 11687"/>
                <a:gd name="connsiteY83" fmla="*/ 7238 h 10760"/>
                <a:gd name="connsiteX84" fmla="*/ 8428 w 11687"/>
                <a:gd name="connsiteY84" fmla="*/ 7626 h 10760"/>
                <a:gd name="connsiteX85" fmla="*/ 8803 w 11687"/>
                <a:gd name="connsiteY85" fmla="*/ 8372 h 10760"/>
                <a:gd name="connsiteX86" fmla="*/ 9179 w 11687"/>
                <a:gd name="connsiteY86" fmla="*/ 8342 h 10760"/>
                <a:gd name="connsiteX87" fmla="*/ 10165 w 11687"/>
                <a:gd name="connsiteY87" fmla="*/ 9088 h 10760"/>
                <a:gd name="connsiteX88" fmla="*/ 8991 w 11687"/>
                <a:gd name="connsiteY88" fmla="*/ 9894 h 10760"/>
                <a:gd name="connsiteX89" fmla="*/ 9461 w 11687"/>
                <a:gd name="connsiteY89" fmla="*/ 10491 h 10760"/>
                <a:gd name="connsiteX90" fmla="*/ 9273 w 11687"/>
                <a:gd name="connsiteY90" fmla="*/ 10730 h 10760"/>
                <a:gd name="connsiteX91" fmla="*/ 8991 w 11687"/>
                <a:gd name="connsiteY91" fmla="*/ 10491 h 10760"/>
                <a:gd name="connsiteX92" fmla="*/ 7113 w 11687"/>
                <a:gd name="connsiteY92" fmla="*/ 10461 h 10760"/>
                <a:gd name="connsiteX93" fmla="*/ 6785 w 11687"/>
                <a:gd name="connsiteY93" fmla="*/ 10760 h 10760"/>
                <a:gd name="connsiteX94" fmla="*/ 6221 w 11687"/>
                <a:gd name="connsiteY94" fmla="*/ 10730 h 10760"/>
                <a:gd name="connsiteX0" fmla="*/ 6221 w 11687"/>
                <a:gd name="connsiteY0" fmla="*/ 10730 h 10760"/>
                <a:gd name="connsiteX1" fmla="*/ 6315 w 11687"/>
                <a:gd name="connsiteY1" fmla="*/ 9894 h 10760"/>
                <a:gd name="connsiteX2" fmla="*/ 6597 w 11687"/>
                <a:gd name="connsiteY2" fmla="*/ 9088 h 10760"/>
                <a:gd name="connsiteX3" fmla="*/ 5799 w 11687"/>
                <a:gd name="connsiteY3" fmla="*/ 8909 h 10760"/>
                <a:gd name="connsiteX4" fmla="*/ 5564 w 11687"/>
                <a:gd name="connsiteY4" fmla="*/ 8730 h 10760"/>
                <a:gd name="connsiteX5" fmla="*/ 5188 w 11687"/>
                <a:gd name="connsiteY5" fmla="*/ 8820 h 10760"/>
                <a:gd name="connsiteX6" fmla="*/ 4860 w 11687"/>
                <a:gd name="connsiteY6" fmla="*/ 8253 h 10760"/>
                <a:gd name="connsiteX7" fmla="*/ 4296 w 11687"/>
                <a:gd name="connsiteY7" fmla="*/ 7894 h 10760"/>
                <a:gd name="connsiteX8" fmla="*/ 3874 w 11687"/>
                <a:gd name="connsiteY8" fmla="*/ 7924 h 10760"/>
                <a:gd name="connsiteX9" fmla="*/ 3968 w 11687"/>
                <a:gd name="connsiteY9" fmla="*/ 8103 h 10760"/>
                <a:gd name="connsiteX10" fmla="*/ 3498 w 11687"/>
                <a:gd name="connsiteY10" fmla="*/ 8133 h 10760"/>
                <a:gd name="connsiteX11" fmla="*/ 3451 w 11687"/>
                <a:gd name="connsiteY11" fmla="*/ 7447 h 10760"/>
                <a:gd name="connsiteX12" fmla="*/ 2700 w 11687"/>
                <a:gd name="connsiteY12" fmla="*/ 7417 h 10760"/>
                <a:gd name="connsiteX13" fmla="*/ 2794 w 11687"/>
                <a:gd name="connsiteY13" fmla="*/ 7118 h 10760"/>
                <a:gd name="connsiteX14" fmla="*/ 2465 w 11687"/>
                <a:gd name="connsiteY14" fmla="*/ 7029 h 10760"/>
                <a:gd name="connsiteX15" fmla="*/ 2278 w 11687"/>
                <a:gd name="connsiteY15" fmla="*/ 6521 h 10760"/>
                <a:gd name="connsiteX16" fmla="*/ 2606 w 11687"/>
                <a:gd name="connsiteY16" fmla="*/ 6372 h 10760"/>
                <a:gd name="connsiteX17" fmla="*/ 3076 w 11687"/>
                <a:gd name="connsiteY17" fmla="*/ 5984 h 10760"/>
                <a:gd name="connsiteX18" fmla="*/ 2794 w 11687"/>
                <a:gd name="connsiteY18" fmla="*/ 5775 h 10760"/>
                <a:gd name="connsiteX19" fmla="*/ 3357 w 11687"/>
                <a:gd name="connsiteY19" fmla="*/ 5447 h 10760"/>
                <a:gd name="connsiteX20" fmla="*/ 2794 w 11687"/>
                <a:gd name="connsiteY20" fmla="*/ 5447 h 10760"/>
                <a:gd name="connsiteX21" fmla="*/ 2794 w 11687"/>
                <a:gd name="connsiteY21" fmla="*/ 5088 h 10760"/>
                <a:gd name="connsiteX22" fmla="*/ 2982 w 11687"/>
                <a:gd name="connsiteY22" fmla="*/ 4521 h 10760"/>
                <a:gd name="connsiteX23" fmla="*/ 2747 w 11687"/>
                <a:gd name="connsiteY23" fmla="*/ 4044 h 10760"/>
                <a:gd name="connsiteX24" fmla="*/ 3453 w 11687"/>
                <a:gd name="connsiteY24" fmla="*/ 3532 h 10760"/>
                <a:gd name="connsiteX25" fmla="*/ 3055 w 11687"/>
                <a:gd name="connsiteY25" fmla="*/ 3342 h 10760"/>
                <a:gd name="connsiteX26" fmla="*/ 2785 w 11687"/>
                <a:gd name="connsiteY26" fmla="*/ 3260 h 10760"/>
                <a:gd name="connsiteX27" fmla="*/ 2078 w 11687"/>
                <a:gd name="connsiteY27" fmla="*/ 3486 h 10760"/>
                <a:gd name="connsiteX28" fmla="*/ 1852 w 11687"/>
                <a:gd name="connsiteY28" fmla="*/ 3336 h 10760"/>
                <a:gd name="connsiteX29" fmla="*/ 1480 w 11687"/>
                <a:gd name="connsiteY29" fmla="*/ 3118 h 10760"/>
                <a:gd name="connsiteX30" fmla="*/ 793 w 11687"/>
                <a:gd name="connsiteY30" fmla="*/ 3070 h 10760"/>
                <a:gd name="connsiteX31" fmla="*/ 334 w 11687"/>
                <a:gd name="connsiteY31" fmla="*/ 2950 h 10760"/>
                <a:gd name="connsiteX32" fmla="*/ 6 w 11687"/>
                <a:gd name="connsiteY32" fmla="*/ 2316 h 10760"/>
                <a:gd name="connsiteX33" fmla="*/ 353 w 11687"/>
                <a:gd name="connsiteY33" fmla="*/ 2820 h 10760"/>
                <a:gd name="connsiteX34" fmla="*/ 165 w 11687"/>
                <a:gd name="connsiteY34" fmla="*/ 2790 h 10760"/>
                <a:gd name="connsiteX35" fmla="*/ 523 w 11687"/>
                <a:gd name="connsiteY35" fmla="*/ 1986 h 10760"/>
                <a:gd name="connsiteX36" fmla="*/ 1172 w 11687"/>
                <a:gd name="connsiteY36" fmla="*/ 1999 h 10760"/>
                <a:gd name="connsiteX37" fmla="*/ 1949 w 11687"/>
                <a:gd name="connsiteY37" fmla="*/ 2461 h 10760"/>
                <a:gd name="connsiteX38" fmla="*/ 873 w 11687"/>
                <a:gd name="connsiteY38" fmla="*/ 2015 h 10760"/>
                <a:gd name="connsiteX39" fmla="*/ 1184 w 11687"/>
                <a:gd name="connsiteY39" fmla="*/ 2021 h 10760"/>
                <a:gd name="connsiteX40" fmla="*/ 1346 w 11687"/>
                <a:gd name="connsiteY40" fmla="*/ 2083 h 10760"/>
                <a:gd name="connsiteX41" fmla="*/ 1821 w 11687"/>
                <a:gd name="connsiteY41" fmla="*/ 2449 h 10760"/>
                <a:gd name="connsiteX42" fmla="*/ 2019 w 11687"/>
                <a:gd name="connsiteY42" fmla="*/ 2178 h 10760"/>
                <a:gd name="connsiteX43" fmla="*/ 2345 w 11687"/>
                <a:gd name="connsiteY43" fmla="*/ 1886 h 10760"/>
                <a:gd name="connsiteX44" fmla="*/ 2470 w 11687"/>
                <a:gd name="connsiteY44" fmla="*/ 1793 h 10760"/>
                <a:gd name="connsiteX45" fmla="*/ 3170 w 11687"/>
                <a:gd name="connsiteY45" fmla="*/ 1805 h 10760"/>
                <a:gd name="connsiteX46" fmla="*/ 2888 w 11687"/>
                <a:gd name="connsiteY46" fmla="*/ 1835 h 10760"/>
                <a:gd name="connsiteX47" fmla="*/ 2700 w 11687"/>
                <a:gd name="connsiteY47" fmla="*/ 1596 h 10760"/>
                <a:gd name="connsiteX48" fmla="*/ 2683 w 11687"/>
                <a:gd name="connsiteY48" fmla="*/ 1359 h 10760"/>
                <a:gd name="connsiteX49" fmla="*/ 2731 w 11687"/>
                <a:gd name="connsiteY49" fmla="*/ 1009 h 10760"/>
                <a:gd name="connsiteX50" fmla="*/ 2465 w 11687"/>
                <a:gd name="connsiteY50" fmla="*/ 1059 h 10760"/>
                <a:gd name="connsiteX51" fmla="*/ 2419 w 11687"/>
                <a:gd name="connsiteY51" fmla="*/ 879 h 10760"/>
                <a:gd name="connsiteX52" fmla="*/ 2534 w 11687"/>
                <a:gd name="connsiteY52" fmla="*/ 580 h 10760"/>
                <a:gd name="connsiteX53" fmla="*/ 2432 w 11687"/>
                <a:gd name="connsiteY53" fmla="*/ 0 h 10760"/>
                <a:gd name="connsiteX54" fmla="*/ 3730 w 11687"/>
                <a:gd name="connsiteY54" fmla="*/ 195 h 10760"/>
                <a:gd name="connsiteX55" fmla="*/ 4766 w 11687"/>
                <a:gd name="connsiteY55" fmla="*/ 1088 h 10760"/>
                <a:gd name="connsiteX56" fmla="*/ 5026 w 11687"/>
                <a:gd name="connsiteY56" fmla="*/ 1091 h 10760"/>
                <a:gd name="connsiteX57" fmla="*/ 5092 w 11687"/>
                <a:gd name="connsiteY57" fmla="*/ 1196 h 10760"/>
                <a:gd name="connsiteX58" fmla="*/ 5308 w 11687"/>
                <a:gd name="connsiteY58" fmla="*/ 1300 h 10760"/>
                <a:gd name="connsiteX59" fmla="*/ 5749 w 11687"/>
                <a:gd name="connsiteY59" fmla="*/ 1256 h 10760"/>
                <a:gd name="connsiteX60" fmla="*/ 5799 w 11687"/>
                <a:gd name="connsiteY60" fmla="*/ 1745 h 10760"/>
                <a:gd name="connsiteX61" fmla="*/ 6080 w 11687"/>
                <a:gd name="connsiteY61" fmla="*/ 1596 h 10760"/>
                <a:gd name="connsiteX62" fmla="*/ 6595 w 11687"/>
                <a:gd name="connsiteY62" fmla="*/ 1755 h 10760"/>
                <a:gd name="connsiteX63" fmla="*/ 7332 w 11687"/>
                <a:gd name="connsiteY63" fmla="*/ 1218 h 10760"/>
                <a:gd name="connsiteX64" fmla="*/ 7756 w 11687"/>
                <a:gd name="connsiteY64" fmla="*/ 983 h 10760"/>
                <a:gd name="connsiteX65" fmla="*/ 8774 w 11687"/>
                <a:gd name="connsiteY65" fmla="*/ 1065 h 10760"/>
                <a:gd name="connsiteX66" fmla="*/ 9151 w 11687"/>
                <a:gd name="connsiteY66" fmla="*/ 1177 h 10760"/>
                <a:gd name="connsiteX67" fmla="*/ 9477 w 11687"/>
                <a:gd name="connsiteY67" fmla="*/ 721 h 10760"/>
                <a:gd name="connsiteX68" fmla="*/ 9759 w 11687"/>
                <a:gd name="connsiteY68" fmla="*/ 1213 h 10760"/>
                <a:gd name="connsiteX69" fmla="*/ 9371 w 11687"/>
                <a:gd name="connsiteY69" fmla="*/ 1544 h 10760"/>
                <a:gd name="connsiteX70" fmla="*/ 9991 w 11687"/>
                <a:gd name="connsiteY70" fmla="*/ 1477 h 10760"/>
                <a:gd name="connsiteX71" fmla="*/ 10569 w 11687"/>
                <a:gd name="connsiteY71" fmla="*/ 1744 h 10760"/>
                <a:gd name="connsiteX72" fmla="*/ 11024 w 11687"/>
                <a:gd name="connsiteY72" fmla="*/ 4405 h 10760"/>
                <a:gd name="connsiteX73" fmla="*/ 11686 w 11687"/>
                <a:gd name="connsiteY73" fmla="*/ 5374 h 10760"/>
                <a:gd name="connsiteX74" fmla="*/ 6315 w 11687"/>
                <a:gd name="connsiteY74" fmla="*/ 4909 h 10760"/>
                <a:gd name="connsiteX75" fmla="*/ 5705 w 11687"/>
                <a:gd name="connsiteY75" fmla="*/ 4939 h 10760"/>
                <a:gd name="connsiteX76" fmla="*/ 5705 w 11687"/>
                <a:gd name="connsiteY76" fmla="*/ 5357 h 10760"/>
                <a:gd name="connsiteX77" fmla="*/ 4766 w 11687"/>
                <a:gd name="connsiteY77" fmla="*/ 5775 h 10760"/>
                <a:gd name="connsiteX78" fmla="*/ 5048 w 11687"/>
                <a:gd name="connsiteY78" fmla="*/ 6163 h 10760"/>
                <a:gd name="connsiteX79" fmla="*/ 4813 w 11687"/>
                <a:gd name="connsiteY79" fmla="*/ 6521 h 10760"/>
                <a:gd name="connsiteX80" fmla="*/ 5611 w 11687"/>
                <a:gd name="connsiteY80" fmla="*/ 7208 h 10760"/>
                <a:gd name="connsiteX81" fmla="*/ 6738 w 11687"/>
                <a:gd name="connsiteY81" fmla="*/ 7208 h 10760"/>
                <a:gd name="connsiteX82" fmla="*/ 7395 w 11687"/>
                <a:gd name="connsiteY82" fmla="*/ 7088 h 10760"/>
                <a:gd name="connsiteX83" fmla="*/ 7958 w 11687"/>
                <a:gd name="connsiteY83" fmla="*/ 7238 h 10760"/>
                <a:gd name="connsiteX84" fmla="*/ 8428 w 11687"/>
                <a:gd name="connsiteY84" fmla="*/ 7626 h 10760"/>
                <a:gd name="connsiteX85" fmla="*/ 8803 w 11687"/>
                <a:gd name="connsiteY85" fmla="*/ 8372 h 10760"/>
                <a:gd name="connsiteX86" fmla="*/ 9179 w 11687"/>
                <a:gd name="connsiteY86" fmla="*/ 8342 h 10760"/>
                <a:gd name="connsiteX87" fmla="*/ 10165 w 11687"/>
                <a:gd name="connsiteY87" fmla="*/ 9088 h 10760"/>
                <a:gd name="connsiteX88" fmla="*/ 8991 w 11687"/>
                <a:gd name="connsiteY88" fmla="*/ 9894 h 10760"/>
                <a:gd name="connsiteX89" fmla="*/ 9461 w 11687"/>
                <a:gd name="connsiteY89" fmla="*/ 10491 h 10760"/>
                <a:gd name="connsiteX90" fmla="*/ 9273 w 11687"/>
                <a:gd name="connsiteY90" fmla="*/ 10730 h 10760"/>
                <a:gd name="connsiteX91" fmla="*/ 8991 w 11687"/>
                <a:gd name="connsiteY91" fmla="*/ 10491 h 10760"/>
                <a:gd name="connsiteX92" fmla="*/ 7113 w 11687"/>
                <a:gd name="connsiteY92" fmla="*/ 10461 h 10760"/>
                <a:gd name="connsiteX93" fmla="*/ 6785 w 11687"/>
                <a:gd name="connsiteY93" fmla="*/ 10760 h 10760"/>
                <a:gd name="connsiteX94" fmla="*/ 6221 w 11687"/>
                <a:gd name="connsiteY94" fmla="*/ 10730 h 10760"/>
                <a:gd name="connsiteX0" fmla="*/ 6221 w 11687"/>
                <a:gd name="connsiteY0" fmla="*/ 10730 h 10760"/>
                <a:gd name="connsiteX1" fmla="*/ 6315 w 11687"/>
                <a:gd name="connsiteY1" fmla="*/ 9894 h 10760"/>
                <a:gd name="connsiteX2" fmla="*/ 6597 w 11687"/>
                <a:gd name="connsiteY2" fmla="*/ 9088 h 10760"/>
                <a:gd name="connsiteX3" fmla="*/ 5799 w 11687"/>
                <a:gd name="connsiteY3" fmla="*/ 8909 h 10760"/>
                <a:gd name="connsiteX4" fmla="*/ 5564 w 11687"/>
                <a:gd name="connsiteY4" fmla="*/ 8730 h 10760"/>
                <a:gd name="connsiteX5" fmla="*/ 5188 w 11687"/>
                <a:gd name="connsiteY5" fmla="*/ 8820 h 10760"/>
                <a:gd name="connsiteX6" fmla="*/ 4860 w 11687"/>
                <a:gd name="connsiteY6" fmla="*/ 8253 h 10760"/>
                <a:gd name="connsiteX7" fmla="*/ 4296 w 11687"/>
                <a:gd name="connsiteY7" fmla="*/ 7894 h 10760"/>
                <a:gd name="connsiteX8" fmla="*/ 3874 w 11687"/>
                <a:gd name="connsiteY8" fmla="*/ 7924 h 10760"/>
                <a:gd name="connsiteX9" fmla="*/ 3968 w 11687"/>
                <a:gd name="connsiteY9" fmla="*/ 8103 h 10760"/>
                <a:gd name="connsiteX10" fmla="*/ 3498 w 11687"/>
                <a:gd name="connsiteY10" fmla="*/ 8133 h 10760"/>
                <a:gd name="connsiteX11" fmla="*/ 3451 w 11687"/>
                <a:gd name="connsiteY11" fmla="*/ 7447 h 10760"/>
                <a:gd name="connsiteX12" fmla="*/ 2700 w 11687"/>
                <a:gd name="connsiteY12" fmla="*/ 7417 h 10760"/>
                <a:gd name="connsiteX13" fmla="*/ 2794 w 11687"/>
                <a:gd name="connsiteY13" fmla="*/ 7118 h 10760"/>
                <a:gd name="connsiteX14" fmla="*/ 2465 w 11687"/>
                <a:gd name="connsiteY14" fmla="*/ 7029 h 10760"/>
                <a:gd name="connsiteX15" fmla="*/ 2278 w 11687"/>
                <a:gd name="connsiteY15" fmla="*/ 6521 h 10760"/>
                <a:gd name="connsiteX16" fmla="*/ 2606 w 11687"/>
                <a:gd name="connsiteY16" fmla="*/ 6372 h 10760"/>
                <a:gd name="connsiteX17" fmla="*/ 3076 w 11687"/>
                <a:gd name="connsiteY17" fmla="*/ 5984 h 10760"/>
                <a:gd name="connsiteX18" fmla="*/ 2794 w 11687"/>
                <a:gd name="connsiteY18" fmla="*/ 5775 h 10760"/>
                <a:gd name="connsiteX19" fmla="*/ 3357 w 11687"/>
                <a:gd name="connsiteY19" fmla="*/ 5447 h 10760"/>
                <a:gd name="connsiteX20" fmla="*/ 2794 w 11687"/>
                <a:gd name="connsiteY20" fmla="*/ 5447 h 10760"/>
                <a:gd name="connsiteX21" fmla="*/ 2794 w 11687"/>
                <a:gd name="connsiteY21" fmla="*/ 5088 h 10760"/>
                <a:gd name="connsiteX22" fmla="*/ 2982 w 11687"/>
                <a:gd name="connsiteY22" fmla="*/ 4521 h 10760"/>
                <a:gd name="connsiteX23" fmla="*/ 2747 w 11687"/>
                <a:gd name="connsiteY23" fmla="*/ 4044 h 10760"/>
                <a:gd name="connsiteX24" fmla="*/ 3453 w 11687"/>
                <a:gd name="connsiteY24" fmla="*/ 3532 h 10760"/>
                <a:gd name="connsiteX25" fmla="*/ 3055 w 11687"/>
                <a:gd name="connsiteY25" fmla="*/ 3342 h 10760"/>
                <a:gd name="connsiteX26" fmla="*/ 2785 w 11687"/>
                <a:gd name="connsiteY26" fmla="*/ 3260 h 10760"/>
                <a:gd name="connsiteX27" fmla="*/ 2078 w 11687"/>
                <a:gd name="connsiteY27" fmla="*/ 3486 h 10760"/>
                <a:gd name="connsiteX28" fmla="*/ 1852 w 11687"/>
                <a:gd name="connsiteY28" fmla="*/ 3336 h 10760"/>
                <a:gd name="connsiteX29" fmla="*/ 1480 w 11687"/>
                <a:gd name="connsiteY29" fmla="*/ 3118 h 10760"/>
                <a:gd name="connsiteX30" fmla="*/ 793 w 11687"/>
                <a:gd name="connsiteY30" fmla="*/ 3070 h 10760"/>
                <a:gd name="connsiteX31" fmla="*/ 334 w 11687"/>
                <a:gd name="connsiteY31" fmla="*/ 2950 h 10760"/>
                <a:gd name="connsiteX32" fmla="*/ 6 w 11687"/>
                <a:gd name="connsiteY32" fmla="*/ 2316 h 10760"/>
                <a:gd name="connsiteX33" fmla="*/ 353 w 11687"/>
                <a:gd name="connsiteY33" fmla="*/ 2820 h 10760"/>
                <a:gd name="connsiteX34" fmla="*/ 165 w 11687"/>
                <a:gd name="connsiteY34" fmla="*/ 2790 h 10760"/>
                <a:gd name="connsiteX35" fmla="*/ 523 w 11687"/>
                <a:gd name="connsiteY35" fmla="*/ 1986 h 10760"/>
                <a:gd name="connsiteX36" fmla="*/ 1172 w 11687"/>
                <a:gd name="connsiteY36" fmla="*/ 1999 h 10760"/>
                <a:gd name="connsiteX37" fmla="*/ 1949 w 11687"/>
                <a:gd name="connsiteY37" fmla="*/ 2461 h 10760"/>
                <a:gd name="connsiteX38" fmla="*/ 873 w 11687"/>
                <a:gd name="connsiteY38" fmla="*/ 2015 h 10760"/>
                <a:gd name="connsiteX39" fmla="*/ 1184 w 11687"/>
                <a:gd name="connsiteY39" fmla="*/ 2021 h 10760"/>
                <a:gd name="connsiteX40" fmla="*/ 1346 w 11687"/>
                <a:gd name="connsiteY40" fmla="*/ 2083 h 10760"/>
                <a:gd name="connsiteX41" fmla="*/ 1821 w 11687"/>
                <a:gd name="connsiteY41" fmla="*/ 2449 h 10760"/>
                <a:gd name="connsiteX42" fmla="*/ 2019 w 11687"/>
                <a:gd name="connsiteY42" fmla="*/ 2178 h 10760"/>
                <a:gd name="connsiteX43" fmla="*/ 2345 w 11687"/>
                <a:gd name="connsiteY43" fmla="*/ 1886 h 10760"/>
                <a:gd name="connsiteX44" fmla="*/ 2470 w 11687"/>
                <a:gd name="connsiteY44" fmla="*/ 1793 h 10760"/>
                <a:gd name="connsiteX45" fmla="*/ 3170 w 11687"/>
                <a:gd name="connsiteY45" fmla="*/ 1805 h 10760"/>
                <a:gd name="connsiteX46" fmla="*/ 2888 w 11687"/>
                <a:gd name="connsiteY46" fmla="*/ 1835 h 10760"/>
                <a:gd name="connsiteX47" fmla="*/ 2700 w 11687"/>
                <a:gd name="connsiteY47" fmla="*/ 1596 h 10760"/>
                <a:gd name="connsiteX48" fmla="*/ 2683 w 11687"/>
                <a:gd name="connsiteY48" fmla="*/ 1359 h 10760"/>
                <a:gd name="connsiteX49" fmla="*/ 2731 w 11687"/>
                <a:gd name="connsiteY49" fmla="*/ 1009 h 10760"/>
                <a:gd name="connsiteX50" fmla="*/ 2465 w 11687"/>
                <a:gd name="connsiteY50" fmla="*/ 1059 h 10760"/>
                <a:gd name="connsiteX51" fmla="*/ 2419 w 11687"/>
                <a:gd name="connsiteY51" fmla="*/ 879 h 10760"/>
                <a:gd name="connsiteX52" fmla="*/ 2534 w 11687"/>
                <a:gd name="connsiteY52" fmla="*/ 580 h 10760"/>
                <a:gd name="connsiteX53" fmla="*/ 2432 w 11687"/>
                <a:gd name="connsiteY53" fmla="*/ 0 h 10760"/>
                <a:gd name="connsiteX54" fmla="*/ 3730 w 11687"/>
                <a:gd name="connsiteY54" fmla="*/ 195 h 10760"/>
                <a:gd name="connsiteX55" fmla="*/ 4766 w 11687"/>
                <a:gd name="connsiteY55" fmla="*/ 1088 h 10760"/>
                <a:gd name="connsiteX56" fmla="*/ 5026 w 11687"/>
                <a:gd name="connsiteY56" fmla="*/ 1091 h 10760"/>
                <a:gd name="connsiteX57" fmla="*/ 5092 w 11687"/>
                <a:gd name="connsiteY57" fmla="*/ 1196 h 10760"/>
                <a:gd name="connsiteX58" fmla="*/ 5308 w 11687"/>
                <a:gd name="connsiteY58" fmla="*/ 1300 h 10760"/>
                <a:gd name="connsiteX59" fmla="*/ 5749 w 11687"/>
                <a:gd name="connsiteY59" fmla="*/ 1256 h 10760"/>
                <a:gd name="connsiteX60" fmla="*/ 5799 w 11687"/>
                <a:gd name="connsiteY60" fmla="*/ 1745 h 10760"/>
                <a:gd name="connsiteX61" fmla="*/ 6080 w 11687"/>
                <a:gd name="connsiteY61" fmla="*/ 1596 h 10760"/>
                <a:gd name="connsiteX62" fmla="*/ 6595 w 11687"/>
                <a:gd name="connsiteY62" fmla="*/ 1755 h 10760"/>
                <a:gd name="connsiteX63" fmla="*/ 7332 w 11687"/>
                <a:gd name="connsiteY63" fmla="*/ 1218 h 10760"/>
                <a:gd name="connsiteX64" fmla="*/ 7756 w 11687"/>
                <a:gd name="connsiteY64" fmla="*/ 983 h 10760"/>
                <a:gd name="connsiteX65" fmla="*/ 8774 w 11687"/>
                <a:gd name="connsiteY65" fmla="*/ 1065 h 10760"/>
                <a:gd name="connsiteX66" fmla="*/ 9151 w 11687"/>
                <a:gd name="connsiteY66" fmla="*/ 1177 h 10760"/>
                <a:gd name="connsiteX67" fmla="*/ 9477 w 11687"/>
                <a:gd name="connsiteY67" fmla="*/ 721 h 10760"/>
                <a:gd name="connsiteX68" fmla="*/ 9759 w 11687"/>
                <a:gd name="connsiteY68" fmla="*/ 1213 h 10760"/>
                <a:gd name="connsiteX69" fmla="*/ 9371 w 11687"/>
                <a:gd name="connsiteY69" fmla="*/ 1544 h 10760"/>
                <a:gd name="connsiteX70" fmla="*/ 9991 w 11687"/>
                <a:gd name="connsiteY70" fmla="*/ 1477 h 10760"/>
                <a:gd name="connsiteX71" fmla="*/ 10569 w 11687"/>
                <a:gd name="connsiteY71" fmla="*/ 1744 h 10760"/>
                <a:gd name="connsiteX72" fmla="*/ 11024 w 11687"/>
                <a:gd name="connsiteY72" fmla="*/ 4405 h 10760"/>
                <a:gd name="connsiteX73" fmla="*/ 11686 w 11687"/>
                <a:gd name="connsiteY73" fmla="*/ 5374 h 10760"/>
                <a:gd name="connsiteX74" fmla="*/ 11196 w 11687"/>
                <a:gd name="connsiteY74" fmla="*/ 5987 h 10760"/>
                <a:gd name="connsiteX75" fmla="*/ 5705 w 11687"/>
                <a:gd name="connsiteY75" fmla="*/ 4939 h 10760"/>
                <a:gd name="connsiteX76" fmla="*/ 5705 w 11687"/>
                <a:gd name="connsiteY76" fmla="*/ 5357 h 10760"/>
                <a:gd name="connsiteX77" fmla="*/ 4766 w 11687"/>
                <a:gd name="connsiteY77" fmla="*/ 5775 h 10760"/>
                <a:gd name="connsiteX78" fmla="*/ 5048 w 11687"/>
                <a:gd name="connsiteY78" fmla="*/ 6163 h 10760"/>
                <a:gd name="connsiteX79" fmla="*/ 4813 w 11687"/>
                <a:gd name="connsiteY79" fmla="*/ 6521 h 10760"/>
                <a:gd name="connsiteX80" fmla="*/ 5611 w 11687"/>
                <a:gd name="connsiteY80" fmla="*/ 7208 h 10760"/>
                <a:gd name="connsiteX81" fmla="*/ 6738 w 11687"/>
                <a:gd name="connsiteY81" fmla="*/ 7208 h 10760"/>
                <a:gd name="connsiteX82" fmla="*/ 7395 w 11687"/>
                <a:gd name="connsiteY82" fmla="*/ 7088 h 10760"/>
                <a:gd name="connsiteX83" fmla="*/ 7958 w 11687"/>
                <a:gd name="connsiteY83" fmla="*/ 7238 h 10760"/>
                <a:gd name="connsiteX84" fmla="*/ 8428 w 11687"/>
                <a:gd name="connsiteY84" fmla="*/ 7626 h 10760"/>
                <a:gd name="connsiteX85" fmla="*/ 8803 w 11687"/>
                <a:gd name="connsiteY85" fmla="*/ 8372 h 10760"/>
                <a:gd name="connsiteX86" fmla="*/ 9179 w 11687"/>
                <a:gd name="connsiteY86" fmla="*/ 8342 h 10760"/>
                <a:gd name="connsiteX87" fmla="*/ 10165 w 11687"/>
                <a:gd name="connsiteY87" fmla="*/ 9088 h 10760"/>
                <a:gd name="connsiteX88" fmla="*/ 8991 w 11687"/>
                <a:gd name="connsiteY88" fmla="*/ 9894 h 10760"/>
                <a:gd name="connsiteX89" fmla="*/ 9461 w 11687"/>
                <a:gd name="connsiteY89" fmla="*/ 10491 h 10760"/>
                <a:gd name="connsiteX90" fmla="*/ 9273 w 11687"/>
                <a:gd name="connsiteY90" fmla="*/ 10730 h 10760"/>
                <a:gd name="connsiteX91" fmla="*/ 8991 w 11687"/>
                <a:gd name="connsiteY91" fmla="*/ 10491 h 10760"/>
                <a:gd name="connsiteX92" fmla="*/ 7113 w 11687"/>
                <a:gd name="connsiteY92" fmla="*/ 10461 h 10760"/>
                <a:gd name="connsiteX93" fmla="*/ 6785 w 11687"/>
                <a:gd name="connsiteY93" fmla="*/ 10760 h 10760"/>
                <a:gd name="connsiteX94" fmla="*/ 6221 w 11687"/>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96 w 11573"/>
                <a:gd name="connsiteY74" fmla="*/ 5987 h 10760"/>
                <a:gd name="connsiteX75" fmla="*/ 5705 w 11573"/>
                <a:gd name="connsiteY75" fmla="*/ 4939 h 10760"/>
                <a:gd name="connsiteX76" fmla="*/ 5705 w 11573"/>
                <a:gd name="connsiteY76" fmla="*/ 5357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96 w 11573"/>
                <a:gd name="connsiteY74" fmla="*/ 5987 h 10760"/>
                <a:gd name="connsiteX75" fmla="*/ 8966 w 11573"/>
                <a:gd name="connsiteY75" fmla="*/ 6263 h 10760"/>
                <a:gd name="connsiteX76" fmla="*/ 5705 w 11573"/>
                <a:gd name="connsiteY76" fmla="*/ 5357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8966 w 11573"/>
                <a:gd name="connsiteY75" fmla="*/ 6263 h 10760"/>
                <a:gd name="connsiteX76" fmla="*/ 5705 w 11573"/>
                <a:gd name="connsiteY76" fmla="*/ 5357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5705 w 11573"/>
                <a:gd name="connsiteY76" fmla="*/ 5357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5705 w 11573"/>
                <a:gd name="connsiteY76" fmla="*/ 5357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5705 w 11573"/>
                <a:gd name="connsiteY76" fmla="*/ 5357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8561 w 11573"/>
                <a:gd name="connsiteY76" fmla="*/ 6788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8561 w 11573"/>
                <a:gd name="connsiteY76" fmla="*/ 6788 h 10760"/>
                <a:gd name="connsiteX77" fmla="*/ 4766 w 11573"/>
                <a:gd name="connsiteY77" fmla="*/ 5775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8561 w 11573"/>
                <a:gd name="connsiteY76" fmla="*/ 6788 h 10760"/>
                <a:gd name="connsiteX77" fmla="*/ 7924 w 11573"/>
                <a:gd name="connsiteY77" fmla="*/ 6901 h 10760"/>
                <a:gd name="connsiteX78" fmla="*/ 5048 w 11573"/>
                <a:gd name="connsiteY78" fmla="*/ 6163 h 10760"/>
                <a:gd name="connsiteX79" fmla="*/ 4813 w 11573"/>
                <a:gd name="connsiteY79" fmla="*/ 6521 h 10760"/>
                <a:gd name="connsiteX80" fmla="*/ 5611 w 11573"/>
                <a:gd name="connsiteY80" fmla="*/ 7208 h 10760"/>
                <a:gd name="connsiteX81" fmla="*/ 6738 w 11573"/>
                <a:gd name="connsiteY81" fmla="*/ 7208 h 10760"/>
                <a:gd name="connsiteX82" fmla="*/ 7395 w 11573"/>
                <a:gd name="connsiteY82" fmla="*/ 7088 h 10760"/>
                <a:gd name="connsiteX83" fmla="*/ 7958 w 11573"/>
                <a:gd name="connsiteY83" fmla="*/ 7238 h 10760"/>
                <a:gd name="connsiteX84" fmla="*/ 8428 w 11573"/>
                <a:gd name="connsiteY84" fmla="*/ 7626 h 10760"/>
                <a:gd name="connsiteX85" fmla="*/ 8803 w 11573"/>
                <a:gd name="connsiteY85" fmla="*/ 8372 h 10760"/>
                <a:gd name="connsiteX86" fmla="*/ 9179 w 11573"/>
                <a:gd name="connsiteY86" fmla="*/ 8342 h 10760"/>
                <a:gd name="connsiteX87" fmla="*/ 10165 w 11573"/>
                <a:gd name="connsiteY87" fmla="*/ 9088 h 10760"/>
                <a:gd name="connsiteX88" fmla="*/ 8991 w 11573"/>
                <a:gd name="connsiteY88" fmla="*/ 9894 h 10760"/>
                <a:gd name="connsiteX89" fmla="*/ 9461 w 11573"/>
                <a:gd name="connsiteY89" fmla="*/ 10491 h 10760"/>
                <a:gd name="connsiteX90" fmla="*/ 9273 w 11573"/>
                <a:gd name="connsiteY90" fmla="*/ 10730 h 10760"/>
                <a:gd name="connsiteX91" fmla="*/ 8991 w 11573"/>
                <a:gd name="connsiteY91" fmla="*/ 10491 h 10760"/>
                <a:gd name="connsiteX92" fmla="*/ 7113 w 11573"/>
                <a:gd name="connsiteY92" fmla="*/ 10461 h 10760"/>
                <a:gd name="connsiteX93" fmla="*/ 6785 w 11573"/>
                <a:gd name="connsiteY93" fmla="*/ 10760 h 10760"/>
                <a:gd name="connsiteX94" fmla="*/ 6221 w 11573"/>
                <a:gd name="connsiteY94"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8561 w 11573"/>
                <a:gd name="connsiteY76" fmla="*/ 6788 h 10760"/>
                <a:gd name="connsiteX77" fmla="*/ 7924 w 11573"/>
                <a:gd name="connsiteY77" fmla="*/ 6901 h 10760"/>
                <a:gd name="connsiteX78" fmla="*/ 4813 w 11573"/>
                <a:gd name="connsiteY78" fmla="*/ 6521 h 10760"/>
                <a:gd name="connsiteX79" fmla="*/ 5611 w 11573"/>
                <a:gd name="connsiteY79" fmla="*/ 7208 h 10760"/>
                <a:gd name="connsiteX80" fmla="*/ 6738 w 11573"/>
                <a:gd name="connsiteY80" fmla="*/ 7208 h 10760"/>
                <a:gd name="connsiteX81" fmla="*/ 7395 w 11573"/>
                <a:gd name="connsiteY81" fmla="*/ 7088 h 10760"/>
                <a:gd name="connsiteX82" fmla="*/ 7958 w 11573"/>
                <a:gd name="connsiteY82" fmla="*/ 7238 h 10760"/>
                <a:gd name="connsiteX83" fmla="*/ 8428 w 11573"/>
                <a:gd name="connsiteY83" fmla="*/ 7626 h 10760"/>
                <a:gd name="connsiteX84" fmla="*/ 8803 w 11573"/>
                <a:gd name="connsiteY84" fmla="*/ 8372 h 10760"/>
                <a:gd name="connsiteX85" fmla="*/ 9179 w 11573"/>
                <a:gd name="connsiteY85" fmla="*/ 8342 h 10760"/>
                <a:gd name="connsiteX86" fmla="*/ 10165 w 11573"/>
                <a:gd name="connsiteY86" fmla="*/ 9088 h 10760"/>
                <a:gd name="connsiteX87" fmla="*/ 8991 w 11573"/>
                <a:gd name="connsiteY87" fmla="*/ 9894 h 10760"/>
                <a:gd name="connsiteX88" fmla="*/ 9461 w 11573"/>
                <a:gd name="connsiteY88" fmla="*/ 10491 h 10760"/>
                <a:gd name="connsiteX89" fmla="*/ 9273 w 11573"/>
                <a:gd name="connsiteY89" fmla="*/ 10730 h 10760"/>
                <a:gd name="connsiteX90" fmla="*/ 8991 w 11573"/>
                <a:gd name="connsiteY90" fmla="*/ 10491 h 10760"/>
                <a:gd name="connsiteX91" fmla="*/ 7113 w 11573"/>
                <a:gd name="connsiteY91" fmla="*/ 10461 h 10760"/>
                <a:gd name="connsiteX92" fmla="*/ 6785 w 11573"/>
                <a:gd name="connsiteY92" fmla="*/ 10760 h 10760"/>
                <a:gd name="connsiteX93" fmla="*/ 6221 w 11573"/>
                <a:gd name="connsiteY93"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8561 w 11573"/>
                <a:gd name="connsiteY76" fmla="*/ 6788 h 10760"/>
                <a:gd name="connsiteX77" fmla="*/ 7924 w 11573"/>
                <a:gd name="connsiteY77" fmla="*/ 6901 h 10760"/>
                <a:gd name="connsiteX78" fmla="*/ 5611 w 11573"/>
                <a:gd name="connsiteY78" fmla="*/ 7208 h 10760"/>
                <a:gd name="connsiteX79" fmla="*/ 6738 w 11573"/>
                <a:gd name="connsiteY79" fmla="*/ 7208 h 10760"/>
                <a:gd name="connsiteX80" fmla="*/ 7395 w 11573"/>
                <a:gd name="connsiteY80" fmla="*/ 7088 h 10760"/>
                <a:gd name="connsiteX81" fmla="*/ 7958 w 11573"/>
                <a:gd name="connsiteY81" fmla="*/ 7238 h 10760"/>
                <a:gd name="connsiteX82" fmla="*/ 8428 w 11573"/>
                <a:gd name="connsiteY82" fmla="*/ 7626 h 10760"/>
                <a:gd name="connsiteX83" fmla="*/ 8803 w 11573"/>
                <a:gd name="connsiteY83" fmla="*/ 8372 h 10760"/>
                <a:gd name="connsiteX84" fmla="*/ 9179 w 11573"/>
                <a:gd name="connsiteY84" fmla="*/ 8342 h 10760"/>
                <a:gd name="connsiteX85" fmla="*/ 10165 w 11573"/>
                <a:gd name="connsiteY85" fmla="*/ 9088 h 10760"/>
                <a:gd name="connsiteX86" fmla="*/ 8991 w 11573"/>
                <a:gd name="connsiteY86" fmla="*/ 9894 h 10760"/>
                <a:gd name="connsiteX87" fmla="*/ 9461 w 11573"/>
                <a:gd name="connsiteY87" fmla="*/ 10491 h 10760"/>
                <a:gd name="connsiteX88" fmla="*/ 9273 w 11573"/>
                <a:gd name="connsiteY88" fmla="*/ 10730 h 10760"/>
                <a:gd name="connsiteX89" fmla="*/ 8991 w 11573"/>
                <a:gd name="connsiteY89" fmla="*/ 10491 h 10760"/>
                <a:gd name="connsiteX90" fmla="*/ 7113 w 11573"/>
                <a:gd name="connsiteY90" fmla="*/ 10461 h 10760"/>
                <a:gd name="connsiteX91" fmla="*/ 6785 w 11573"/>
                <a:gd name="connsiteY91" fmla="*/ 10760 h 10760"/>
                <a:gd name="connsiteX92" fmla="*/ 6221 w 11573"/>
                <a:gd name="connsiteY92"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8561 w 11573"/>
                <a:gd name="connsiteY76" fmla="*/ 6788 h 10760"/>
                <a:gd name="connsiteX77" fmla="*/ 7924 w 11573"/>
                <a:gd name="connsiteY77" fmla="*/ 6901 h 10760"/>
                <a:gd name="connsiteX78" fmla="*/ 6738 w 11573"/>
                <a:gd name="connsiteY78" fmla="*/ 7208 h 10760"/>
                <a:gd name="connsiteX79" fmla="*/ 7395 w 11573"/>
                <a:gd name="connsiteY79" fmla="*/ 7088 h 10760"/>
                <a:gd name="connsiteX80" fmla="*/ 7958 w 11573"/>
                <a:gd name="connsiteY80" fmla="*/ 7238 h 10760"/>
                <a:gd name="connsiteX81" fmla="*/ 8428 w 11573"/>
                <a:gd name="connsiteY81" fmla="*/ 7626 h 10760"/>
                <a:gd name="connsiteX82" fmla="*/ 8803 w 11573"/>
                <a:gd name="connsiteY82" fmla="*/ 8372 h 10760"/>
                <a:gd name="connsiteX83" fmla="*/ 9179 w 11573"/>
                <a:gd name="connsiteY83" fmla="*/ 8342 h 10760"/>
                <a:gd name="connsiteX84" fmla="*/ 10165 w 11573"/>
                <a:gd name="connsiteY84" fmla="*/ 9088 h 10760"/>
                <a:gd name="connsiteX85" fmla="*/ 8991 w 11573"/>
                <a:gd name="connsiteY85" fmla="*/ 9894 h 10760"/>
                <a:gd name="connsiteX86" fmla="*/ 9461 w 11573"/>
                <a:gd name="connsiteY86" fmla="*/ 10491 h 10760"/>
                <a:gd name="connsiteX87" fmla="*/ 9273 w 11573"/>
                <a:gd name="connsiteY87" fmla="*/ 10730 h 10760"/>
                <a:gd name="connsiteX88" fmla="*/ 8991 w 11573"/>
                <a:gd name="connsiteY88" fmla="*/ 10491 h 10760"/>
                <a:gd name="connsiteX89" fmla="*/ 7113 w 11573"/>
                <a:gd name="connsiteY89" fmla="*/ 10461 h 10760"/>
                <a:gd name="connsiteX90" fmla="*/ 6785 w 11573"/>
                <a:gd name="connsiteY90" fmla="*/ 10760 h 10760"/>
                <a:gd name="connsiteX91" fmla="*/ 6221 w 11573"/>
                <a:gd name="connsiteY91" fmla="*/ 10730 h 10760"/>
                <a:gd name="connsiteX0" fmla="*/ 6221 w 11573"/>
                <a:gd name="connsiteY0" fmla="*/ 10730 h 10760"/>
                <a:gd name="connsiteX1" fmla="*/ 6315 w 11573"/>
                <a:gd name="connsiteY1" fmla="*/ 9894 h 10760"/>
                <a:gd name="connsiteX2" fmla="*/ 6597 w 11573"/>
                <a:gd name="connsiteY2" fmla="*/ 9088 h 10760"/>
                <a:gd name="connsiteX3" fmla="*/ 5799 w 11573"/>
                <a:gd name="connsiteY3" fmla="*/ 8909 h 10760"/>
                <a:gd name="connsiteX4" fmla="*/ 5564 w 11573"/>
                <a:gd name="connsiteY4" fmla="*/ 8730 h 10760"/>
                <a:gd name="connsiteX5" fmla="*/ 5188 w 11573"/>
                <a:gd name="connsiteY5" fmla="*/ 8820 h 10760"/>
                <a:gd name="connsiteX6" fmla="*/ 4860 w 11573"/>
                <a:gd name="connsiteY6" fmla="*/ 8253 h 10760"/>
                <a:gd name="connsiteX7" fmla="*/ 4296 w 11573"/>
                <a:gd name="connsiteY7" fmla="*/ 7894 h 10760"/>
                <a:gd name="connsiteX8" fmla="*/ 3874 w 11573"/>
                <a:gd name="connsiteY8" fmla="*/ 7924 h 10760"/>
                <a:gd name="connsiteX9" fmla="*/ 3968 w 11573"/>
                <a:gd name="connsiteY9" fmla="*/ 8103 h 10760"/>
                <a:gd name="connsiteX10" fmla="*/ 3498 w 11573"/>
                <a:gd name="connsiteY10" fmla="*/ 8133 h 10760"/>
                <a:gd name="connsiteX11" fmla="*/ 3451 w 11573"/>
                <a:gd name="connsiteY11" fmla="*/ 7447 h 10760"/>
                <a:gd name="connsiteX12" fmla="*/ 2700 w 11573"/>
                <a:gd name="connsiteY12" fmla="*/ 7417 h 10760"/>
                <a:gd name="connsiteX13" fmla="*/ 2794 w 11573"/>
                <a:gd name="connsiteY13" fmla="*/ 7118 h 10760"/>
                <a:gd name="connsiteX14" fmla="*/ 2465 w 11573"/>
                <a:gd name="connsiteY14" fmla="*/ 7029 h 10760"/>
                <a:gd name="connsiteX15" fmla="*/ 2278 w 11573"/>
                <a:gd name="connsiteY15" fmla="*/ 6521 h 10760"/>
                <a:gd name="connsiteX16" fmla="*/ 2606 w 11573"/>
                <a:gd name="connsiteY16" fmla="*/ 6372 h 10760"/>
                <a:gd name="connsiteX17" fmla="*/ 3076 w 11573"/>
                <a:gd name="connsiteY17" fmla="*/ 5984 h 10760"/>
                <a:gd name="connsiteX18" fmla="*/ 2794 w 11573"/>
                <a:gd name="connsiteY18" fmla="*/ 5775 h 10760"/>
                <a:gd name="connsiteX19" fmla="*/ 3357 w 11573"/>
                <a:gd name="connsiteY19" fmla="*/ 5447 h 10760"/>
                <a:gd name="connsiteX20" fmla="*/ 2794 w 11573"/>
                <a:gd name="connsiteY20" fmla="*/ 5447 h 10760"/>
                <a:gd name="connsiteX21" fmla="*/ 2794 w 11573"/>
                <a:gd name="connsiteY21" fmla="*/ 5088 h 10760"/>
                <a:gd name="connsiteX22" fmla="*/ 2982 w 11573"/>
                <a:gd name="connsiteY22" fmla="*/ 4521 h 10760"/>
                <a:gd name="connsiteX23" fmla="*/ 2747 w 11573"/>
                <a:gd name="connsiteY23" fmla="*/ 4044 h 10760"/>
                <a:gd name="connsiteX24" fmla="*/ 3453 w 11573"/>
                <a:gd name="connsiteY24" fmla="*/ 3532 h 10760"/>
                <a:gd name="connsiteX25" fmla="*/ 3055 w 11573"/>
                <a:gd name="connsiteY25" fmla="*/ 3342 h 10760"/>
                <a:gd name="connsiteX26" fmla="*/ 2785 w 11573"/>
                <a:gd name="connsiteY26" fmla="*/ 3260 h 10760"/>
                <a:gd name="connsiteX27" fmla="*/ 2078 w 11573"/>
                <a:gd name="connsiteY27" fmla="*/ 3486 h 10760"/>
                <a:gd name="connsiteX28" fmla="*/ 1852 w 11573"/>
                <a:gd name="connsiteY28" fmla="*/ 3336 h 10760"/>
                <a:gd name="connsiteX29" fmla="*/ 1480 w 11573"/>
                <a:gd name="connsiteY29" fmla="*/ 3118 h 10760"/>
                <a:gd name="connsiteX30" fmla="*/ 793 w 11573"/>
                <a:gd name="connsiteY30" fmla="*/ 3070 h 10760"/>
                <a:gd name="connsiteX31" fmla="*/ 334 w 11573"/>
                <a:gd name="connsiteY31" fmla="*/ 2950 h 10760"/>
                <a:gd name="connsiteX32" fmla="*/ 6 w 11573"/>
                <a:gd name="connsiteY32" fmla="*/ 2316 h 10760"/>
                <a:gd name="connsiteX33" fmla="*/ 353 w 11573"/>
                <a:gd name="connsiteY33" fmla="*/ 2820 h 10760"/>
                <a:gd name="connsiteX34" fmla="*/ 165 w 11573"/>
                <a:gd name="connsiteY34" fmla="*/ 2790 h 10760"/>
                <a:gd name="connsiteX35" fmla="*/ 523 w 11573"/>
                <a:gd name="connsiteY35" fmla="*/ 1986 h 10760"/>
                <a:gd name="connsiteX36" fmla="*/ 1172 w 11573"/>
                <a:gd name="connsiteY36" fmla="*/ 1999 h 10760"/>
                <a:gd name="connsiteX37" fmla="*/ 1949 w 11573"/>
                <a:gd name="connsiteY37" fmla="*/ 2461 h 10760"/>
                <a:gd name="connsiteX38" fmla="*/ 873 w 11573"/>
                <a:gd name="connsiteY38" fmla="*/ 2015 h 10760"/>
                <a:gd name="connsiteX39" fmla="*/ 1184 w 11573"/>
                <a:gd name="connsiteY39" fmla="*/ 2021 h 10760"/>
                <a:gd name="connsiteX40" fmla="*/ 1346 w 11573"/>
                <a:gd name="connsiteY40" fmla="*/ 2083 h 10760"/>
                <a:gd name="connsiteX41" fmla="*/ 1821 w 11573"/>
                <a:gd name="connsiteY41" fmla="*/ 2449 h 10760"/>
                <a:gd name="connsiteX42" fmla="*/ 2019 w 11573"/>
                <a:gd name="connsiteY42" fmla="*/ 2178 h 10760"/>
                <a:gd name="connsiteX43" fmla="*/ 2345 w 11573"/>
                <a:gd name="connsiteY43" fmla="*/ 1886 h 10760"/>
                <a:gd name="connsiteX44" fmla="*/ 2470 w 11573"/>
                <a:gd name="connsiteY44" fmla="*/ 1793 h 10760"/>
                <a:gd name="connsiteX45" fmla="*/ 3170 w 11573"/>
                <a:gd name="connsiteY45" fmla="*/ 1805 h 10760"/>
                <a:gd name="connsiteX46" fmla="*/ 2888 w 11573"/>
                <a:gd name="connsiteY46" fmla="*/ 1835 h 10760"/>
                <a:gd name="connsiteX47" fmla="*/ 2700 w 11573"/>
                <a:gd name="connsiteY47" fmla="*/ 1596 h 10760"/>
                <a:gd name="connsiteX48" fmla="*/ 2683 w 11573"/>
                <a:gd name="connsiteY48" fmla="*/ 1359 h 10760"/>
                <a:gd name="connsiteX49" fmla="*/ 2731 w 11573"/>
                <a:gd name="connsiteY49" fmla="*/ 1009 h 10760"/>
                <a:gd name="connsiteX50" fmla="*/ 2465 w 11573"/>
                <a:gd name="connsiteY50" fmla="*/ 1059 h 10760"/>
                <a:gd name="connsiteX51" fmla="*/ 2419 w 11573"/>
                <a:gd name="connsiteY51" fmla="*/ 879 h 10760"/>
                <a:gd name="connsiteX52" fmla="*/ 2534 w 11573"/>
                <a:gd name="connsiteY52" fmla="*/ 580 h 10760"/>
                <a:gd name="connsiteX53" fmla="*/ 2432 w 11573"/>
                <a:gd name="connsiteY53" fmla="*/ 0 h 10760"/>
                <a:gd name="connsiteX54" fmla="*/ 3730 w 11573"/>
                <a:gd name="connsiteY54" fmla="*/ 195 h 10760"/>
                <a:gd name="connsiteX55" fmla="*/ 4766 w 11573"/>
                <a:gd name="connsiteY55" fmla="*/ 1088 h 10760"/>
                <a:gd name="connsiteX56" fmla="*/ 5026 w 11573"/>
                <a:gd name="connsiteY56" fmla="*/ 1091 h 10760"/>
                <a:gd name="connsiteX57" fmla="*/ 5092 w 11573"/>
                <a:gd name="connsiteY57" fmla="*/ 1196 h 10760"/>
                <a:gd name="connsiteX58" fmla="*/ 5308 w 11573"/>
                <a:gd name="connsiteY58" fmla="*/ 1300 h 10760"/>
                <a:gd name="connsiteX59" fmla="*/ 5749 w 11573"/>
                <a:gd name="connsiteY59" fmla="*/ 1256 h 10760"/>
                <a:gd name="connsiteX60" fmla="*/ 5799 w 11573"/>
                <a:gd name="connsiteY60" fmla="*/ 1745 h 10760"/>
                <a:gd name="connsiteX61" fmla="*/ 6080 w 11573"/>
                <a:gd name="connsiteY61" fmla="*/ 1596 h 10760"/>
                <a:gd name="connsiteX62" fmla="*/ 6595 w 11573"/>
                <a:gd name="connsiteY62" fmla="*/ 1755 h 10760"/>
                <a:gd name="connsiteX63" fmla="*/ 7332 w 11573"/>
                <a:gd name="connsiteY63" fmla="*/ 1218 h 10760"/>
                <a:gd name="connsiteX64" fmla="*/ 7756 w 11573"/>
                <a:gd name="connsiteY64" fmla="*/ 983 h 10760"/>
                <a:gd name="connsiteX65" fmla="*/ 8774 w 11573"/>
                <a:gd name="connsiteY65" fmla="*/ 1065 h 10760"/>
                <a:gd name="connsiteX66" fmla="*/ 9151 w 11573"/>
                <a:gd name="connsiteY66" fmla="*/ 1177 h 10760"/>
                <a:gd name="connsiteX67" fmla="*/ 9477 w 11573"/>
                <a:gd name="connsiteY67" fmla="*/ 721 h 10760"/>
                <a:gd name="connsiteX68" fmla="*/ 9759 w 11573"/>
                <a:gd name="connsiteY68" fmla="*/ 1213 h 10760"/>
                <a:gd name="connsiteX69" fmla="*/ 9371 w 11573"/>
                <a:gd name="connsiteY69" fmla="*/ 1544 h 10760"/>
                <a:gd name="connsiteX70" fmla="*/ 9991 w 11573"/>
                <a:gd name="connsiteY70" fmla="*/ 1477 h 10760"/>
                <a:gd name="connsiteX71" fmla="*/ 10569 w 11573"/>
                <a:gd name="connsiteY71" fmla="*/ 1744 h 10760"/>
                <a:gd name="connsiteX72" fmla="*/ 11024 w 11573"/>
                <a:gd name="connsiteY72" fmla="*/ 4405 h 10760"/>
                <a:gd name="connsiteX73" fmla="*/ 11572 w 11573"/>
                <a:gd name="connsiteY73" fmla="*/ 5293 h 10760"/>
                <a:gd name="connsiteX74" fmla="*/ 11160 w 11573"/>
                <a:gd name="connsiteY74" fmla="*/ 5967 h 10760"/>
                <a:gd name="connsiteX75" fmla="*/ 9777 w 11573"/>
                <a:gd name="connsiteY75" fmla="*/ 6232 h 10760"/>
                <a:gd name="connsiteX76" fmla="*/ 8561 w 11573"/>
                <a:gd name="connsiteY76" fmla="*/ 6788 h 10760"/>
                <a:gd name="connsiteX77" fmla="*/ 7924 w 11573"/>
                <a:gd name="connsiteY77" fmla="*/ 6901 h 10760"/>
                <a:gd name="connsiteX78" fmla="*/ 7395 w 11573"/>
                <a:gd name="connsiteY78" fmla="*/ 7088 h 10760"/>
                <a:gd name="connsiteX79" fmla="*/ 7958 w 11573"/>
                <a:gd name="connsiteY79" fmla="*/ 7238 h 10760"/>
                <a:gd name="connsiteX80" fmla="*/ 8428 w 11573"/>
                <a:gd name="connsiteY80" fmla="*/ 7626 h 10760"/>
                <a:gd name="connsiteX81" fmla="*/ 8803 w 11573"/>
                <a:gd name="connsiteY81" fmla="*/ 8372 h 10760"/>
                <a:gd name="connsiteX82" fmla="*/ 9179 w 11573"/>
                <a:gd name="connsiteY82" fmla="*/ 8342 h 10760"/>
                <a:gd name="connsiteX83" fmla="*/ 10165 w 11573"/>
                <a:gd name="connsiteY83" fmla="*/ 9088 h 10760"/>
                <a:gd name="connsiteX84" fmla="*/ 8991 w 11573"/>
                <a:gd name="connsiteY84" fmla="*/ 9894 h 10760"/>
                <a:gd name="connsiteX85" fmla="*/ 9461 w 11573"/>
                <a:gd name="connsiteY85" fmla="*/ 10491 h 10760"/>
                <a:gd name="connsiteX86" fmla="*/ 9273 w 11573"/>
                <a:gd name="connsiteY86" fmla="*/ 10730 h 10760"/>
                <a:gd name="connsiteX87" fmla="*/ 8991 w 11573"/>
                <a:gd name="connsiteY87" fmla="*/ 10491 h 10760"/>
                <a:gd name="connsiteX88" fmla="*/ 7113 w 11573"/>
                <a:gd name="connsiteY88" fmla="*/ 10461 h 10760"/>
                <a:gd name="connsiteX89" fmla="*/ 6785 w 11573"/>
                <a:gd name="connsiteY89" fmla="*/ 10760 h 10760"/>
                <a:gd name="connsiteX90" fmla="*/ 6221 w 11573"/>
                <a:gd name="connsiteY90" fmla="*/ 10730 h 10760"/>
                <a:gd name="connsiteX0" fmla="*/ 6288 w 11640"/>
                <a:gd name="connsiteY0" fmla="*/ 10730 h 10760"/>
                <a:gd name="connsiteX1" fmla="*/ 6382 w 11640"/>
                <a:gd name="connsiteY1" fmla="*/ 9894 h 10760"/>
                <a:gd name="connsiteX2" fmla="*/ 6664 w 11640"/>
                <a:gd name="connsiteY2" fmla="*/ 9088 h 10760"/>
                <a:gd name="connsiteX3" fmla="*/ 5866 w 11640"/>
                <a:gd name="connsiteY3" fmla="*/ 8909 h 10760"/>
                <a:gd name="connsiteX4" fmla="*/ 5631 w 11640"/>
                <a:gd name="connsiteY4" fmla="*/ 8730 h 10760"/>
                <a:gd name="connsiteX5" fmla="*/ 5255 w 11640"/>
                <a:gd name="connsiteY5" fmla="*/ 8820 h 10760"/>
                <a:gd name="connsiteX6" fmla="*/ 4927 w 11640"/>
                <a:gd name="connsiteY6" fmla="*/ 8253 h 10760"/>
                <a:gd name="connsiteX7" fmla="*/ 4363 w 11640"/>
                <a:gd name="connsiteY7" fmla="*/ 7894 h 10760"/>
                <a:gd name="connsiteX8" fmla="*/ 3941 w 11640"/>
                <a:gd name="connsiteY8" fmla="*/ 7924 h 10760"/>
                <a:gd name="connsiteX9" fmla="*/ 4035 w 11640"/>
                <a:gd name="connsiteY9" fmla="*/ 8103 h 10760"/>
                <a:gd name="connsiteX10" fmla="*/ 3565 w 11640"/>
                <a:gd name="connsiteY10" fmla="*/ 8133 h 10760"/>
                <a:gd name="connsiteX11" fmla="*/ 3518 w 11640"/>
                <a:gd name="connsiteY11" fmla="*/ 7447 h 10760"/>
                <a:gd name="connsiteX12" fmla="*/ 2767 w 11640"/>
                <a:gd name="connsiteY12" fmla="*/ 7417 h 10760"/>
                <a:gd name="connsiteX13" fmla="*/ 2861 w 11640"/>
                <a:gd name="connsiteY13" fmla="*/ 7118 h 10760"/>
                <a:gd name="connsiteX14" fmla="*/ 2532 w 11640"/>
                <a:gd name="connsiteY14" fmla="*/ 7029 h 10760"/>
                <a:gd name="connsiteX15" fmla="*/ 2345 w 11640"/>
                <a:gd name="connsiteY15" fmla="*/ 6521 h 10760"/>
                <a:gd name="connsiteX16" fmla="*/ 2673 w 11640"/>
                <a:gd name="connsiteY16" fmla="*/ 6372 h 10760"/>
                <a:gd name="connsiteX17" fmla="*/ 3143 w 11640"/>
                <a:gd name="connsiteY17" fmla="*/ 5984 h 10760"/>
                <a:gd name="connsiteX18" fmla="*/ 2861 w 11640"/>
                <a:gd name="connsiteY18" fmla="*/ 5775 h 10760"/>
                <a:gd name="connsiteX19" fmla="*/ 3424 w 11640"/>
                <a:gd name="connsiteY19" fmla="*/ 5447 h 10760"/>
                <a:gd name="connsiteX20" fmla="*/ 2861 w 11640"/>
                <a:gd name="connsiteY20" fmla="*/ 5447 h 10760"/>
                <a:gd name="connsiteX21" fmla="*/ 2861 w 11640"/>
                <a:gd name="connsiteY21" fmla="*/ 5088 h 10760"/>
                <a:gd name="connsiteX22" fmla="*/ 3049 w 11640"/>
                <a:gd name="connsiteY22" fmla="*/ 4521 h 10760"/>
                <a:gd name="connsiteX23" fmla="*/ 2814 w 11640"/>
                <a:gd name="connsiteY23" fmla="*/ 4044 h 10760"/>
                <a:gd name="connsiteX24" fmla="*/ 3520 w 11640"/>
                <a:gd name="connsiteY24" fmla="*/ 3532 h 10760"/>
                <a:gd name="connsiteX25" fmla="*/ 3122 w 11640"/>
                <a:gd name="connsiteY25" fmla="*/ 3342 h 10760"/>
                <a:gd name="connsiteX26" fmla="*/ 2852 w 11640"/>
                <a:gd name="connsiteY26" fmla="*/ 3260 h 10760"/>
                <a:gd name="connsiteX27" fmla="*/ 2145 w 11640"/>
                <a:gd name="connsiteY27" fmla="*/ 3486 h 10760"/>
                <a:gd name="connsiteX28" fmla="*/ 1919 w 11640"/>
                <a:gd name="connsiteY28" fmla="*/ 3336 h 10760"/>
                <a:gd name="connsiteX29" fmla="*/ 1547 w 11640"/>
                <a:gd name="connsiteY29" fmla="*/ 3118 h 10760"/>
                <a:gd name="connsiteX30" fmla="*/ 0 w 11640"/>
                <a:gd name="connsiteY30" fmla="*/ 3358 h 10760"/>
                <a:gd name="connsiteX31" fmla="*/ 401 w 11640"/>
                <a:gd name="connsiteY31" fmla="*/ 2950 h 10760"/>
                <a:gd name="connsiteX32" fmla="*/ 73 w 11640"/>
                <a:gd name="connsiteY32" fmla="*/ 2316 h 10760"/>
                <a:gd name="connsiteX33" fmla="*/ 420 w 11640"/>
                <a:gd name="connsiteY33" fmla="*/ 2820 h 10760"/>
                <a:gd name="connsiteX34" fmla="*/ 232 w 11640"/>
                <a:gd name="connsiteY34" fmla="*/ 2790 h 10760"/>
                <a:gd name="connsiteX35" fmla="*/ 590 w 11640"/>
                <a:gd name="connsiteY35" fmla="*/ 1986 h 10760"/>
                <a:gd name="connsiteX36" fmla="*/ 1239 w 11640"/>
                <a:gd name="connsiteY36" fmla="*/ 1999 h 10760"/>
                <a:gd name="connsiteX37" fmla="*/ 2016 w 11640"/>
                <a:gd name="connsiteY37" fmla="*/ 2461 h 10760"/>
                <a:gd name="connsiteX38" fmla="*/ 940 w 11640"/>
                <a:gd name="connsiteY38" fmla="*/ 2015 h 10760"/>
                <a:gd name="connsiteX39" fmla="*/ 1251 w 11640"/>
                <a:gd name="connsiteY39" fmla="*/ 2021 h 10760"/>
                <a:gd name="connsiteX40" fmla="*/ 1413 w 11640"/>
                <a:gd name="connsiteY40" fmla="*/ 2083 h 10760"/>
                <a:gd name="connsiteX41" fmla="*/ 1888 w 11640"/>
                <a:gd name="connsiteY41" fmla="*/ 2449 h 10760"/>
                <a:gd name="connsiteX42" fmla="*/ 2086 w 11640"/>
                <a:gd name="connsiteY42" fmla="*/ 2178 h 10760"/>
                <a:gd name="connsiteX43" fmla="*/ 2412 w 11640"/>
                <a:gd name="connsiteY43" fmla="*/ 1886 h 10760"/>
                <a:gd name="connsiteX44" fmla="*/ 2537 w 11640"/>
                <a:gd name="connsiteY44" fmla="*/ 1793 h 10760"/>
                <a:gd name="connsiteX45" fmla="*/ 3237 w 11640"/>
                <a:gd name="connsiteY45" fmla="*/ 1805 h 10760"/>
                <a:gd name="connsiteX46" fmla="*/ 2955 w 11640"/>
                <a:gd name="connsiteY46" fmla="*/ 1835 h 10760"/>
                <a:gd name="connsiteX47" fmla="*/ 2767 w 11640"/>
                <a:gd name="connsiteY47" fmla="*/ 1596 h 10760"/>
                <a:gd name="connsiteX48" fmla="*/ 2750 w 11640"/>
                <a:gd name="connsiteY48" fmla="*/ 1359 h 10760"/>
                <a:gd name="connsiteX49" fmla="*/ 2798 w 11640"/>
                <a:gd name="connsiteY49" fmla="*/ 1009 h 10760"/>
                <a:gd name="connsiteX50" fmla="*/ 2532 w 11640"/>
                <a:gd name="connsiteY50" fmla="*/ 1059 h 10760"/>
                <a:gd name="connsiteX51" fmla="*/ 2486 w 11640"/>
                <a:gd name="connsiteY51" fmla="*/ 879 h 10760"/>
                <a:gd name="connsiteX52" fmla="*/ 2601 w 11640"/>
                <a:gd name="connsiteY52" fmla="*/ 580 h 10760"/>
                <a:gd name="connsiteX53" fmla="*/ 2499 w 11640"/>
                <a:gd name="connsiteY53" fmla="*/ 0 h 10760"/>
                <a:gd name="connsiteX54" fmla="*/ 3797 w 11640"/>
                <a:gd name="connsiteY54" fmla="*/ 195 h 10760"/>
                <a:gd name="connsiteX55" fmla="*/ 4833 w 11640"/>
                <a:gd name="connsiteY55" fmla="*/ 1088 h 10760"/>
                <a:gd name="connsiteX56" fmla="*/ 5093 w 11640"/>
                <a:gd name="connsiteY56" fmla="*/ 1091 h 10760"/>
                <a:gd name="connsiteX57" fmla="*/ 5159 w 11640"/>
                <a:gd name="connsiteY57" fmla="*/ 1196 h 10760"/>
                <a:gd name="connsiteX58" fmla="*/ 5375 w 11640"/>
                <a:gd name="connsiteY58" fmla="*/ 1300 h 10760"/>
                <a:gd name="connsiteX59" fmla="*/ 5816 w 11640"/>
                <a:gd name="connsiteY59" fmla="*/ 1256 h 10760"/>
                <a:gd name="connsiteX60" fmla="*/ 5866 w 11640"/>
                <a:gd name="connsiteY60" fmla="*/ 1745 h 10760"/>
                <a:gd name="connsiteX61" fmla="*/ 6147 w 11640"/>
                <a:gd name="connsiteY61" fmla="*/ 1596 h 10760"/>
                <a:gd name="connsiteX62" fmla="*/ 6662 w 11640"/>
                <a:gd name="connsiteY62" fmla="*/ 1755 h 10760"/>
                <a:gd name="connsiteX63" fmla="*/ 7399 w 11640"/>
                <a:gd name="connsiteY63" fmla="*/ 1218 h 10760"/>
                <a:gd name="connsiteX64" fmla="*/ 7823 w 11640"/>
                <a:gd name="connsiteY64" fmla="*/ 983 h 10760"/>
                <a:gd name="connsiteX65" fmla="*/ 8841 w 11640"/>
                <a:gd name="connsiteY65" fmla="*/ 1065 h 10760"/>
                <a:gd name="connsiteX66" fmla="*/ 9218 w 11640"/>
                <a:gd name="connsiteY66" fmla="*/ 1177 h 10760"/>
                <a:gd name="connsiteX67" fmla="*/ 9544 w 11640"/>
                <a:gd name="connsiteY67" fmla="*/ 721 h 10760"/>
                <a:gd name="connsiteX68" fmla="*/ 9826 w 11640"/>
                <a:gd name="connsiteY68" fmla="*/ 1213 h 10760"/>
                <a:gd name="connsiteX69" fmla="*/ 9438 w 11640"/>
                <a:gd name="connsiteY69" fmla="*/ 1544 h 10760"/>
                <a:gd name="connsiteX70" fmla="*/ 10058 w 11640"/>
                <a:gd name="connsiteY70" fmla="*/ 1477 h 10760"/>
                <a:gd name="connsiteX71" fmla="*/ 10636 w 11640"/>
                <a:gd name="connsiteY71" fmla="*/ 1744 h 10760"/>
                <a:gd name="connsiteX72" fmla="*/ 11091 w 11640"/>
                <a:gd name="connsiteY72" fmla="*/ 4405 h 10760"/>
                <a:gd name="connsiteX73" fmla="*/ 11639 w 11640"/>
                <a:gd name="connsiteY73" fmla="*/ 5293 h 10760"/>
                <a:gd name="connsiteX74" fmla="*/ 11227 w 11640"/>
                <a:gd name="connsiteY74" fmla="*/ 5967 h 10760"/>
                <a:gd name="connsiteX75" fmla="*/ 9844 w 11640"/>
                <a:gd name="connsiteY75" fmla="*/ 6232 h 10760"/>
                <a:gd name="connsiteX76" fmla="*/ 8628 w 11640"/>
                <a:gd name="connsiteY76" fmla="*/ 6788 h 10760"/>
                <a:gd name="connsiteX77" fmla="*/ 7991 w 11640"/>
                <a:gd name="connsiteY77" fmla="*/ 6901 h 10760"/>
                <a:gd name="connsiteX78" fmla="*/ 7462 w 11640"/>
                <a:gd name="connsiteY78" fmla="*/ 7088 h 10760"/>
                <a:gd name="connsiteX79" fmla="*/ 8025 w 11640"/>
                <a:gd name="connsiteY79" fmla="*/ 7238 h 10760"/>
                <a:gd name="connsiteX80" fmla="*/ 8495 w 11640"/>
                <a:gd name="connsiteY80" fmla="*/ 7626 h 10760"/>
                <a:gd name="connsiteX81" fmla="*/ 8870 w 11640"/>
                <a:gd name="connsiteY81" fmla="*/ 8372 h 10760"/>
                <a:gd name="connsiteX82" fmla="*/ 9246 w 11640"/>
                <a:gd name="connsiteY82" fmla="*/ 8342 h 10760"/>
                <a:gd name="connsiteX83" fmla="*/ 10232 w 11640"/>
                <a:gd name="connsiteY83" fmla="*/ 9088 h 10760"/>
                <a:gd name="connsiteX84" fmla="*/ 9058 w 11640"/>
                <a:gd name="connsiteY84" fmla="*/ 9894 h 10760"/>
                <a:gd name="connsiteX85" fmla="*/ 9528 w 11640"/>
                <a:gd name="connsiteY85" fmla="*/ 10491 h 10760"/>
                <a:gd name="connsiteX86" fmla="*/ 9340 w 11640"/>
                <a:gd name="connsiteY86" fmla="*/ 10730 h 10760"/>
                <a:gd name="connsiteX87" fmla="*/ 9058 w 11640"/>
                <a:gd name="connsiteY87" fmla="*/ 10491 h 10760"/>
                <a:gd name="connsiteX88" fmla="*/ 7180 w 11640"/>
                <a:gd name="connsiteY88" fmla="*/ 10461 h 10760"/>
                <a:gd name="connsiteX89" fmla="*/ 6852 w 11640"/>
                <a:gd name="connsiteY89" fmla="*/ 10760 h 10760"/>
                <a:gd name="connsiteX90" fmla="*/ 6288 w 11640"/>
                <a:gd name="connsiteY90" fmla="*/ 10730 h 10760"/>
                <a:gd name="connsiteX0" fmla="*/ 6288 w 11640"/>
                <a:gd name="connsiteY0" fmla="*/ 10730 h 10760"/>
                <a:gd name="connsiteX1" fmla="*/ 6382 w 11640"/>
                <a:gd name="connsiteY1" fmla="*/ 9894 h 10760"/>
                <a:gd name="connsiteX2" fmla="*/ 6664 w 11640"/>
                <a:gd name="connsiteY2" fmla="*/ 9088 h 10760"/>
                <a:gd name="connsiteX3" fmla="*/ 5866 w 11640"/>
                <a:gd name="connsiteY3" fmla="*/ 8909 h 10760"/>
                <a:gd name="connsiteX4" fmla="*/ 5631 w 11640"/>
                <a:gd name="connsiteY4" fmla="*/ 8730 h 10760"/>
                <a:gd name="connsiteX5" fmla="*/ 5255 w 11640"/>
                <a:gd name="connsiteY5" fmla="*/ 8820 h 10760"/>
                <a:gd name="connsiteX6" fmla="*/ 4927 w 11640"/>
                <a:gd name="connsiteY6" fmla="*/ 8253 h 10760"/>
                <a:gd name="connsiteX7" fmla="*/ 4363 w 11640"/>
                <a:gd name="connsiteY7" fmla="*/ 7894 h 10760"/>
                <a:gd name="connsiteX8" fmla="*/ 3941 w 11640"/>
                <a:gd name="connsiteY8" fmla="*/ 7924 h 10760"/>
                <a:gd name="connsiteX9" fmla="*/ 4035 w 11640"/>
                <a:gd name="connsiteY9" fmla="*/ 8103 h 10760"/>
                <a:gd name="connsiteX10" fmla="*/ 3565 w 11640"/>
                <a:gd name="connsiteY10" fmla="*/ 8133 h 10760"/>
                <a:gd name="connsiteX11" fmla="*/ 3518 w 11640"/>
                <a:gd name="connsiteY11" fmla="*/ 7447 h 10760"/>
                <a:gd name="connsiteX12" fmla="*/ 2767 w 11640"/>
                <a:gd name="connsiteY12" fmla="*/ 7417 h 10760"/>
                <a:gd name="connsiteX13" fmla="*/ 2861 w 11640"/>
                <a:gd name="connsiteY13" fmla="*/ 7118 h 10760"/>
                <a:gd name="connsiteX14" fmla="*/ 2532 w 11640"/>
                <a:gd name="connsiteY14" fmla="*/ 7029 h 10760"/>
                <a:gd name="connsiteX15" fmla="*/ 2345 w 11640"/>
                <a:gd name="connsiteY15" fmla="*/ 6521 h 10760"/>
                <a:gd name="connsiteX16" fmla="*/ 2673 w 11640"/>
                <a:gd name="connsiteY16" fmla="*/ 6372 h 10760"/>
                <a:gd name="connsiteX17" fmla="*/ 3143 w 11640"/>
                <a:gd name="connsiteY17" fmla="*/ 5984 h 10760"/>
                <a:gd name="connsiteX18" fmla="*/ 2861 w 11640"/>
                <a:gd name="connsiteY18" fmla="*/ 5775 h 10760"/>
                <a:gd name="connsiteX19" fmla="*/ 3424 w 11640"/>
                <a:gd name="connsiteY19" fmla="*/ 5447 h 10760"/>
                <a:gd name="connsiteX20" fmla="*/ 2861 w 11640"/>
                <a:gd name="connsiteY20" fmla="*/ 5447 h 10760"/>
                <a:gd name="connsiteX21" fmla="*/ 2861 w 11640"/>
                <a:gd name="connsiteY21" fmla="*/ 5088 h 10760"/>
                <a:gd name="connsiteX22" fmla="*/ 3049 w 11640"/>
                <a:gd name="connsiteY22" fmla="*/ 4521 h 10760"/>
                <a:gd name="connsiteX23" fmla="*/ 2814 w 11640"/>
                <a:gd name="connsiteY23" fmla="*/ 4044 h 10760"/>
                <a:gd name="connsiteX24" fmla="*/ 3520 w 11640"/>
                <a:gd name="connsiteY24" fmla="*/ 3532 h 10760"/>
                <a:gd name="connsiteX25" fmla="*/ 3122 w 11640"/>
                <a:gd name="connsiteY25" fmla="*/ 3342 h 10760"/>
                <a:gd name="connsiteX26" fmla="*/ 2852 w 11640"/>
                <a:gd name="connsiteY26" fmla="*/ 3260 h 10760"/>
                <a:gd name="connsiteX27" fmla="*/ 2145 w 11640"/>
                <a:gd name="connsiteY27" fmla="*/ 3486 h 10760"/>
                <a:gd name="connsiteX28" fmla="*/ 1919 w 11640"/>
                <a:gd name="connsiteY28" fmla="*/ 3336 h 10760"/>
                <a:gd name="connsiteX29" fmla="*/ 463 w 11640"/>
                <a:gd name="connsiteY29" fmla="*/ 3772 h 10760"/>
                <a:gd name="connsiteX30" fmla="*/ 0 w 11640"/>
                <a:gd name="connsiteY30" fmla="*/ 3358 h 10760"/>
                <a:gd name="connsiteX31" fmla="*/ 401 w 11640"/>
                <a:gd name="connsiteY31" fmla="*/ 2950 h 10760"/>
                <a:gd name="connsiteX32" fmla="*/ 73 w 11640"/>
                <a:gd name="connsiteY32" fmla="*/ 2316 h 10760"/>
                <a:gd name="connsiteX33" fmla="*/ 420 w 11640"/>
                <a:gd name="connsiteY33" fmla="*/ 2820 h 10760"/>
                <a:gd name="connsiteX34" fmla="*/ 232 w 11640"/>
                <a:gd name="connsiteY34" fmla="*/ 2790 h 10760"/>
                <a:gd name="connsiteX35" fmla="*/ 590 w 11640"/>
                <a:gd name="connsiteY35" fmla="*/ 1986 h 10760"/>
                <a:gd name="connsiteX36" fmla="*/ 1239 w 11640"/>
                <a:gd name="connsiteY36" fmla="*/ 1999 h 10760"/>
                <a:gd name="connsiteX37" fmla="*/ 2016 w 11640"/>
                <a:gd name="connsiteY37" fmla="*/ 2461 h 10760"/>
                <a:gd name="connsiteX38" fmla="*/ 940 w 11640"/>
                <a:gd name="connsiteY38" fmla="*/ 2015 h 10760"/>
                <a:gd name="connsiteX39" fmla="*/ 1251 w 11640"/>
                <a:gd name="connsiteY39" fmla="*/ 2021 h 10760"/>
                <a:gd name="connsiteX40" fmla="*/ 1413 w 11640"/>
                <a:gd name="connsiteY40" fmla="*/ 2083 h 10760"/>
                <a:gd name="connsiteX41" fmla="*/ 1888 w 11640"/>
                <a:gd name="connsiteY41" fmla="*/ 2449 h 10760"/>
                <a:gd name="connsiteX42" fmla="*/ 2086 w 11640"/>
                <a:gd name="connsiteY42" fmla="*/ 2178 h 10760"/>
                <a:gd name="connsiteX43" fmla="*/ 2412 w 11640"/>
                <a:gd name="connsiteY43" fmla="*/ 1886 h 10760"/>
                <a:gd name="connsiteX44" fmla="*/ 2537 w 11640"/>
                <a:gd name="connsiteY44" fmla="*/ 1793 h 10760"/>
                <a:gd name="connsiteX45" fmla="*/ 3237 w 11640"/>
                <a:gd name="connsiteY45" fmla="*/ 1805 h 10760"/>
                <a:gd name="connsiteX46" fmla="*/ 2955 w 11640"/>
                <a:gd name="connsiteY46" fmla="*/ 1835 h 10760"/>
                <a:gd name="connsiteX47" fmla="*/ 2767 w 11640"/>
                <a:gd name="connsiteY47" fmla="*/ 1596 h 10760"/>
                <a:gd name="connsiteX48" fmla="*/ 2750 w 11640"/>
                <a:gd name="connsiteY48" fmla="*/ 1359 h 10760"/>
                <a:gd name="connsiteX49" fmla="*/ 2798 w 11640"/>
                <a:gd name="connsiteY49" fmla="*/ 1009 h 10760"/>
                <a:gd name="connsiteX50" fmla="*/ 2532 w 11640"/>
                <a:gd name="connsiteY50" fmla="*/ 1059 h 10760"/>
                <a:gd name="connsiteX51" fmla="*/ 2486 w 11640"/>
                <a:gd name="connsiteY51" fmla="*/ 879 h 10760"/>
                <a:gd name="connsiteX52" fmla="*/ 2601 w 11640"/>
                <a:gd name="connsiteY52" fmla="*/ 580 h 10760"/>
                <a:gd name="connsiteX53" fmla="*/ 2499 w 11640"/>
                <a:gd name="connsiteY53" fmla="*/ 0 h 10760"/>
                <a:gd name="connsiteX54" fmla="*/ 3797 w 11640"/>
                <a:gd name="connsiteY54" fmla="*/ 195 h 10760"/>
                <a:gd name="connsiteX55" fmla="*/ 4833 w 11640"/>
                <a:gd name="connsiteY55" fmla="*/ 1088 h 10760"/>
                <a:gd name="connsiteX56" fmla="*/ 5093 w 11640"/>
                <a:gd name="connsiteY56" fmla="*/ 1091 h 10760"/>
                <a:gd name="connsiteX57" fmla="*/ 5159 w 11640"/>
                <a:gd name="connsiteY57" fmla="*/ 1196 h 10760"/>
                <a:gd name="connsiteX58" fmla="*/ 5375 w 11640"/>
                <a:gd name="connsiteY58" fmla="*/ 1300 h 10760"/>
                <a:gd name="connsiteX59" fmla="*/ 5816 w 11640"/>
                <a:gd name="connsiteY59" fmla="*/ 1256 h 10760"/>
                <a:gd name="connsiteX60" fmla="*/ 5866 w 11640"/>
                <a:gd name="connsiteY60" fmla="*/ 1745 h 10760"/>
                <a:gd name="connsiteX61" fmla="*/ 6147 w 11640"/>
                <a:gd name="connsiteY61" fmla="*/ 1596 h 10760"/>
                <a:gd name="connsiteX62" fmla="*/ 6662 w 11640"/>
                <a:gd name="connsiteY62" fmla="*/ 1755 h 10760"/>
                <a:gd name="connsiteX63" fmla="*/ 7399 w 11640"/>
                <a:gd name="connsiteY63" fmla="*/ 1218 h 10760"/>
                <a:gd name="connsiteX64" fmla="*/ 7823 w 11640"/>
                <a:gd name="connsiteY64" fmla="*/ 983 h 10760"/>
                <a:gd name="connsiteX65" fmla="*/ 8841 w 11640"/>
                <a:gd name="connsiteY65" fmla="*/ 1065 h 10760"/>
                <a:gd name="connsiteX66" fmla="*/ 9218 w 11640"/>
                <a:gd name="connsiteY66" fmla="*/ 1177 h 10760"/>
                <a:gd name="connsiteX67" fmla="*/ 9544 w 11640"/>
                <a:gd name="connsiteY67" fmla="*/ 721 h 10760"/>
                <a:gd name="connsiteX68" fmla="*/ 9826 w 11640"/>
                <a:gd name="connsiteY68" fmla="*/ 1213 h 10760"/>
                <a:gd name="connsiteX69" fmla="*/ 9438 w 11640"/>
                <a:gd name="connsiteY69" fmla="*/ 1544 h 10760"/>
                <a:gd name="connsiteX70" fmla="*/ 10058 w 11640"/>
                <a:gd name="connsiteY70" fmla="*/ 1477 h 10760"/>
                <a:gd name="connsiteX71" fmla="*/ 10636 w 11640"/>
                <a:gd name="connsiteY71" fmla="*/ 1744 h 10760"/>
                <a:gd name="connsiteX72" fmla="*/ 11091 w 11640"/>
                <a:gd name="connsiteY72" fmla="*/ 4405 h 10760"/>
                <a:gd name="connsiteX73" fmla="*/ 11639 w 11640"/>
                <a:gd name="connsiteY73" fmla="*/ 5293 h 10760"/>
                <a:gd name="connsiteX74" fmla="*/ 11227 w 11640"/>
                <a:gd name="connsiteY74" fmla="*/ 5967 h 10760"/>
                <a:gd name="connsiteX75" fmla="*/ 9844 w 11640"/>
                <a:gd name="connsiteY75" fmla="*/ 6232 h 10760"/>
                <a:gd name="connsiteX76" fmla="*/ 8628 w 11640"/>
                <a:gd name="connsiteY76" fmla="*/ 6788 h 10760"/>
                <a:gd name="connsiteX77" fmla="*/ 7991 w 11640"/>
                <a:gd name="connsiteY77" fmla="*/ 6901 h 10760"/>
                <a:gd name="connsiteX78" fmla="*/ 7462 w 11640"/>
                <a:gd name="connsiteY78" fmla="*/ 7088 h 10760"/>
                <a:gd name="connsiteX79" fmla="*/ 8025 w 11640"/>
                <a:gd name="connsiteY79" fmla="*/ 7238 h 10760"/>
                <a:gd name="connsiteX80" fmla="*/ 8495 w 11640"/>
                <a:gd name="connsiteY80" fmla="*/ 7626 h 10760"/>
                <a:gd name="connsiteX81" fmla="*/ 8870 w 11640"/>
                <a:gd name="connsiteY81" fmla="*/ 8372 h 10760"/>
                <a:gd name="connsiteX82" fmla="*/ 9246 w 11640"/>
                <a:gd name="connsiteY82" fmla="*/ 8342 h 10760"/>
                <a:gd name="connsiteX83" fmla="*/ 10232 w 11640"/>
                <a:gd name="connsiteY83" fmla="*/ 9088 h 10760"/>
                <a:gd name="connsiteX84" fmla="*/ 9058 w 11640"/>
                <a:gd name="connsiteY84" fmla="*/ 9894 h 10760"/>
                <a:gd name="connsiteX85" fmla="*/ 9528 w 11640"/>
                <a:gd name="connsiteY85" fmla="*/ 10491 h 10760"/>
                <a:gd name="connsiteX86" fmla="*/ 9340 w 11640"/>
                <a:gd name="connsiteY86" fmla="*/ 10730 h 10760"/>
                <a:gd name="connsiteX87" fmla="*/ 9058 w 11640"/>
                <a:gd name="connsiteY87" fmla="*/ 10491 h 10760"/>
                <a:gd name="connsiteX88" fmla="*/ 7180 w 11640"/>
                <a:gd name="connsiteY88" fmla="*/ 10461 h 10760"/>
                <a:gd name="connsiteX89" fmla="*/ 6852 w 11640"/>
                <a:gd name="connsiteY89" fmla="*/ 10760 h 10760"/>
                <a:gd name="connsiteX90" fmla="*/ 6288 w 11640"/>
                <a:gd name="connsiteY90" fmla="*/ 10730 h 10760"/>
                <a:gd name="connsiteX0" fmla="*/ 6344 w 11696"/>
                <a:gd name="connsiteY0" fmla="*/ 10730 h 10760"/>
                <a:gd name="connsiteX1" fmla="*/ 6438 w 11696"/>
                <a:gd name="connsiteY1" fmla="*/ 9894 h 10760"/>
                <a:gd name="connsiteX2" fmla="*/ 6720 w 11696"/>
                <a:gd name="connsiteY2" fmla="*/ 9088 h 10760"/>
                <a:gd name="connsiteX3" fmla="*/ 5922 w 11696"/>
                <a:gd name="connsiteY3" fmla="*/ 8909 h 10760"/>
                <a:gd name="connsiteX4" fmla="*/ 5687 w 11696"/>
                <a:gd name="connsiteY4" fmla="*/ 8730 h 10760"/>
                <a:gd name="connsiteX5" fmla="*/ 5311 w 11696"/>
                <a:gd name="connsiteY5" fmla="*/ 8820 h 10760"/>
                <a:gd name="connsiteX6" fmla="*/ 4983 w 11696"/>
                <a:gd name="connsiteY6" fmla="*/ 8253 h 10760"/>
                <a:gd name="connsiteX7" fmla="*/ 4419 w 11696"/>
                <a:gd name="connsiteY7" fmla="*/ 7894 h 10760"/>
                <a:gd name="connsiteX8" fmla="*/ 3997 w 11696"/>
                <a:gd name="connsiteY8" fmla="*/ 7924 h 10760"/>
                <a:gd name="connsiteX9" fmla="*/ 4091 w 11696"/>
                <a:gd name="connsiteY9" fmla="*/ 8103 h 10760"/>
                <a:gd name="connsiteX10" fmla="*/ 3621 w 11696"/>
                <a:gd name="connsiteY10" fmla="*/ 8133 h 10760"/>
                <a:gd name="connsiteX11" fmla="*/ 3574 w 11696"/>
                <a:gd name="connsiteY11" fmla="*/ 7447 h 10760"/>
                <a:gd name="connsiteX12" fmla="*/ 2823 w 11696"/>
                <a:gd name="connsiteY12" fmla="*/ 7417 h 10760"/>
                <a:gd name="connsiteX13" fmla="*/ 2917 w 11696"/>
                <a:gd name="connsiteY13" fmla="*/ 7118 h 10760"/>
                <a:gd name="connsiteX14" fmla="*/ 2588 w 11696"/>
                <a:gd name="connsiteY14" fmla="*/ 7029 h 10760"/>
                <a:gd name="connsiteX15" fmla="*/ 2401 w 11696"/>
                <a:gd name="connsiteY15" fmla="*/ 6521 h 10760"/>
                <a:gd name="connsiteX16" fmla="*/ 2729 w 11696"/>
                <a:gd name="connsiteY16" fmla="*/ 6372 h 10760"/>
                <a:gd name="connsiteX17" fmla="*/ 3199 w 11696"/>
                <a:gd name="connsiteY17" fmla="*/ 5984 h 10760"/>
                <a:gd name="connsiteX18" fmla="*/ 2917 w 11696"/>
                <a:gd name="connsiteY18" fmla="*/ 5775 h 10760"/>
                <a:gd name="connsiteX19" fmla="*/ 3480 w 11696"/>
                <a:gd name="connsiteY19" fmla="*/ 5447 h 10760"/>
                <a:gd name="connsiteX20" fmla="*/ 2917 w 11696"/>
                <a:gd name="connsiteY20" fmla="*/ 5447 h 10760"/>
                <a:gd name="connsiteX21" fmla="*/ 2917 w 11696"/>
                <a:gd name="connsiteY21" fmla="*/ 5088 h 10760"/>
                <a:gd name="connsiteX22" fmla="*/ 3105 w 11696"/>
                <a:gd name="connsiteY22" fmla="*/ 4521 h 10760"/>
                <a:gd name="connsiteX23" fmla="*/ 2870 w 11696"/>
                <a:gd name="connsiteY23" fmla="*/ 4044 h 10760"/>
                <a:gd name="connsiteX24" fmla="*/ 3576 w 11696"/>
                <a:gd name="connsiteY24" fmla="*/ 3532 h 10760"/>
                <a:gd name="connsiteX25" fmla="*/ 3178 w 11696"/>
                <a:gd name="connsiteY25" fmla="*/ 3342 h 10760"/>
                <a:gd name="connsiteX26" fmla="*/ 2908 w 11696"/>
                <a:gd name="connsiteY26" fmla="*/ 3260 h 10760"/>
                <a:gd name="connsiteX27" fmla="*/ 2201 w 11696"/>
                <a:gd name="connsiteY27" fmla="*/ 3486 h 10760"/>
                <a:gd name="connsiteX28" fmla="*/ 0 w 11696"/>
                <a:gd name="connsiteY28" fmla="*/ 4121 h 10760"/>
                <a:gd name="connsiteX29" fmla="*/ 519 w 11696"/>
                <a:gd name="connsiteY29" fmla="*/ 3772 h 10760"/>
                <a:gd name="connsiteX30" fmla="*/ 56 w 11696"/>
                <a:gd name="connsiteY30" fmla="*/ 3358 h 10760"/>
                <a:gd name="connsiteX31" fmla="*/ 457 w 11696"/>
                <a:gd name="connsiteY31" fmla="*/ 2950 h 10760"/>
                <a:gd name="connsiteX32" fmla="*/ 129 w 11696"/>
                <a:gd name="connsiteY32" fmla="*/ 2316 h 10760"/>
                <a:gd name="connsiteX33" fmla="*/ 476 w 11696"/>
                <a:gd name="connsiteY33" fmla="*/ 2820 h 10760"/>
                <a:gd name="connsiteX34" fmla="*/ 288 w 11696"/>
                <a:gd name="connsiteY34" fmla="*/ 2790 h 10760"/>
                <a:gd name="connsiteX35" fmla="*/ 646 w 11696"/>
                <a:gd name="connsiteY35" fmla="*/ 1986 h 10760"/>
                <a:gd name="connsiteX36" fmla="*/ 1295 w 11696"/>
                <a:gd name="connsiteY36" fmla="*/ 1999 h 10760"/>
                <a:gd name="connsiteX37" fmla="*/ 2072 w 11696"/>
                <a:gd name="connsiteY37" fmla="*/ 2461 h 10760"/>
                <a:gd name="connsiteX38" fmla="*/ 996 w 11696"/>
                <a:gd name="connsiteY38" fmla="*/ 2015 h 10760"/>
                <a:gd name="connsiteX39" fmla="*/ 1307 w 11696"/>
                <a:gd name="connsiteY39" fmla="*/ 2021 h 10760"/>
                <a:gd name="connsiteX40" fmla="*/ 1469 w 11696"/>
                <a:gd name="connsiteY40" fmla="*/ 2083 h 10760"/>
                <a:gd name="connsiteX41" fmla="*/ 1944 w 11696"/>
                <a:gd name="connsiteY41" fmla="*/ 2449 h 10760"/>
                <a:gd name="connsiteX42" fmla="*/ 2142 w 11696"/>
                <a:gd name="connsiteY42" fmla="*/ 2178 h 10760"/>
                <a:gd name="connsiteX43" fmla="*/ 2468 w 11696"/>
                <a:gd name="connsiteY43" fmla="*/ 1886 h 10760"/>
                <a:gd name="connsiteX44" fmla="*/ 2593 w 11696"/>
                <a:gd name="connsiteY44" fmla="*/ 1793 h 10760"/>
                <a:gd name="connsiteX45" fmla="*/ 3293 w 11696"/>
                <a:gd name="connsiteY45" fmla="*/ 1805 h 10760"/>
                <a:gd name="connsiteX46" fmla="*/ 3011 w 11696"/>
                <a:gd name="connsiteY46" fmla="*/ 1835 h 10760"/>
                <a:gd name="connsiteX47" fmla="*/ 2823 w 11696"/>
                <a:gd name="connsiteY47" fmla="*/ 1596 h 10760"/>
                <a:gd name="connsiteX48" fmla="*/ 2806 w 11696"/>
                <a:gd name="connsiteY48" fmla="*/ 1359 h 10760"/>
                <a:gd name="connsiteX49" fmla="*/ 2854 w 11696"/>
                <a:gd name="connsiteY49" fmla="*/ 1009 h 10760"/>
                <a:gd name="connsiteX50" fmla="*/ 2588 w 11696"/>
                <a:gd name="connsiteY50" fmla="*/ 1059 h 10760"/>
                <a:gd name="connsiteX51" fmla="*/ 2542 w 11696"/>
                <a:gd name="connsiteY51" fmla="*/ 879 h 10760"/>
                <a:gd name="connsiteX52" fmla="*/ 2657 w 11696"/>
                <a:gd name="connsiteY52" fmla="*/ 580 h 10760"/>
                <a:gd name="connsiteX53" fmla="*/ 2555 w 11696"/>
                <a:gd name="connsiteY53" fmla="*/ 0 h 10760"/>
                <a:gd name="connsiteX54" fmla="*/ 3853 w 11696"/>
                <a:gd name="connsiteY54" fmla="*/ 195 h 10760"/>
                <a:gd name="connsiteX55" fmla="*/ 4889 w 11696"/>
                <a:gd name="connsiteY55" fmla="*/ 1088 h 10760"/>
                <a:gd name="connsiteX56" fmla="*/ 5149 w 11696"/>
                <a:gd name="connsiteY56" fmla="*/ 1091 h 10760"/>
                <a:gd name="connsiteX57" fmla="*/ 5215 w 11696"/>
                <a:gd name="connsiteY57" fmla="*/ 1196 h 10760"/>
                <a:gd name="connsiteX58" fmla="*/ 5431 w 11696"/>
                <a:gd name="connsiteY58" fmla="*/ 1300 h 10760"/>
                <a:gd name="connsiteX59" fmla="*/ 5872 w 11696"/>
                <a:gd name="connsiteY59" fmla="*/ 1256 h 10760"/>
                <a:gd name="connsiteX60" fmla="*/ 5922 w 11696"/>
                <a:gd name="connsiteY60" fmla="*/ 1745 h 10760"/>
                <a:gd name="connsiteX61" fmla="*/ 6203 w 11696"/>
                <a:gd name="connsiteY61" fmla="*/ 1596 h 10760"/>
                <a:gd name="connsiteX62" fmla="*/ 6718 w 11696"/>
                <a:gd name="connsiteY62" fmla="*/ 1755 h 10760"/>
                <a:gd name="connsiteX63" fmla="*/ 7455 w 11696"/>
                <a:gd name="connsiteY63" fmla="*/ 1218 h 10760"/>
                <a:gd name="connsiteX64" fmla="*/ 7879 w 11696"/>
                <a:gd name="connsiteY64" fmla="*/ 983 h 10760"/>
                <a:gd name="connsiteX65" fmla="*/ 8897 w 11696"/>
                <a:gd name="connsiteY65" fmla="*/ 1065 h 10760"/>
                <a:gd name="connsiteX66" fmla="*/ 9274 w 11696"/>
                <a:gd name="connsiteY66" fmla="*/ 1177 h 10760"/>
                <a:gd name="connsiteX67" fmla="*/ 9600 w 11696"/>
                <a:gd name="connsiteY67" fmla="*/ 721 h 10760"/>
                <a:gd name="connsiteX68" fmla="*/ 9882 w 11696"/>
                <a:gd name="connsiteY68" fmla="*/ 1213 h 10760"/>
                <a:gd name="connsiteX69" fmla="*/ 9494 w 11696"/>
                <a:gd name="connsiteY69" fmla="*/ 1544 h 10760"/>
                <a:gd name="connsiteX70" fmla="*/ 10114 w 11696"/>
                <a:gd name="connsiteY70" fmla="*/ 1477 h 10760"/>
                <a:gd name="connsiteX71" fmla="*/ 10692 w 11696"/>
                <a:gd name="connsiteY71" fmla="*/ 1744 h 10760"/>
                <a:gd name="connsiteX72" fmla="*/ 11147 w 11696"/>
                <a:gd name="connsiteY72" fmla="*/ 4405 h 10760"/>
                <a:gd name="connsiteX73" fmla="*/ 11695 w 11696"/>
                <a:gd name="connsiteY73" fmla="*/ 5293 h 10760"/>
                <a:gd name="connsiteX74" fmla="*/ 11283 w 11696"/>
                <a:gd name="connsiteY74" fmla="*/ 5967 h 10760"/>
                <a:gd name="connsiteX75" fmla="*/ 9900 w 11696"/>
                <a:gd name="connsiteY75" fmla="*/ 6232 h 10760"/>
                <a:gd name="connsiteX76" fmla="*/ 8684 w 11696"/>
                <a:gd name="connsiteY76" fmla="*/ 6788 h 10760"/>
                <a:gd name="connsiteX77" fmla="*/ 8047 w 11696"/>
                <a:gd name="connsiteY77" fmla="*/ 6901 h 10760"/>
                <a:gd name="connsiteX78" fmla="*/ 7518 w 11696"/>
                <a:gd name="connsiteY78" fmla="*/ 7088 h 10760"/>
                <a:gd name="connsiteX79" fmla="*/ 8081 w 11696"/>
                <a:gd name="connsiteY79" fmla="*/ 7238 h 10760"/>
                <a:gd name="connsiteX80" fmla="*/ 8551 w 11696"/>
                <a:gd name="connsiteY80" fmla="*/ 7626 h 10760"/>
                <a:gd name="connsiteX81" fmla="*/ 8926 w 11696"/>
                <a:gd name="connsiteY81" fmla="*/ 8372 h 10760"/>
                <a:gd name="connsiteX82" fmla="*/ 9302 w 11696"/>
                <a:gd name="connsiteY82" fmla="*/ 8342 h 10760"/>
                <a:gd name="connsiteX83" fmla="*/ 10288 w 11696"/>
                <a:gd name="connsiteY83" fmla="*/ 9088 h 10760"/>
                <a:gd name="connsiteX84" fmla="*/ 9114 w 11696"/>
                <a:gd name="connsiteY84" fmla="*/ 9894 h 10760"/>
                <a:gd name="connsiteX85" fmla="*/ 9584 w 11696"/>
                <a:gd name="connsiteY85" fmla="*/ 10491 h 10760"/>
                <a:gd name="connsiteX86" fmla="*/ 9396 w 11696"/>
                <a:gd name="connsiteY86" fmla="*/ 10730 h 10760"/>
                <a:gd name="connsiteX87" fmla="*/ 9114 w 11696"/>
                <a:gd name="connsiteY87" fmla="*/ 10491 h 10760"/>
                <a:gd name="connsiteX88" fmla="*/ 7236 w 11696"/>
                <a:gd name="connsiteY88" fmla="*/ 10461 h 10760"/>
                <a:gd name="connsiteX89" fmla="*/ 6908 w 11696"/>
                <a:gd name="connsiteY89" fmla="*/ 10760 h 10760"/>
                <a:gd name="connsiteX90" fmla="*/ 6344 w 11696"/>
                <a:gd name="connsiteY90" fmla="*/ 10730 h 10760"/>
                <a:gd name="connsiteX0" fmla="*/ 6344 w 11696"/>
                <a:gd name="connsiteY0" fmla="*/ 10730 h 10760"/>
                <a:gd name="connsiteX1" fmla="*/ 6438 w 11696"/>
                <a:gd name="connsiteY1" fmla="*/ 9894 h 10760"/>
                <a:gd name="connsiteX2" fmla="*/ 6720 w 11696"/>
                <a:gd name="connsiteY2" fmla="*/ 9088 h 10760"/>
                <a:gd name="connsiteX3" fmla="*/ 5922 w 11696"/>
                <a:gd name="connsiteY3" fmla="*/ 8909 h 10760"/>
                <a:gd name="connsiteX4" fmla="*/ 5687 w 11696"/>
                <a:gd name="connsiteY4" fmla="*/ 8730 h 10760"/>
                <a:gd name="connsiteX5" fmla="*/ 5311 w 11696"/>
                <a:gd name="connsiteY5" fmla="*/ 8820 h 10760"/>
                <a:gd name="connsiteX6" fmla="*/ 4983 w 11696"/>
                <a:gd name="connsiteY6" fmla="*/ 8253 h 10760"/>
                <a:gd name="connsiteX7" fmla="*/ 4419 w 11696"/>
                <a:gd name="connsiteY7" fmla="*/ 7894 h 10760"/>
                <a:gd name="connsiteX8" fmla="*/ 3997 w 11696"/>
                <a:gd name="connsiteY8" fmla="*/ 7924 h 10760"/>
                <a:gd name="connsiteX9" fmla="*/ 4091 w 11696"/>
                <a:gd name="connsiteY9" fmla="*/ 8103 h 10760"/>
                <a:gd name="connsiteX10" fmla="*/ 3621 w 11696"/>
                <a:gd name="connsiteY10" fmla="*/ 8133 h 10760"/>
                <a:gd name="connsiteX11" fmla="*/ 3574 w 11696"/>
                <a:gd name="connsiteY11" fmla="*/ 7447 h 10760"/>
                <a:gd name="connsiteX12" fmla="*/ 2823 w 11696"/>
                <a:gd name="connsiteY12" fmla="*/ 7417 h 10760"/>
                <a:gd name="connsiteX13" fmla="*/ 2917 w 11696"/>
                <a:gd name="connsiteY13" fmla="*/ 7118 h 10760"/>
                <a:gd name="connsiteX14" fmla="*/ 2588 w 11696"/>
                <a:gd name="connsiteY14" fmla="*/ 7029 h 10760"/>
                <a:gd name="connsiteX15" fmla="*/ 2401 w 11696"/>
                <a:gd name="connsiteY15" fmla="*/ 6521 h 10760"/>
                <a:gd name="connsiteX16" fmla="*/ 2729 w 11696"/>
                <a:gd name="connsiteY16" fmla="*/ 6372 h 10760"/>
                <a:gd name="connsiteX17" fmla="*/ 3199 w 11696"/>
                <a:gd name="connsiteY17" fmla="*/ 5984 h 10760"/>
                <a:gd name="connsiteX18" fmla="*/ 2917 w 11696"/>
                <a:gd name="connsiteY18" fmla="*/ 5775 h 10760"/>
                <a:gd name="connsiteX19" fmla="*/ 3480 w 11696"/>
                <a:gd name="connsiteY19" fmla="*/ 5447 h 10760"/>
                <a:gd name="connsiteX20" fmla="*/ 2917 w 11696"/>
                <a:gd name="connsiteY20" fmla="*/ 5447 h 10760"/>
                <a:gd name="connsiteX21" fmla="*/ 2917 w 11696"/>
                <a:gd name="connsiteY21" fmla="*/ 5088 h 10760"/>
                <a:gd name="connsiteX22" fmla="*/ 3105 w 11696"/>
                <a:gd name="connsiteY22" fmla="*/ 4521 h 10760"/>
                <a:gd name="connsiteX23" fmla="*/ 2870 w 11696"/>
                <a:gd name="connsiteY23" fmla="*/ 4044 h 10760"/>
                <a:gd name="connsiteX24" fmla="*/ 3576 w 11696"/>
                <a:gd name="connsiteY24" fmla="*/ 3532 h 10760"/>
                <a:gd name="connsiteX25" fmla="*/ 3178 w 11696"/>
                <a:gd name="connsiteY25" fmla="*/ 3342 h 10760"/>
                <a:gd name="connsiteX26" fmla="*/ 2908 w 11696"/>
                <a:gd name="connsiteY26" fmla="*/ 3260 h 10760"/>
                <a:gd name="connsiteX27" fmla="*/ 2201 w 11696"/>
                <a:gd name="connsiteY27" fmla="*/ 3486 h 10760"/>
                <a:gd name="connsiteX28" fmla="*/ 0 w 11696"/>
                <a:gd name="connsiteY28" fmla="*/ 4121 h 10760"/>
                <a:gd name="connsiteX29" fmla="*/ 391 w 11696"/>
                <a:gd name="connsiteY29" fmla="*/ 3784 h 10760"/>
                <a:gd name="connsiteX30" fmla="*/ 56 w 11696"/>
                <a:gd name="connsiteY30" fmla="*/ 3358 h 10760"/>
                <a:gd name="connsiteX31" fmla="*/ 457 w 11696"/>
                <a:gd name="connsiteY31" fmla="*/ 2950 h 10760"/>
                <a:gd name="connsiteX32" fmla="*/ 129 w 11696"/>
                <a:gd name="connsiteY32" fmla="*/ 2316 h 10760"/>
                <a:gd name="connsiteX33" fmla="*/ 476 w 11696"/>
                <a:gd name="connsiteY33" fmla="*/ 2820 h 10760"/>
                <a:gd name="connsiteX34" fmla="*/ 288 w 11696"/>
                <a:gd name="connsiteY34" fmla="*/ 2790 h 10760"/>
                <a:gd name="connsiteX35" fmla="*/ 646 w 11696"/>
                <a:gd name="connsiteY35" fmla="*/ 1986 h 10760"/>
                <a:gd name="connsiteX36" fmla="*/ 1295 w 11696"/>
                <a:gd name="connsiteY36" fmla="*/ 1999 h 10760"/>
                <a:gd name="connsiteX37" fmla="*/ 2072 w 11696"/>
                <a:gd name="connsiteY37" fmla="*/ 2461 h 10760"/>
                <a:gd name="connsiteX38" fmla="*/ 996 w 11696"/>
                <a:gd name="connsiteY38" fmla="*/ 2015 h 10760"/>
                <a:gd name="connsiteX39" fmla="*/ 1307 w 11696"/>
                <a:gd name="connsiteY39" fmla="*/ 2021 h 10760"/>
                <a:gd name="connsiteX40" fmla="*/ 1469 w 11696"/>
                <a:gd name="connsiteY40" fmla="*/ 2083 h 10760"/>
                <a:gd name="connsiteX41" fmla="*/ 1944 w 11696"/>
                <a:gd name="connsiteY41" fmla="*/ 2449 h 10760"/>
                <a:gd name="connsiteX42" fmla="*/ 2142 w 11696"/>
                <a:gd name="connsiteY42" fmla="*/ 2178 h 10760"/>
                <a:gd name="connsiteX43" fmla="*/ 2468 w 11696"/>
                <a:gd name="connsiteY43" fmla="*/ 1886 h 10760"/>
                <a:gd name="connsiteX44" fmla="*/ 2593 w 11696"/>
                <a:gd name="connsiteY44" fmla="*/ 1793 h 10760"/>
                <a:gd name="connsiteX45" fmla="*/ 3293 w 11696"/>
                <a:gd name="connsiteY45" fmla="*/ 1805 h 10760"/>
                <a:gd name="connsiteX46" fmla="*/ 3011 w 11696"/>
                <a:gd name="connsiteY46" fmla="*/ 1835 h 10760"/>
                <a:gd name="connsiteX47" fmla="*/ 2823 w 11696"/>
                <a:gd name="connsiteY47" fmla="*/ 1596 h 10760"/>
                <a:gd name="connsiteX48" fmla="*/ 2806 w 11696"/>
                <a:gd name="connsiteY48" fmla="*/ 1359 h 10760"/>
                <a:gd name="connsiteX49" fmla="*/ 2854 w 11696"/>
                <a:gd name="connsiteY49" fmla="*/ 1009 h 10760"/>
                <a:gd name="connsiteX50" fmla="*/ 2588 w 11696"/>
                <a:gd name="connsiteY50" fmla="*/ 1059 h 10760"/>
                <a:gd name="connsiteX51" fmla="*/ 2542 w 11696"/>
                <a:gd name="connsiteY51" fmla="*/ 879 h 10760"/>
                <a:gd name="connsiteX52" fmla="*/ 2657 w 11696"/>
                <a:gd name="connsiteY52" fmla="*/ 580 h 10760"/>
                <a:gd name="connsiteX53" fmla="*/ 2555 w 11696"/>
                <a:gd name="connsiteY53" fmla="*/ 0 h 10760"/>
                <a:gd name="connsiteX54" fmla="*/ 3853 w 11696"/>
                <a:gd name="connsiteY54" fmla="*/ 195 h 10760"/>
                <a:gd name="connsiteX55" fmla="*/ 4889 w 11696"/>
                <a:gd name="connsiteY55" fmla="*/ 1088 h 10760"/>
                <a:gd name="connsiteX56" fmla="*/ 5149 w 11696"/>
                <a:gd name="connsiteY56" fmla="*/ 1091 h 10760"/>
                <a:gd name="connsiteX57" fmla="*/ 5215 w 11696"/>
                <a:gd name="connsiteY57" fmla="*/ 1196 h 10760"/>
                <a:gd name="connsiteX58" fmla="*/ 5431 w 11696"/>
                <a:gd name="connsiteY58" fmla="*/ 1300 h 10760"/>
                <a:gd name="connsiteX59" fmla="*/ 5872 w 11696"/>
                <a:gd name="connsiteY59" fmla="*/ 1256 h 10760"/>
                <a:gd name="connsiteX60" fmla="*/ 5922 w 11696"/>
                <a:gd name="connsiteY60" fmla="*/ 1745 h 10760"/>
                <a:gd name="connsiteX61" fmla="*/ 6203 w 11696"/>
                <a:gd name="connsiteY61" fmla="*/ 1596 h 10760"/>
                <a:gd name="connsiteX62" fmla="*/ 6718 w 11696"/>
                <a:gd name="connsiteY62" fmla="*/ 1755 h 10760"/>
                <a:gd name="connsiteX63" fmla="*/ 7455 w 11696"/>
                <a:gd name="connsiteY63" fmla="*/ 1218 h 10760"/>
                <a:gd name="connsiteX64" fmla="*/ 7879 w 11696"/>
                <a:gd name="connsiteY64" fmla="*/ 983 h 10760"/>
                <a:gd name="connsiteX65" fmla="*/ 8897 w 11696"/>
                <a:gd name="connsiteY65" fmla="*/ 1065 h 10760"/>
                <a:gd name="connsiteX66" fmla="*/ 9274 w 11696"/>
                <a:gd name="connsiteY66" fmla="*/ 1177 h 10760"/>
                <a:gd name="connsiteX67" fmla="*/ 9600 w 11696"/>
                <a:gd name="connsiteY67" fmla="*/ 721 h 10760"/>
                <a:gd name="connsiteX68" fmla="*/ 9882 w 11696"/>
                <a:gd name="connsiteY68" fmla="*/ 1213 h 10760"/>
                <a:gd name="connsiteX69" fmla="*/ 9494 w 11696"/>
                <a:gd name="connsiteY69" fmla="*/ 1544 h 10760"/>
                <a:gd name="connsiteX70" fmla="*/ 10114 w 11696"/>
                <a:gd name="connsiteY70" fmla="*/ 1477 h 10760"/>
                <a:gd name="connsiteX71" fmla="*/ 10692 w 11696"/>
                <a:gd name="connsiteY71" fmla="*/ 1744 h 10760"/>
                <a:gd name="connsiteX72" fmla="*/ 11147 w 11696"/>
                <a:gd name="connsiteY72" fmla="*/ 4405 h 10760"/>
                <a:gd name="connsiteX73" fmla="*/ 11695 w 11696"/>
                <a:gd name="connsiteY73" fmla="*/ 5293 h 10760"/>
                <a:gd name="connsiteX74" fmla="*/ 11283 w 11696"/>
                <a:gd name="connsiteY74" fmla="*/ 5967 h 10760"/>
                <a:gd name="connsiteX75" fmla="*/ 9900 w 11696"/>
                <a:gd name="connsiteY75" fmla="*/ 6232 h 10760"/>
                <a:gd name="connsiteX76" fmla="*/ 8684 w 11696"/>
                <a:gd name="connsiteY76" fmla="*/ 6788 h 10760"/>
                <a:gd name="connsiteX77" fmla="*/ 8047 w 11696"/>
                <a:gd name="connsiteY77" fmla="*/ 6901 h 10760"/>
                <a:gd name="connsiteX78" fmla="*/ 7518 w 11696"/>
                <a:gd name="connsiteY78" fmla="*/ 7088 h 10760"/>
                <a:gd name="connsiteX79" fmla="*/ 8081 w 11696"/>
                <a:gd name="connsiteY79" fmla="*/ 7238 h 10760"/>
                <a:gd name="connsiteX80" fmla="*/ 8551 w 11696"/>
                <a:gd name="connsiteY80" fmla="*/ 7626 h 10760"/>
                <a:gd name="connsiteX81" fmla="*/ 8926 w 11696"/>
                <a:gd name="connsiteY81" fmla="*/ 8372 h 10760"/>
                <a:gd name="connsiteX82" fmla="*/ 9302 w 11696"/>
                <a:gd name="connsiteY82" fmla="*/ 8342 h 10760"/>
                <a:gd name="connsiteX83" fmla="*/ 10288 w 11696"/>
                <a:gd name="connsiteY83" fmla="*/ 9088 h 10760"/>
                <a:gd name="connsiteX84" fmla="*/ 9114 w 11696"/>
                <a:gd name="connsiteY84" fmla="*/ 9894 h 10760"/>
                <a:gd name="connsiteX85" fmla="*/ 9584 w 11696"/>
                <a:gd name="connsiteY85" fmla="*/ 10491 h 10760"/>
                <a:gd name="connsiteX86" fmla="*/ 9396 w 11696"/>
                <a:gd name="connsiteY86" fmla="*/ 10730 h 10760"/>
                <a:gd name="connsiteX87" fmla="*/ 9114 w 11696"/>
                <a:gd name="connsiteY87" fmla="*/ 10491 h 10760"/>
                <a:gd name="connsiteX88" fmla="*/ 7236 w 11696"/>
                <a:gd name="connsiteY88" fmla="*/ 10461 h 10760"/>
                <a:gd name="connsiteX89" fmla="*/ 6908 w 11696"/>
                <a:gd name="connsiteY89" fmla="*/ 10760 h 10760"/>
                <a:gd name="connsiteX90" fmla="*/ 6344 w 11696"/>
                <a:gd name="connsiteY90" fmla="*/ 10730 h 10760"/>
                <a:gd name="connsiteX0" fmla="*/ 6769 w 12121"/>
                <a:gd name="connsiteY0" fmla="*/ 10730 h 10760"/>
                <a:gd name="connsiteX1" fmla="*/ 6863 w 12121"/>
                <a:gd name="connsiteY1" fmla="*/ 9894 h 10760"/>
                <a:gd name="connsiteX2" fmla="*/ 7145 w 12121"/>
                <a:gd name="connsiteY2" fmla="*/ 9088 h 10760"/>
                <a:gd name="connsiteX3" fmla="*/ 6347 w 12121"/>
                <a:gd name="connsiteY3" fmla="*/ 8909 h 10760"/>
                <a:gd name="connsiteX4" fmla="*/ 6112 w 12121"/>
                <a:gd name="connsiteY4" fmla="*/ 8730 h 10760"/>
                <a:gd name="connsiteX5" fmla="*/ 5736 w 12121"/>
                <a:gd name="connsiteY5" fmla="*/ 8820 h 10760"/>
                <a:gd name="connsiteX6" fmla="*/ 5408 w 12121"/>
                <a:gd name="connsiteY6" fmla="*/ 8253 h 10760"/>
                <a:gd name="connsiteX7" fmla="*/ 4844 w 12121"/>
                <a:gd name="connsiteY7" fmla="*/ 7894 h 10760"/>
                <a:gd name="connsiteX8" fmla="*/ 4422 w 12121"/>
                <a:gd name="connsiteY8" fmla="*/ 7924 h 10760"/>
                <a:gd name="connsiteX9" fmla="*/ 4516 w 12121"/>
                <a:gd name="connsiteY9" fmla="*/ 8103 h 10760"/>
                <a:gd name="connsiteX10" fmla="*/ 4046 w 12121"/>
                <a:gd name="connsiteY10" fmla="*/ 8133 h 10760"/>
                <a:gd name="connsiteX11" fmla="*/ 3999 w 12121"/>
                <a:gd name="connsiteY11" fmla="*/ 7447 h 10760"/>
                <a:gd name="connsiteX12" fmla="*/ 3248 w 12121"/>
                <a:gd name="connsiteY12" fmla="*/ 7417 h 10760"/>
                <a:gd name="connsiteX13" fmla="*/ 3342 w 12121"/>
                <a:gd name="connsiteY13" fmla="*/ 7118 h 10760"/>
                <a:gd name="connsiteX14" fmla="*/ 3013 w 12121"/>
                <a:gd name="connsiteY14" fmla="*/ 7029 h 10760"/>
                <a:gd name="connsiteX15" fmla="*/ 2826 w 12121"/>
                <a:gd name="connsiteY15" fmla="*/ 6521 h 10760"/>
                <a:gd name="connsiteX16" fmla="*/ 3154 w 12121"/>
                <a:gd name="connsiteY16" fmla="*/ 6372 h 10760"/>
                <a:gd name="connsiteX17" fmla="*/ 3624 w 12121"/>
                <a:gd name="connsiteY17" fmla="*/ 5984 h 10760"/>
                <a:gd name="connsiteX18" fmla="*/ 3342 w 12121"/>
                <a:gd name="connsiteY18" fmla="*/ 5775 h 10760"/>
                <a:gd name="connsiteX19" fmla="*/ 3905 w 12121"/>
                <a:gd name="connsiteY19" fmla="*/ 5447 h 10760"/>
                <a:gd name="connsiteX20" fmla="*/ 3342 w 12121"/>
                <a:gd name="connsiteY20" fmla="*/ 5447 h 10760"/>
                <a:gd name="connsiteX21" fmla="*/ 3342 w 12121"/>
                <a:gd name="connsiteY21" fmla="*/ 5088 h 10760"/>
                <a:gd name="connsiteX22" fmla="*/ 3530 w 12121"/>
                <a:gd name="connsiteY22" fmla="*/ 4521 h 10760"/>
                <a:gd name="connsiteX23" fmla="*/ 3295 w 12121"/>
                <a:gd name="connsiteY23" fmla="*/ 4044 h 10760"/>
                <a:gd name="connsiteX24" fmla="*/ 4001 w 12121"/>
                <a:gd name="connsiteY24" fmla="*/ 3532 h 10760"/>
                <a:gd name="connsiteX25" fmla="*/ 3603 w 12121"/>
                <a:gd name="connsiteY25" fmla="*/ 3342 h 10760"/>
                <a:gd name="connsiteX26" fmla="*/ 3333 w 12121"/>
                <a:gd name="connsiteY26" fmla="*/ 3260 h 10760"/>
                <a:gd name="connsiteX27" fmla="*/ 1 w 12121"/>
                <a:gd name="connsiteY27" fmla="*/ 4631 h 10760"/>
                <a:gd name="connsiteX28" fmla="*/ 425 w 12121"/>
                <a:gd name="connsiteY28" fmla="*/ 4121 h 10760"/>
                <a:gd name="connsiteX29" fmla="*/ 816 w 12121"/>
                <a:gd name="connsiteY29" fmla="*/ 3784 h 10760"/>
                <a:gd name="connsiteX30" fmla="*/ 481 w 12121"/>
                <a:gd name="connsiteY30" fmla="*/ 3358 h 10760"/>
                <a:gd name="connsiteX31" fmla="*/ 882 w 12121"/>
                <a:gd name="connsiteY31" fmla="*/ 2950 h 10760"/>
                <a:gd name="connsiteX32" fmla="*/ 554 w 12121"/>
                <a:gd name="connsiteY32" fmla="*/ 2316 h 10760"/>
                <a:gd name="connsiteX33" fmla="*/ 901 w 12121"/>
                <a:gd name="connsiteY33" fmla="*/ 2820 h 10760"/>
                <a:gd name="connsiteX34" fmla="*/ 713 w 12121"/>
                <a:gd name="connsiteY34" fmla="*/ 2790 h 10760"/>
                <a:gd name="connsiteX35" fmla="*/ 1071 w 12121"/>
                <a:gd name="connsiteY35" fmla="*/ 1986 h 10760"/>
                <a:gd name="connsiteX36" fmla="*/ 1720 w 12121"/>
                <a:gd name="connsiteY36" fmla="*/ 1999 h 10760"/>
                <a:gd name="connsiteX37" fmla="*/ 2497 w 12121"/>
                <a:gd name="connsiteY37" fmla="*/ 2461 h 10760"/>
                <a:gd name="connsiteX38" fmla="*/ 1421 w 12121"/>
                <a:gd name="connsiteY38" fmla="*/ 2015 h 10760"/>
                <a:gd name="connsiteX39" fmla="*/ 1732 w 12121"/>
                <a:gd name="connsiteY39" fmla="*/ 2021 h 10760"/>
                <a:gd name="connsiteX40" fmla="*/ 1894 w 12121"/>
                <a:gd name="connsiteY40" fmla="*/ 2083 h 10760"/>
                <a:gd name="connsiteX41" fmla="*/ 2369 w 12121"/>
                <a:gd name="connsiteY41" fmla="*/ 2449 h 10760"/>
                <a:gd name="connsiteX42" fmla="*/ 2567 w 12121"/>
                <a:gd name="connsiteY42" fmla="*/ 2178 h 10760"/>
                <a:gd name="connsiteX43" fmla="*/ 2893 w 12121"/>
                <a:gd name="connsiteY43" fmla="*/ 1886 h 10760"/>
                <a:gd name="connsiteX44" fmla="*/ 3018 w 12121"/>
                <a:gd name="connsiteY44" fmla="*/ 1793 h 10760"/>
                <a:gd name="connsiteX45" fmla="*/ 3718 w 12121"/>
                <a:gd name="connsiteY45" fmla="*/ 1805 h 10760"/>
                <a:gd name="connsiteX46" fmla="*/ 3436 w 12121"/>
                <a:gd name="connsiteY46" fmla="*/ 1835 h 10760"/>
                <a:gd name="connsiteX47" fmla="*/ 3248 w 12121"/>
                <a:gd name="connsiteY47" fmla="*/ 1596 h 10760"/>
                <a:gd name="connsiteX48" fmla="*/ 3231 w 12121"/>
                <a:gd name="connsiteY48" fmla="*/ 1359 h 10760"/>
                <a:gd name="connsiteX49" fmla="*/ 3279 w 12121"/>
                <a:gd name="connsiteY49" fmla="*/ 1009 h 10760"/>
                <a:gd name="connsiteX50" fmla="*/ 3013 w 12121"/>
                <a:gd name="connsiteY50" fmla="*/ 1059 h 10760"/>
                <a:gd name="connsiteX51" fmla="*/ 2967 w 12121"/>
                <a:gd name="connsiteY51" fmla="*/ 879 h 10760"/>
                <a:gd name="connsiteX52" fmla="*/ 3082 w 12121"/>
                <a:gd name="connsiteY52" fmla="*/ 580 h 10760"/>
                <a:gd name="connsiteX53" fmla="*/ 2980 w 12121"/>
                <a:gd name="connsiteY53" fmla="*/ 0 h 10760"/>
                <a:gd name="connsiteX54" fmla="*/ 4278 w 12121"/>
                <a:gd name="connsiteY54" fmla="*/ 195 h 10760"/>
                <a:gd name="connsiteX55" fmla="*/ 5314 w 12121"/>
                <a:gd name="connsiteY55" fmla="*/ 1088 h 10760"/>
                <a:gd name="connsiteX56" fmla="*/ 5574 w 12121"/>
                <a:gd name="connsiteY56" fmla="*/ 1091 h 10760"/>
                <a:gd name="connsiteX57" fmla="*/ 5640 w 12121"/>
                <a:gd name="connsiteY57" fmla="*/ 1196 h 10760"/>
                <a:gd name="connsiteX58" fmla="*/ 5856 w 12121"/>
                <a:gd name="connsiteY58" fmla="*/ 1300 h 10760"/>
                <a:gd name="connsiteX59" fmla="*/ 6297 w 12121"/>
                <a:gd name="connsiteY59" fmla="*/ 1256 h 10760"/>
                <a:gd name="connsiteX60" fmla="*/ 6347 w 12121"/>
                <a:gd name="connsiteY60" fmla="*/ 1745 h 10760"/>
                <a:gd name="connsiteX61" fmla="*/ 6628 w 12121"/>
                <a:gd name="connsiteY61" fmla="*/ 1596 h 10760"/>
                <a:gd name="connsiteX62" fmla="*/ 7143 w 12121"/>
                <a:gd name="connsiteY62" fmla="*/ 1755 h 10760"/>
                <a:gd name="connsiteX63" fmla="*/ 7880 w 12121"/>
                <a:gd name="connsiteY63" fmla="*/ 1218 h 10760"/>
                <a:gd name="connsiteX64" fmla="*/ 8304 w 12121"/>
                <a:gd name="connsiteY64" fmla="*/ 983 h 10760"/>
                <a:gd name="connsiteX65" fmla="*/ 9322 w 12121"/>
                <a:gd name="connsiteY65" fmla="*/ 1065 h 10760"/>
                <a:gd name="connsiteX66" fmla="*/ 9699 w 12121"/>
                <a:gd name="connsiteY66" fmla="*/ 1177 h 10760"/>
                <a:gd name="connsiteX67" fmla="*/ 10025 w 12121"/>
                <a:gd name="connsiteY67" fmla="*/ 721 h 10760"/>
                <a:gd name="connsiteX68" fmla="*/ 10307 w 12121"/>
                <a:gd name="connsiteY68" fmla="*/ 1213 h 10760"/>
                <a:gd name="connsiteX69" fmla="*/ 9919 w 12121"/>
                <a:gd name="connsiteY69" fmla="*/ 1544 h 10760"/>
                <a:gd name="connsiteX70" fmla="*/ 10539 w 12121"/>
                <a:gd name="connsiteY70" fmla="*/ 1477 h 10760"/>
                <a:gd name="connsiteX71" fmla="*/ 11117 w 12121"/>
                <a:gd name="connsiteY71" fmla="*/ 1744 h 10760"/>
                <a:gd name="connsiteX72" fmla="*/ 11572 w 12121"/>
                <a:gd name="connsiteY72" fmla="*/ 4405 h 10760"/>
                <a:gd name="connsiteX73" fmla="*/ 12120 w 12121"/>
                <a:gd name="connsiteY73" fmla="*/ 5293 h 10760"/>
                <a:gd name="connsiteX74" fmla="*/ 11708 w 12121"/>
                <a:gd name="connsiteY74" fmla="*/ 5967 h 10760"/>
                <a:gd name="connsiteX75" fmla="*/ 10325 w 12121"/>
                <a:gd name="connsiteY75" fmla="*/ 6232 h 10760"/>
                <a:gd name="connsiteX76" fmla="*/ 9109 w 12121"/>
                <a:gd name="connsiteY76" fmla="*/ 6788 h 10760"/>
                <a:gd name="connsiteX77" fmla="*/ 8472 w 12121"/>
                <a:gd name="connsiteY77" fmla="*/ 6901 h 10760"/>
                <a:gd name="connsiteX78" fmla="*/ 7943 w 12121"/>
                <a:gd name="connsiteY78" fmla="*/ 7088 h 10760"/>
                <a:gd name="connsiteX79" fmla="*/ 8506 w 12121"/>
                <a:gd name="connsiteY79" fmla="*/ 7238 h 10760"/>
                <a:gd name="connsiteX80" fmla="*/ 8976 w 12121"/>
                <a:gd name="connsiteY80" fmla="*/ 7626 h 10760"/>
                <a:gd name="connsiteX81" fmla="*/ 9351 w 12121"/>
                <a:gd name="connsiteY81" fmla="*/ 8372 h 10760"/>
                <a:gd name="connsiteX82" fmla="*/ 9727 w 12121"/>
                <a:gd name="connsiteY82" fmla="*/ 8342 h 10760"/>
                <a:gd name="connsiteX83" fmla="*/ 10713 w 12121"/>
                <a:gd name="connsiteY83" fmla="*/ 9088 h 10760"/>
                <a:gd name="connsiteX84" fmla="*/ 9539 w 12121"/>
                <a:gd name="connsiteY84" fmla="*/ 9894 h 10760"/>
                <a:gd name="connsiteX85" fmla="*/ 10009 w 12121"/>
                <a:gd name="connsiteY85" fmla="*/ 10491 h 10760"/>
                <a:gd name="connsiteX86" fmla="*/ 9821 w 12121"/>
                <a:gd name="connsiteY86" fmla="*/ 10730 h 10760"/>
                <a:gd name="connsiteX87" fmla="*/ 9539 w 12121"/>
                <a:gd name="connsiteY87" fmla="*/ 10491 h 10760"/>
                <a:gd name="connsiteX88" fmla="*/ 7661 w 12121"/>
                <a:gd name="connsiteY88" fmla="*/ 10461 h 10760"/>
                <a:gd name="connsiteX89" fmla="*/ 7333 w 12121"/>
                <a:gd name="connsiteY89" fmla="*/ 10760 h 10760"/>
                <a:gd name="connsiteX90" fmla="*/ 6769 w 12121"/>
                <a:gd name="connsiteY90" fmla="*/ 10730 h 10760"/>
                <a:gd name="connsiteX0" fmla="*/ 6829 w 12181"/>
                <a:gd name="connsiteY0" fmla="*/ 10730 h 10760"/>
                <a:gd name="connsiteX1" fmla="*/ 6923 w 12181"/>
                <a:gd name="connsiteY1" fmla="*/ 9894 h 10760"/>
                <a:gd name="connsiteX2" fmla="*/ 7205 w 12181"/>
                <a:gd name="connsiteY2" fmla="*/ 9088 h 10760"/>
                <a:gd name="connsiteX3" fmla="*/ 6407 w 12181"/>
                <a:gd name="connsiteY3" fmla="*/ 8909 h 10760"/>
                <a:gd name="connsiteX4" fmla="*/ 6172 w 12181"/>
                <a:gd name="connsiteY4" fmla="*/ 8730 h 10760"/>
                <a:gd name="connsiteX5" fmla="*/ 5796 w 12181"/>
                <a:gd name="connsiteY5" fmla="*/ 8820 h 10760"/>
                <a:gd name="connsiteX6" fmla="*/ 5468 w 12181"/>
                <a:gd name="connsiteY6" fmla="*/ 8253 h 10760"/>
                <a:gd name="connsiteX7" fmla="*/ 4904 w 12181"/>
                <a:gd name="connsiteY7" fmla="*/ 7894 h 10760"/>
                <a:gd name="connsiteX8" fmla="*/ 4482 w 12181"/>
                <a:gd name="connsiteY8" fmla="*/ 7924 h 10760"/>
                <a:gd name="connsiteX9" fmla="*/ 4576 w 12181"/>
                <a:gd name="connsiteY9" fmla="*/ 8103 h 10760"/>
                <a:gd name="connsiteX10" fmla="*/ 4106 w 12181"/>
                <a:gd name="connsiteY10" fmla="*/ 8133 h 10760"/>
                <a:gd name="connsiteX11" fmla="*/ 4059 w 12181"/>
                <a:gd name="connsiteY11" fmla="*/ 7447 h 10760"/>
                <a:gd name="connsiteX12" fmla="*/ 3308 w 12181"/>
                <a:gd name="connsiteY12" fmla="*/ 7417 h 10760"/>
                <a:gd name="connsiteX13" fmla="*/ 3402 w 12181"/>
                <a:gd name="connsiteY13" fmla="*/ 7118 h 10760"/>
                <a:gd name="connsiteX14" fmla="*/ 3073 w 12181"/>
                <a:gd name="connsiteY14" fmla="*/ 7029 h 10760"/>
                <a:gd name="connsiteX15" fmla="*/ 2886 w 12181"/>
                <a:gd name="connsiteY15" fmla="*/ 6521 h 10760"/>
                <a:gd name="connsiteX16" fmla="*/ 3214 w 12181"/>
                <a:gd name="connsiteY16" fmla="*/ 6372 h 10760"/>
                <a:gd name="connsiteX17" fmla="*/ 3684 w 12181"/>
                <a:gd name="connsiteY17" fmla="*/ 5984 h 10760"/>
                <a:gd name="connsiteX18" fmla="*/ 3402 w 12181"/>
                <a:gd name="connsiteY18" fmla="*/ 5775 h 10760"/>
                <a:gd name="connsiteX19" fmla="*/ 3965 w 12181"/>
                <a:gd name="connsiteY19" fmla="*/ 5447 h 10760"/>
                <a:gd name="connsiteX20" fmla="*/ 3402 w 12181"/>
                <a:gd name="connsiteY20" fmla="*/ 5447 h 10760"/>
                <a:gd name="connsiteX21" fmla="*/ 3402 w 12181"/>
                <a:gd name="connsiteY21" fmla="*/ 5088 h 10760"/>
                <a:gd name="connsiteX22" fmla="*/ 3590 w 12181"/>
                <a:gd name="connsiteY22" fmla="*/ 4521 h 10760"/>
                <a:gd name="connsiteX23" fmla="*/ 3355 w 12181"/>
                <a:gd name="connsiteY23" fmla="*/ 4044 h 10760"/>
                <a:gd name="connsiteX24" fmla="*/ 4061 w 12181"/>
                <a:gd name="connsiteY24" fmla="*/ 3532 h 10760"/>
                <a:gd name="connsiteX25" fmla="*/ 3663 w 12181"/>
                <a:gd name="connsiteY25" fmla="*/ 3342 h 10760"/>
                <a:gd name="connsiteX26" fmla="*/ 3393 w 12181"/>
                <a:gd name="connsiteY26" fmla="*/ 3260 h 10760"/>
                <a:gd name="connsiteX27" fmla="*/ 1 w 12181"/>
                <a:gd name="connsiteY27" fmla="*/ 4660 h 10760"/>
                <a:gd name="connsiteX28" fmla="*/ 485 w 12181"/>
                <a:gd name="connsiteY28" fmla="*/ 4121 h 10760"/>
                <a:gd name="connsiteX29" fmla="*/ 876 w 12181"/>
                <a:gd name="connsiteY29" fmla="*/ 3784 h 10760"/>
                <a:gd name="connsiteX30" fmla="*/ 541 w 12181"/>
                <a:gd name="connsiteY30" fmla="*/ 3358 h 10760"/>
                <a:gd name="connsiteX31" fmla="*/ 942 w 12181"/>
                <a:gd name="connsiteY31" fmla="*/ 2950 h 10760"/>
                <a:gd name="connsiteX32" fmla="*/ 614 w 12181"/>
                <a:gd name="connsiteY32" fmla="*/ 2316 h 10760"/>
                <a:gd name="connsiteX33" fmla="*/ 961 w 12181"/>
                <a:gd name="connsiteY33" fmla="*/ 2820 h 10760"/>
                <a:gd name="connsiteX34" fmla="*/ 773 w 12181"/>
                <a:gd name="connsiteY34" fmla="*/ 2790 h 10760"/>
                <a:gd name="connsiteX35" fmla="*/ 1131 w 12181"/>
                <a:gd name="connsiteY35" fmla="*/ 1986 h 10760"/>
                <a:gd name="connsiteX36" fmla="*/ 1780 w 12181"/>
                <a:gd name="connsiteY36" fmla="*/ 1999 h 10760"/>
                <a:gd name="connsiteX37" fmla="*/ 2557 w 12181"/>
                <a:gd name="connsiteY37" fmla="*/ 2461 h 10760"/>
                <a:gd name="connsiteX38" fmla="*/ 1481 w 12181"/>
                <a:gd name="connsiteY38" fmla="*/ 2015 h 10760"/>
                <a:gd name="connsiteX39" fmla="*/ 1792 w 12181"/>
                <a:gd name="connsiteY39" fmla="*/ 2021 h 10760"/>
                <a:gd name="connsiteX40" fmla="*/ 1954 w 12181"/>
                <a:gd name="connsiteY40" fmla="*/ 2083 h 10760"/>
                <a:gd name="connsiteX41" fmla="*/ 2429 w 12181"/>
                <a:gd name="connsiteY41" fmla="*/ 2449 h 10760"/>
                <a:gd name="connsiteX42" fmla="*/ 2627 w 12181"/>
                <a:gd name="connsiteY42" fmla="*/ 2178 h 10760"/>
                <a:gd name="connsiteX43" fmla="*/ 2953 w 12181"/>
                <a:gd name="connsiteY43" fmla="*/ 1886 h 10760"/>
                <a:gd name="connsiteX44" fmla="*/ 3078 w 12181"/>
                <a:gd name="connsiteY44" fmla="*/ 1793 h 10760"/>
                <a:gd name="connsiteX45" fmla="*/ 3778 w 12181"/>
                <a:gd name="connsiteY45" fmla="*/ 1805 h 10760"/>
                <a:gd name="connsiteX46" fmla="*/ 3496 w 12181"/>
                <a:gd name="connsiteY46" fmla="*/ 1835 h 10760"/>
                <a:gd name="connsiteX47" fmla="*/ 3308 w 12181"/>
                <a:gd name="connsiteY47" fmla="*/ 1596 h 10760"/>
                <a:gd name="connsiteX48" fmla="*/ 3291 w 12181"/>
                <a:gd name="connsiteY48" fmla="*/ 1359 h 10760"/>
                <a:gd name="connsiteX49" fmla="*/ 3339 w 12181"/>
                <a:gd name="connsiteY49" fmla="*/ 1009 h 10760"/>
                <a:gd name="connsiteX50" fmla="*/ 3073 w 12181"/>
                <a:gd name="connsiteY50" fmla="*/ 1059 h 10760"/>
                <a:gd name="connsiteX51" fmla="*/ 3027 w 12181"/>
                <a:gd name="connsiteY51" fmla="*/ 879 h 10760"/>
                <a:gd name="connsiteX52" fmla="*/ 3142 w 12181"/>
                <a:gd name="connsiteY52" fmla="*/ 580 h 10760"/>
                <a:gd name="connsiteX53" fmla="*/ 3040 w 12181"/>
                <a:gd name="connsiteY53" fmla="*/ 0 h 10760"/>
                <a:gd name="connsiteX54" fmla="*/ 4338 w 12181"/>
                <a:gd name="connsiteY54" fmla="*/ 195 h 10760"/>
                <a:gd name="connsiteX55" fmla="*/ 5374 w 12181"/>
                <a:gd name="connsiteY55" fmla="*/ 1088 h 10760"/>
                <a:gd name="connsiteX56" fmla="*/ 5634 w 12181"/>
                <a:gd name="connsiteY56" fmla="*/ 1091 h 10760"/>
                <a:gd name="connsiteX57" fmla="*/ 5700 w 12181"/>
                <a:gd name="connsiteY57" fmla="*/ 1196 h 10760"/>
                <a:gd name="connsiteX58" fmla="*/ 5916 w 12181"/>
                <a:gd name="connsiteY58" fmla="*/ 1300 h 10760"/>
                <a:gd name="connsiteX59" fmla="*/ 6357 w 12181"/>
                <a:gd name="connsiteY59" fmla="*/ 1256 h 10760"/>
                <a:gd name="connsiteX60" fmla="*/ 6407 w 12181"/>
                <a:gd name="connsiteY60" fmla="*/ 1745 h 10760"/>
                <a:gd name="connsiteX61" fmla="*/ 6688 w 12181"/>
                <a:gd name="connsiteY61" fmla="*/ 1596 h 10760"/>
                <a:gd name="connsiteX62" fmla="*/ 7203 w 12181"/>
                <a:gd name="connsiteY62" fmla="*/ 1755 h 10760"/>
                <a:gd name="connsiteX63" fmla="*/ 7940 w 12181"/>
                <a:gd name="connsiteY63" fmla="*/ 1218 h 10760"/>
                <a:gd name="connsiteX64" fmla="*/ 8364 w 12181"/>
                <a:gd name="connsiteY64" fmla="*/ 983 h 10760"/>
                <a:gd name="connsiteX65" fmla="*/ 9382 w 12181"/>
                <a:gd name="connsiteY65" fmla="*/ 1065 h 10760"/>
                <a:gd name="connsiteX66" fmla="*/ 9759 w 12181"/>
                <a:gd name="connsiteY66" fmla="*/ 1177 h 10760"/>
                <a:gd name="connsiteX67" fmla="*/ 10085 w 12181"/>
                <a:gd name="connsiteY67" fmla="*/ 721 h 10760"/>
                <a:gd name="connsiteX68" fmla="*/ 10367 w 12181"/>
                <a:gd name="connsiteY68" fmla="*/ 1213 h 10760"/>
                <a:gd name="connsiteX69" fmla="*/ 9979 w 12181"/>
                <a:gd name="connsiteY69" fmla="*/ 1544 h 10760"/>
                <a:gd name="connsiteX70" fmla="*/ 10599 w 12181"/>
                <a:gd name="connsiteY70" fmla="*/ 1477 h 10760"/>
                <a:gd name="connsiteX71" fmla="*/ 11177 w 12181"/>
                <a:gd name="connsiteY71" fmla="*/ 1744 h 10760"/>
                <a:gd name="connsiteX72" fmla="*/ 11632 w 12181"/>
                <a:gd name="connsiteY72" fmla="*/ 4405 h 10760"/>
                <a:gd name="connsiteX73" fmla="*/ 12180 w 12181"/>
                <a:gd name="connsiteY73" fmla="*/ 5293 h 10760"/>
                <a:gd name="connsiteX74" fmla="*/ 11768 w 12181"/>
                <a:gd name="connsiteY74" fmla="*/ 5967 h 10760"/>
                <a:gd name="connsiteX75" fmla="*/ 10385 w 12181"/>
                <a:gd name="connsiteY75" fmla="*/ 6232 h 10760"/>
                <a:gd name="connsiteX76" fmla="*/ 9169 w 12181"/>
                <a:gd name="connsiteY76" fmla="*/ 6788 h 10760"/>
                <a:gd name="connsiteX77" fmla="*/ 8532 w 12181"/>
                <a:gd name="connsiteY77" fmla="*/ 6901 h 10760"/>
                <a:gd name="connsiteX78" fmla="*/ 8003 w 12181"/>
                <a:gd name="connsiteY78" fmla="*/ 7088 h 10760"/>
                <a:gd name="connsiteX79" fmla="*/ 8566 w 12181"/>
                <a:gd name="connsiteY79" fmla="*/ 7238 h 10760"/>
                <a:gd name="connsiteX80" fmla="*/ 9036 w 12181"/>
                <a:gd name="connsiteY80" fmla="*/ 7626 h 10760"/>
                <a:gd name="connsiteX81" fmla="*/ 9411 w 12181"/>
                <a:gd name="connsiteY81" fmla="*/ 8372 h 10760"/>
                <a:gd name="connsiteX82" fmla="*/ 9787 w 12181"/>
                <a:gd name="connsiteY82" fmla="*/ 8342 h 10760"/>
                <a:gd name="connsiteX83" fmla="*/ 10773 w 12181"/>
                <a:gd name="connsiteY83" fmla="*/ 9088 h 10760"/>
                <a:gd name="connsiteX84" fmla="*/ 9599 w 12181"/>
                <a:gd name="connsiteY84" fmla="*/ 9894 h 10760"/>
                <a:gd name="connsiteX85" fmla="*/ 10069 w 12181"/>
                <a:gd name="connsiteY85" fmla="*/ 10491 h 10760"/>
                <a:gd name="connsiteX86" fmla="*/ 9881 w 12181"/>
                <a:gd name="connsiteY86" fmla="*/ 10730 h 10760"/>
                <a:gd name="connsiteX87" fmla="*/ 9599 w 12181"/>
                <a:gd name="connsiteY87" fmla="*/ 10491 h 10760"/>
                <a:gd name="connsiteX88" fmla="*/ 7721 w 12181"/>
                <a:gd name="connsiteY88" fmla="*/ 10461 h 10760"/>
                <a:gd name="connsiteX89" fmla="*/ 7393 w 12181"/>
                <a:gd name="connsiteY89" fmla="*/ 10760 h 10760"/>
                <a:gd name="connsiteX90" fmla="*/ 6829 w 12181"/>
                <a:gd name="connsiteY90" fmla="*/ 10730 h 10760"/>
                <a:gd name="connsiteX0" fmla="*/ 7560 w 12912"/>
                <a:gd name="connsiteY0" fmla="*/ 10730 h 10760"/>
                <a:gd name="connsiteX1" fmla="*/ 7654 w 12912"/>
                <a:gd name="connsiteY1" fmla="*/ 9894 h 10760"/>
                <a:gd name="connsiteX2" fmla="*/ 7936 w 12912"/>
                <a:gd name="connsiteY2" fmla="*/ 9088 h 10760"/>
                <a:gd name="connsiteX3" fmla="*/ 7138 w 12912"/>
                <a:gd name="connsiteY3" fmla="*/ 8909 h 10760"/>
                <a:gd name="connsiteX4" fmla="*/ 6903 w 12912"/>
                <a:gd name="connsiteY4" fmla="*/ 8730 h 10760"/>
                <a:gd name="connsiteX5" fmla="*/ 6527 w 12912"/>
                <a:gd name="connsiteY5" fmla="*/ 8820 h 10760"/>
                <a:gd name="connsiteX6" fmla="*/ 6199 w 12912"/>
                <a:gd name="connsiteY6" fmla="*/ 8253 h 10760"/>
                <a:gd name="connsiteX7" fmla="*/ 5635 w 12912"/>
                <a:gd name="connsiteY7" fmla="*/ 7894 h 10760"/>
                <a:gd name="connsiteX8" fmla="*/ 5213 w 12912"/>
                <a:gd name="connsiteY8" fmla="*/ 7924 h 10760"/>
                <a:gd name="connsiteX9" fmla="*/ 5307 w 12912"/>
                <a:gd name="connsiteY9" fmla="*/ 8103 h 10760"/>
                <a:gd name="connsiteX10" fmla="*/ 4837 w 12912"/>
                <a:gd name="connsiteY10" fmla="*/ 8133 h 10760"/>
                <a:gd name="connsiteX11" fmla="*/ 4790 w 12912"/>
                <a:gd name="connsiteY11" fmla="*/ 7447 h 10760"/>
                <a:gd name="connsiteX12" fmla="*/ 4039 w 12912"/>
                <a:gd name="connsiteY12" fmla="*/ 7417 h 10760"/>
                <a:gd name="connsiteX13" fmla="*/ 4133 w 12912"/>
                <a:gd name="connsiteY13" fmla="*/ 7118 h 10760"/>
                <a:gd name="connsiteX14" fmla="*/ 3804 w 12912"/>
                <a:gd name="connsiteY14" fmla="*/ 7029 h 10760"/>
                <a:gd name="connsiteX15" fmla="*/ 3617 w 12912"/>
                <a:gd name="connsiteY15" fmla="*/ 6521 h 10760"/>
                <a:gd name="connsiteX16" fmla="*/ 3945 w 12912"/>
                <a:gd name="connsiteY16" fmla="*/ 6372 h 10760"/>
                <a:gd name="connsiteX17" fmla="*/ 4415 w 12912"/>
                <a:gd name="connsiteY17" fmla="*/ 5984 h 10760"/>
                <a:gd name="connsiteX18" fmla="*/ 4133 w 12912"/>
                <a:gd name="connsiteY18" fmla="*/ 5775 h 10760"/>
                <a:gd name="connsiteX19" fmla="*/ 4696 w 12912"/>
                <a:gd name="connsiteY19" fmla="*/ 5447 h 10760"/>
                <a:gd name="connsiteX20" fmla="*/ 4133 w 12912"/>
                <a:gd name="connsiteY20" fmla="*/ 5447 h 10760"/>
                <a:gd name="connsiteX21" fmla="*/ 4133 w 12912"/>
                <a:gd name="connsiteY21" fmla="*/ 5088 h 10760"/>
                <a:gd name="connsiteX22" fmla="*/ 4321 w 12912"/>
                <a:gd name="connsiteY22" fmla="*/ 4521 h 10760"/>
                <a:gd name="connsiteX23" fmla="*/ 4086 w 12912"/>
                <a:gd name="connsiteY23" fmla="*/ 4044 h 10760"/>
                <a:gd name="connsiteX24" fmla="*/ 4792 w 12912"/>
                <a:gd name="connsiteY24" fmla="*/ 3532 h 10760"/>
                <a:gd name="connsiteX25" fmla="*/ 4394 w 12912"/>
                <a:gd name="connsiteY25" fmla="*/ 3342 h 10760"/>
                <a:gd name="connsiteX26" fmla="*/ 0 w 12912"/>
                <a:gd name="connsiteY26" fmla="*/ 4938 h 10760"/>
                <a:gd name="connsiteX27" fmla="*/ 732 w 12912"/>
                <a:gd name="connsiteY27" fmla="*/ 4660 h 10760"/>
                <a:gd name="connsiteX28" fmla="*/ 1216 w 12912"/>
                <a:gd name="connsiteY28" fmla="*/ 4121 h 10760"/>
                <a:gd name="connsiteX29" fmla="*/ 1607 w 12912"/>
                <a:gd name="connsiteY29" fmla="*/ 3784 h 10760"/>
                <a:gd name="connsiteX30" fmla="*/ 1272 w 12912"/>
                <a:gd name="connsiteY30" fmla="*/ 3358 h 10760"/>
                <a:gd name="connsiteX31" fmla="*/ 1673 w 12912"/>
                <a:gd name="connsiteY31" fmla="*/ 2950 h 10760"/>
                <a:gd name="connsiteX32" fmla="*/ 1345 w 12912"/>
                <a:gd name="connsiteY32" fmla="*/ 2316 h 10760"/>
                <a:gd name="connsiteX33" fmla="*/ 1692 w 12912"/>
                <a:gd name="connsiteY33" fmla="*/ 2820 h 10760"/>
                <a:gd name="connsiteX34" fmla="*/ 1504 w 12912"/>
                <a:gd name="connsiteY34" fmla="*/ 2790 h 10760"/>
                <a:gd name="connsiteX35" fmla="*/ 1862 w 12912"/>
                <a:gd name="connsiteY35" fmla="*/ 1986 h 10760"/>
                <a:gd name="connsiteX36" fmla="*/ 2511 w 12912"/>
                <a:gd name="connsiteY36" fmla="*/ 1999 h 10760"/>
                <a:gd name="connsiteX37" fmla="*/ 3288 w 12912"/>
                <a:gd name="connsiteY37" fmla="*/ 2461 h 10760"/>
                <a:gd name="connsiteX38" fmla="*/ 2212 w 12912"/>
                <a:gd name="connsiteY38" fmla="*/ 2015 h 10760"/>
                <a:gd name="connsiteX39" fmla="*/ 2523 w 12912"/>
                <a:gd name="connsiteY39" fmla="*/ 2021 h 10760"/>
                <a:gd name="connsiteX40" fmla="*/ 2685 w 12912"/>
                <a:gd name="connsiteY40" fmla="*/ 2083 h 10760"/>
                <a:gd name="connsiteX41" fmla="*/ 3160 w 12912"/>
                <a:gd name="connsiteY41" fmla="*/ 2449 h 10760"/>
                <a:gd name="connsiteX42" fmla="*/ 3358 w 12912"/>
                <a:gd name="connsiteY42" fmla="*/ 2178 h 10760"/>
                <a:gd name="connsiteX43" fmla="*/ 3684 w 12912"/>
                <a:gd name="connsiteY43" fmla="*/ 1886 h 10760"/>
                <a:gd name="connsiteX44" fmla="*/ 3809 w 12912"/>
                <a:gd name="connsiteY44" fmla="*/ 1793 h 10760"/>
                <a:gd name="connsiteX45" fmla="*/ 4509 w 12912"/>
                <a:gd name="connsiteY45" fmla="*/ 1805 h 10760"/>
                <a:gd name="connsiteX46" fmla="*/ 4227 w 12912"/>
                <a:gd name="connsiteY46" fmla="*/ 1835 h 10760"/>
                <a:gd name="connsiteX47" fmla="*/ 4039 w 12912"/>
                <a:gd name="connsiteY47" fmla="*/ 1596 h 10760"/>
                <a:gd name="connsiteX48" fmla="*/ 4022 w 12912"/>
                <a:gd name="connsiteY48" fmla="*/ 1359 h 10760"/>
                <a:gd name="connsiteX49" fmla="*/ 4070 w 12912"/>
                <a:gd name="connsiteY49" fmla="*/ 1009 h 10760"/>
                <a:gd name="connsiteX50" fmla="*/ 3804 w 12912"/>
                <a:gd name="connsiteY50" fmla="*/ 1059 h 10760"/>
                <a:gd name="connsiteX51" fmla="*/ 3758 w 12912"/>
                <a:gd name="connsiteY51" fmla="*/ 879 h 10760"/>
                <a:gd name="connsiteX52" fmla="*/ 3873 w 12912"/>
                <a:gd name="connsiteY52" fmla="*/ 580 h 10760"/>
                <a:gd name="connsiteX53" fmla="*/ 3771 w 12912"/>
                <a:gd name="connsiteY53" fmla="*/ 0 h 10760"/>
                <a:gd name="connsiteX54" fmla="*/ 5069 w 12912"/>
                <a:gd name="connsiteY54" fmla="*/ 195 h 10760"/>
                <a:gd name="connsiteX55" fmla="*/ 6105 w 12912"/>
                <a:gd name="connsiteY55" fmla="*/ 1088 h 10760"/>
                <a:gd name="connsiteX56" fmla="*/ 6365 w 12912"/>
                <a:gd name="connsiteY56" fmla="*/ 1091 h 10760"/>
                <a:gd name="connsiteX57" fmla="*/ 6431 w 12912"/>
                <a:gd name="connsiteY57" fmla="*/ 1196 h 10760"/>
                <a:gd name="connsiteX58" fmla="*/ 6647 w 12912"/>
                <a:gd name="connsiteY58" fmla="*/ 1300 h 10760"/>
                <a:gd name="connsiteX59" fmla="*/ 7088 w 12912"/>
                <a:gd name="connsiteY59" fmla="*/ 1256 h 10760"/>
                <a:gd name="connsiteX60" fmla="*/ 7138 w 12912"/>
                <a:gd name="connsiteY60" fmla="*/ 1745 h 10760"/>
                <a:gd name="connsiteX61" fmla="*/ 7419 w 12912"/>
                <a:gd name="connsiteY61" fmla="*/ 1596 h 10760"/>
                <a:gd name="connsiteX62" fmla="*/ 7934 w 12912"/>
                <a:gd name="connsiteY62" fmla="*/ 1755 h 10760"/>
                <a:gd name="connsiteX63" fmla="*/ 8671 w 12912"/>
                <a:gd name="connsiteY63" fmla="*/ 1218 h 10760"/>
                <a:gd name="connsiteX64" fmla="*/ 9095 w 12912"/>
                <a:gd name="connsiteY64" fmla="*/ 983 h 10760"/>
                <a:gd name="connsiteX65" fmla="*/ 10113 w 12912"/>
                <a:gd name="connsiteY65" fmla="*/ 1065 h 10760"/>
                <a:gd name="connsiteX66" fmla="*/ 10490 w 12912"/>
                <a:gd name="connsiteY66" fmla="*/ 1177 h 10760"/>
                <a:gd name="connsiteX67" fmla="*/ 10816 w 12912"/>
                <a:gd name="connsiteY67" fmla="*/ 721 h 10760"/>
                <a:gd name="connsiteX68" fmla="*/ 11098 w 12912"/>
                <a:gd name="connsiteY68" fmla="*/ 1213 h 10760"/>
                <a:gd name="connsiteX69" fmla="*/ 10710 w 12912"/>
                <a:gd name="connsiteY69" fmla="*/ 1544 h 10760"/>
                <a:gd name="connsiteX70" fmla="*/ 11330 w 12912"/>
                <a:gd name="connsiteY70" fmla="*/ 1477 h 10760"/>
                <a:gd name="connsiteX71" fmla="*/ 11908 w 12912"/>
                <a:gd name="connsiteY71" fmla="*/ 1744 h 10760"/>
                <a:gd name="connsiteX72" fmla="*/ 12363 w 12912"/>
                <a:gd name="connsiteY72" fmla="*/ 4405 h 10760"/>
                <a:gd name="connsiteX73" fmla="*/ 12911 w 12912"/>
                <a:gd name="connsiteY73" fmla="*/ 5293 h 10760"/>
                <a:gd name="connsiteX74" fmla="*/ 12499 w 12912"/>
                <a:gd name="connsiteY74" fmla="*/ 5967 h 10760"/>
                <a:gd name="connsiteX75" fmla="*/ 11116 w 12912"/>
                <a:gd name="connsiteY75" fmla="*/ 6232 h 10760"/>
                <a:gd name="connsiteX76" fmla="*/ 9900 w 12912"/>
                <a:gd name="connsiteY76" fmla="*/ 6788 h 10760"/>
                <a:gd name="connsiteX77" fmla="*/ 9263 w 12912"/>
                <a:gd name="connsiteY77" fmla="*/ 6901 h 10760"/>
                <a:gd name="connsiteX78" fmla="*/ 8734 w 12912"/>
                <a:gd name="connsiteY78" fmla="*/ 7088 h 10760"/>
                <a:gd name="connsiteX79" fmla="*/ 9297 w 12912"/>
                <a:gd name="connsiteY79" fmla="*/ 7238 h 10760"/>
                <a:gd name="connsiteX80" fmla="*/ 9767 w 12912"/>
                <a:gd name="connsiteY80" fmla="*/ 7626 h 10760"/>
                <a:gd name="connsiteX81" fmla="*/ 10142 w 12912"/>
                <a:gd name="connsiteY81" fmla="*/ 8372 h 10760"/>
                <a:gd name="connsiteX82" fmla="*/ 10518 w 12912"/>
                <a:gd name="connsiteY82" fmla="*/ 8342 h 10760"/>
                <a:gd name="connsiteX83" fmla="*/ 11504 w 12912"/>
                <a:gd name="connsiteY83" fmla="*/ 9088 h 10760"/>
                <a:gd name="connsiteX84" fmla="*/ 10330 w 12912"/>
                <a:gd name="connsiteY84" fmla="*/ 9894 h 10760"/>
                <a:gd name="connsiteX85" fmla="*/ 10800 w 12912"/>
                <a:gd name="connsiteY85" fmla="*/ 10491 h 10760"/>
                <a:gd name="connsiteX86" fmla="*/ 10612 w 12912"/>
                <a:gd name="connsiteY86" fmla="*/ 10730 h 10760"/>
                <a:gd name="connsiteX87" fmla="*/ 10330 w 12912"/>
                <a:gd name="connsiteY87" fmla="*/ 10491 h 10760"/>
                <a:gd name="connsiteX88" fmla="*/ 8452 w 12912"/>
                <a:gd name="connsiteY88" fmla="*/ 10461 h 10760"/>
                <a:gd name="connsiteX89" fmla="*/ 8124 w 12912"/>
                <a:gd name="connsiteY89" fmla="*/ 10760 h 10760"/>
                <a:gd name="connsiteX90" fmla="*/ 7560 w 12912"/>
                <a:gd name="connsiteY90" fmla="*/ 10730 h 10760"/>
                <a:gd name="connsiteX0" fmla="*/ 7560 w 12912"/>
                <a:gd name="connsiteY0" fmla="*/ 10730 h 10760"/>
                <a:gd name="connsiteX1" fmla="*/ 7654 w 12912"/>
                <a:gd name="connsiteY1" fmla="*/ 9894 h 10760"/>
                <a:gd name="connsiteX2" fmla="*/ 7936 w 12912"/>
                <a:gd name="connsiteY2" fmla="*/ 9088 h 10760"/>
                <a:gd name="connsiteX3" fmla="*/ 7138 w 12912"/>
                <a:gd name="connsiteY3" fmla="*/ 8909 h 10760"/>
                <a:gd name="connsiteX4" fmla="*/ 6903 w 12912"/>
                <a:gd name="connsiteY4" fmla="*/ 8730 h 10760"/>
                <a:gd name="connsiteX5" fmla="*/ 6527 w 12912"/>
                <a:gd name="connsiteY5" fmla="*/ 8820 h 10760"/>
                <a:gd name="connsiteX6" fmla="*/ 6199 w 12912"/>
                <a:gd name="connsiteY6" fmla="*/ 8253 h 10760"/>
                <a:gd name="connsiteX7" fmla="*/ 5635 w 12912"/>
                <a:gd name="connsiteY7" fmla="*/ 7894 h 10760"/>
                <a:gd name="connsiteX8" fmla="*/ 5213 w 12912"/>
                <a:gd name="connsiteY8" fmla="*/ 7924 h 10760"/>
                <a:gd name="connsiteX9" fmla="*/ 5307 w 12912"/>
                <a:gd name="connsiteY9" fmla="*/ 8103 h 10760"/>
                <a:gd name="connsiteX10" fmla="*/ 4837 w 12912"/>
                <a:gd name="connsiteY10" fmla="*/ 8133 h 10760"/>
                <a:gd name="connsiteX11" fmla="*/ 4790 w 12912"/>
                <a:gd name="connsiteY11" fmla="*/ 7447 h 10760"/>
                <a:gd name="connsiteX12" fmla="*/ 4039 w 12912"/>
                <a:gd name="connsiteY12" fmla="*/ 7417 h 10760"/>
                <a:gd name="connsiteX13" fmla="*/ 4133 w 12912"/>
                <a:gd name="connsiteY13" fmla="*/ 7118 h 10760"/>
                <a:gd name="connsiteX14" fmla="*/ 3804 w 12912"/>
                <a:gd name="connsiteY14" fmla="*/ 7029 h 10760"/>
                <a:gd name="connsiteX15" fmla="*/ 3617 w 12912"/>
                <a:gd name="connsiteY15" fmla="*/ 6521 h 10760"/>
                <a:gd name="connsiteX16" fmla="*/ 3945 w 12912"/>
                <a:gd name="connsiteY16" fmla="*/ 6372 h 10760"/>
                <a:gd name="connsiteX17" fmla="*/ 4415 w 12912"/>
                <a:gd name="connsiteY17" fmla="*/ 5984 h 10760"/>
                <a:gd name="connsiteX18" fmla="*/ 4133 w 12912"/>
                <a:gd name="connsiteY18" fmla="*/ 5775 h 10760"/>
                <a:gd name="connsiteX19" fmla="*/ 4696 w 12912"/>
                <a:gd name="connsiteY19" fmla="*/ 5447 h 10760"/>
                <a:gd name="connsiteX20" fmla="*/ 4133 w 12912"/>
                <a:gd name="connsiteY20" fmla="*/ 5447 h 10760"/>
                <a:gd name="connsiteX21" fmla="*/ 4133 w 12912"/>
                <a:gd name="connsiteY21" fmla="*/ 5088 h 10760"/>
                <a:gd name="connsiteX22" fmla="*/ 4321 w 12912"/>
                <a:gd name="connsiteY22" fmla="*/ 4521 h 10760"/>
                <a:gd name="connsiteX23" fmla="*/ 4086 w 12912"/>
                <a:gd name="connsiteY23" fmla="*/ 4044 h 10760"/>
                <a:gd name="connsiteX24" fmla="*/ 4792 w 12912"/>
                <a:gd name="connsiteY24" fmla="*/ 3532 h 10760"/>
                <a:gd name="connsiteX25" fmla="*/ 4394 w 12912"/>
                <a:gd name="connsiteY25" fmla="*/ 3342 h 10760"/>
                <a:gd name="connsiteX26" fmla="*/ 0 w 12912"/>
                <a:gd name="connsiteY26" fmla="*/ 4938 h 10760"/>
                <a:gd name="connsiteX27" fmla="*/ 640 w 12912"/>
                <a:gd name="connsiteY27" fmla="*/ 4692 h 10760"/>
                <a:gd name="connsiteX28" fmla="*/ 1216 w 12912"/>
                <a:gd name="connsiteY28" fmla="*/ 4121 h 10760"/>
                <a:gd name="connsiteX29" fmla="*/ 1607 w 12912"/>
                <a:gd name="connsiteY29" fmla="*/ 3784 h 10760"/>
                <a:gd name="connsiteX30" fmla="*/ 1272 w 12912"/>
                <a:gd name="connsiteY30" fmla="*/ 3358 h 10760"/>
                <a:gd name="connsiteX31" fmla="*/ 1673 w 12912"/>
                <a:gd name="connsiteY31" fmla="*/ 2950 h 10760"/>
                <a:gd name="connsiteX32" fmla="*/ 1345 w 12912"/>
                <a:gd name="connsiteY32" fmla="*/ 2316 h 10760"/>
                <a:gd name="connsiteX33" fmla="*/ 1692 w 12912"/>
                <a:gd name="connsiteY33" fmla="*/ 2820 h 10760"/>
                <a:gd name="connsiteX34" fmla="*/ 1504 w 12912"/>
                <a:gd name="connsiteY34" fmla="*/ 2790 h 10760"/>
                <a:gd name="connsiteX35" fmla="*/ 1862 w 12912"/>
                <a:gd name="connsiteY35" fmla="*/ 1986 h 10760"/>
                <a:gd name="connsiteX36" fmla="*/ 2511 w 12912"/>
                <a:gd name="connsiteY36" fmla="*/ 1999 h 10760"/>
                <a:gd name="connsiteX37" fmla="*/ 3288 w 12912"/>
                <a:gd name="connsiteY37" fmla="*/ 2461 h 10760"/>
                <a:gd name="connsiteX38" fmla="*/ 2212 w 12912"/>
                <a:gd name="connsiteY38" fmla="*/ 2015 h 10760"/>
                <a:gd name="connsiteX39" fmla="*/ 2523 w 12912"/>
                <a:gd name="connsiteY39" fmla="*/ 2021 h 10760"/>
                <a:gd name="connsiteX40" fmla="*/ 2685 w 12912"/>
                <a:gd name="connsiteY40" fmla="*/ 2083 h 10760"/>
                <a:gd name="connsiteX41" fmla="*/ 3160 w 12912"/>
                <a:gd name="connsiteY41" fmla="*/ 2449 h 10760"/>
                <a:gd name="connsiteX42" fmla="*/ 3358 w 12912"/>
                <a:gd name="connsiteY42" fmla="*/ 2178 h 10760"/>
                <a:gd name="connsiteX43" fmla="*/ 3684 w 12912"/>
                <a:gd name="connsiteY43" fmla="*/ 1886 h 10760"/>
                <a:gd name="connsiteX44" fmla="*/ 3809 w 12912"/>
                <a:gd name="connsiteY44" fmla="*/ 1793 h 10760"/>
                <a:gd name="connsiteX45" fmla="*/ 4509 w 12912"/>
                <a:gd name="connsiteY45" fmla="*/ 1805 h 10760"/>
                <a:gd name="connsiteX46" fmla="*/ 4227 w 12912"/>
                <a:gd name="connsiteY46" fmla="*/ 1835 h 10760"/>
                <a:gd name="connsiteX47" fmla="*/ 4039 w 12912"/>
                <a:gd name="connsiteY47" fmla="*/ 1596 h 10760"/>
                <a:gd name="connsiteX48" fmla="*/ 4022 w 12912"/>
                <a:gd name="connsiteY48" fmla="*/ 1359 h 10760"/>
                <a:gd name="connsiteX49" fmla="*/ 4070 w 12912"/>
                <a:gd name="connsiteY49" fmla="*/ 1009 h 10760"/>
                <a:gd name="connsiteX50" fmla="*/ 3804 w 12912"/>
                <a:gd name="connsiteY50" fmla="*/ 1059 h 10760"/>
                <a:gd name="connsiteX51" fmla="*/ 3758 w 12912"/>
                <a:gd name="connsiteY51" fmla="*/ 879 h 10760"/>
                <a:gd name="connsiteX52" fmla="*/ 3873 w 12912"/>
                <a:gd name="connsiteY52" fmla="*/ 580 h 10760"/>
                <a:gd name="connsiteX53" fmla="*/ 3771 w 12912"/>
                <a:gd name="connsiteY53" fmla="*/ 0 h 10760"/>
                <a:gd name="connsiteX54" fmla="*/ 5069 w 12912"/>
                <a:gd name="connsiteY54" fmla="*/ 195 h 10760"/>
                <a:gd name="connsiteX55" fmla="*/ 6105 w 12912"/>
                <a:gd name="connsiteY55" fmla="*/ 1088 h 10760"/>
                <a:gd name="connsiteX56" fmla="*/ 6365 w 12912"/>
                <a:gd name="connsiteY56" fmla="*/ 1091 h 10760"/>
                <a:gd name="connsiteX57" fmla="*/ 6431 w 12912"/>
                <a:gd name="connsiteY57" fmla="*/ 1196 h 10760"/>
                <a:gd name="connsiteX58" fmla="*/ 6647 w 12912"/>
                <a:gd name="connsiteY58" fmla="*/ 1300 h 10760"/>
                <a:gd name="connsiteX59" fmla="*/ 7088 w 12912"/>
                <a:gd name="connsiteY59" fmla="*/ 1256 h 10760"/>
                <a:gd name="connsiteX60" fmla="*/ 7138 w 12912"/>
                <a:gd name="connsiteY60" fmla="*/ 1745 h 10760"/>
                <a:gd name="connsiteX61" fmla="*/ 7419 w 12912"/>
                <a:gd name="connsiteY61" fmla="*/ 1596 h 10760"/>
                <a:gd name="connsiteX62" fmla="*/ 7934 w 12912"/>
                <a:gd name="connsiteY62" fmla="*/ 1755 h 10760"/>
                <a:gd name="connsiteX63" fmla="*/ 8671 w 12912"/>
                <a:gd name="connsiteY63" fmla="*/ 1218 h 10760"/>
                <a:gd name="connsiteX64" fmla="*/ 9095 w 12912"/>
                <a:gd name="connsiteY64" fmla="*/ 983 h 10760"/>
                <a:gd name="connsiteX65" fmla="*/ 10113 w 12912"/>
                <a:gd name="connsiteY65" fmla="*/ 1065 h 10760"/>
                <a:gd name="connsiteX66" fmla="*/ 10490 w 12912"/>
                <a:gd name="connsiteY66" fmla="*/ 1177 h 10760"/>
                <a:gd name="connsiteX67" fmla="*/ 10816 w 12912"/>
                <a:gd name="connsiteY67" fmla="*/ 721 h 10760"/>
                <a:gd name="connsiteX68" fmla="*/ 11098 w 12912"/>
                <a:gd name="connsiteY68" fmla="*/ 1213 h 10760"/>
                <a:gd name="connsiteX69" fmla="*/ 10710 w 12912"/>
                <a:gd name="connsiteY69" fmla="*/ 1544 h 10760"/>
                <a:gd name="connsiteX70" fmla="*/ 11330 w 12912"/>
                <a:gd name="connsiteY70" fmla="*/ 1477 h 10760"/>
                <a:gd name="connsiteX71" fmla="*/ 11908 w 12912"/>
                <a:gd name="connsiteY71" fmla="*/ 1744 h 10760"/>
                <a:gd name="connsiteX72" fmla="*/ 12363 w 12912"/>
                <a:gd name="connsiteY72" fmla="*/ 4405 h 10760"/>
                <a:gd name="connsiteX73" fmla="*/ 12911 w 12912"/>
                <a:gd name="connsiteY73" fmla="*/ 5293 h 10760"/>
                <a:gd name="connsiteX74" fmla="*/ 12499 w 12912"/>
                <a:gd name="connsiteY74" fmla="*/ 5967 h 10760"/>
                <a:gd name="connsiteX75" fmla="*/ 11116 w 12912"/>
                <a:gd name="connsiteY75" fmla="*/ 6232 h 10760"/>
                <a:gd name="connsiteX76" fmla="*/ 9900 w 12912"/>
                <a:gd name="connsiteY76" fmla="*/ 6788 h 10760"/>
                <a:gd name="connsiteX77" fmla="*/ 9263 w 12912"/>
                <a:gd name="connsiteY77" fmla="*/ 6901 h 10760"/>
                <a:gd name="connsiteX78" fmla="*/ 8734 w 12912"/>
                <a:gd name="connsiteY78" fmla="*/ 7088 h 10760"/>
                <a:gd name="connsiteX79" fmla="*/ 9297 w 12912"/>
                <a:gd name="connsiteY79" fmla="*/ 7238 h 10760"/>
                <a:gd name="connsiteX80" fmla="*/ 9767 w 12912"/>
                <a:gd name="connsiteY80" fmla="*/ 7626 h 10760"/>
                <a:gd name="connsiteX81" fmla="*/ 10142 w 12912"/>
                <a:gd name="connsiteY81" fmla="*/ 8372 h 10760"/>
                <a:gd name="connsiteX82" fmla="*/ 10518 w 12912"/>
                <a:gd name="connsiteY82" fmla="*/ 8342 h 10760"/>
                <a:gd name="connsiteX83" fmla="*/ 11504 w 12912"/>
                <a:gd name="connsiteY83" fmla="*/ 9088 h 10760"/>
                <a:gd name="connsiteX84" fmla="*/ 10330 w 12912"/>
                <a:gd name="connsiteY84" fmla="*/ 9894 h 10760"/>
                <a:gd name="connsiteX85" fmla="*/ 10800 w 12912"/>
                <a:gd name="connsiteY85" fmla="*/ 10491 h 10760"/>
                <a:gd name="connsiteX86" fmla="*/ 10612 w 12912"/>
                <a:gd name="connsiteY86" fmla="*/ 10730 h 10760"/>
                <a:gd name="connsiteX87" fmla="*/ 10330 w 12912"/>
                <a:gd name="connsiteY87" fmla="*/ 10491 h 10760"/>
                <a:gd name="connsiteX88" fmla="*/ 8452 w 12912"/>
                <a:gd name="connsiteY88" fmla="*/ 10461 h 10760"/>
                <a:gd name="connsiteX89" fmla="*/ 8124 w 12912"/>
                <a:gd name="connsiteY89" fmla="*/ 10760 h 10760"/>
                <a:gd name="connsiteX90" fmla="*/ 7560 w 12912"/>
                <a:gd name="connsiteY90" fmla="*/ 10730 h 10760"/>
                <a:gd name="connsiteX0" fmla="*/ 7560 w 12912"/>
                <a:gd name="connsiteY0" fmla="*/ 10730 h 10760"/>
                <a:gd name="connsiteX1" fmla="*/ 7654 w 12912"/>
                <a:gd name="connsiteY1" fmla="*/ 9894 h 10760"/>
                <a:gd name="connsiteX2" fmla="*/ 7936 w 12912"/>
                <a:gd name="connsiteY2" fmla="*/ 9088 h 10760"/>
                <a:gd name="connsiteX3" fmla="*/ 7138 w 12912"/>
                <a:gd name="connsiteY3" fmla="*/ 8909 h 10760"/>
                <a:gd name="connsiteX4" fmla="*/ 6903 w 12912"/>
                <a:gd name="connsiteY4" fmla="*/ 8730 h 10760"/>
                <a:gd name="connsiteX5" fmla="*/ 6527 w 12912"/>
                <a:gd name="connsiteY5" fmla="*/ 8820 h 10760"/>
                <a:gd name="connsiteX6" fmla="*/ 6199 w 12912"/>
                <a:gd name="connsiteY6" fmla="*/ 8253 h 10760"/>
                <a:gd name="connsiteX7" fmla="*/ 5635 w 12912"/>
                <a:gd name="connsiteY7" fmla="*/ 7894 h 10760"/>
                <a:gd name="connsiteX8" fmla="*/ 5213 w 12912"/>
                <a:gd name="connsiteY8" fmla="*/ 7924 h 10760"/>
                <a:gd name="connsiteX9" fmla="*/ 5307 w 12912"/>
                <a:gd name="connsiteY9" fmla="*/ 8103 h 10760"/>
                <a:gd name="connsiteX10" fmla="*/ 4837 w 12912"/>
                <a:gd name="connsiteY10" fmla="*/ 8133 h 10760"/>
                <a:gd name="connsiteX11" fmla="*/ 4790 w 12912"/>
                <a:gd name="connsiteY11" fmla="*/ 7447 h 10760"/>
                <a:gd name="connsiteX12" fmla="*/ 4039 w 12912"/>
                <a:gd name="connsiteY12" fmla="*/ 7417 h 10760"/>
                <a:gd name="connsiteX13" fmla="*/ 4133 w 12912"/>
                <a:gd name="connsiteY13" fmla="*/ 7118 h 10760"/>
                <a:gd name="connsiteX14" fmla="*/ 3804 w 12912"/>
                <a:gd name="connsiteY14" fmla="*/ 7029 h 10760"/>
                <a:gd name="connsiteX15" fmla="*/ 3617 w 12912"/>
                <a:gd name="connsiteY15" fmla="*/ 6521 h 10760"/>
                <a:gd name="connsiteX16" fmla="*/ 3945 w 12912"/>
                <a:gd name="connsiteY16" fmla="*/ 6372 h 10760"/>
                <a:gd name="connsiteX17" fmla="*/ 4415 w 12912"/>
                <a:gd name="connsiteY17" fmla="*/ 5984 h 10760"/>
                <a:gd name="connsiteX18" fmla="*/ 4133 w 12912"/>
                <a:gd name="connsiteY18" fmla="*/ 5775 h 10760"/>
                <a:gd name="connsiteX19" fmla="*/ 4696 w 12912"/>
                <a:gd name="connsiteY19" fmla="*/ 5447 h 10760"/>
                <a:gd name="connsiteX20" fmla="*/ 4133 w 12912"/>
                <a:gd name="connsiteY20" fmla="*/ 5447 h 10760"/>
                <a:gd name="connsiteX21" fmla="*/ 4133 w 12912"/>
                <a:gd name="connsiteY21" fmla="*/ 5088 h 10760"/>
                <a:gd name="connsiteX22" fmla="*/ 4321 w 12912"/>
                <a:gd name="connsiteY22" fmla="*/ 4521 h 10760"/>
                <a:gd name="connsiteX23" fmla="*/ 4086 w 12912"/>
                <a:gd name="connsiteY23" fmla="*/ 4044 h 10760"/>
                <a:gd name="connsiteX24" fmla="*/ 4792 w 12912"/>
                <a:gd name="connsiteY24" fmla="*/ 3532 h 10760"/>
                <a:gd name="connsiteX25" fmla="*/ 882 w 12912"/>
                <a:gd name="connsiteY25" fmla="*/ 6342 h 10760"/>
                <a:gd name="connsiteX26" fmla="*/ 0 w 12912"/>
                <a:gd name="connsiteY26" fmla="*/ 4938 h 10760"/>
                <a:gd name="connsiteX27" fmla="*/ 640 w 12912"/>
                <a:gd name="connsiteY27" fmla="*/ 4692 h 10760"/>
                <a:gd name="connsiteX28" fmla="*/ 1216 w 12912"/>
                <a:gd name="connsiteY28" fmla="*/ 4121 h 10760"/>
                <a:gd name="connsiteX29" fmla="*/ 1607 w 12912"/>
                <a:gd name="connsiteY29" fmla="*/ 3784 h 10760"/>
                <a:gd name="connsiteX30" fmla="*/ 1272 w 12912"/>
                <a:gd name="connsiteY30" fmla="*/ 3358 h 10760"/>
                <a:gd name="connsiteX31" fmla="*/ 1673 w 12912"/>
                <a:gd name="connsiteY31" fmla="*/ 2950 h 10760"/>
                <a:gd name="connsiteX32" fmla="*/ 1345 w 12912"/>
                <a:gd name="connsiteY32" fmla="*/ 2316 h 10760"/>
                <a:gd name="connsiteX33" fmla="*/ 1692 w 12912"/>
                <a:gd name="connsiteY33" fmla="*/ 2820 h 10760"/>
                <a:gd name="connsiteX34" fmla="*/ 1504 w 12912"/>
                <a:gd name="connsiteY34" fmla="*/ 2790 h 10760"/>
                <a:gd name="connsiteX35" fmla="*/ 1862 w 12912"/>
                <a:gd name="connsiteY35" fmla="*/ 1986 h 10760"/>
                <a:gd name="connsiteX36" fmla="*/ 2511 w 12912"/>
                <a:gd name="connsiteY36" fmla="*/ 1999 h 10760"/>
                <a:gd name="connsiteX37" fmla="*/ 3288 w 12912"/>
                <a:gd name="connsiteY37" fmla="*/ 2461 h 10760"/>
                <a:gd name="connsiteX38" fmla="*/ 2212 w 12912"/>
                <a:gd name="connsiteY38" fmla="*/ 2015 h 10760"/>
                <a:gd name="connsiteX39" fmla="*/ 2523 w 12912"/>
                <a:gd name="connsiteY39" fmla="*/ 2021 h 10760"/>
                <a:gd name="connsiteX40" fmla="*/ 2685 w 12912"/>
                <a:gd name="connsiteY40" fmla="*/ 2083 h 10760"/>
                <a:gd name="connsiteX41" fmla="*/ 3160 w 12912"/>
                <a:gd name="connsiteY41" fmla="*/ 2449 h 10760"/>
                <a:gd name="connsiteX42" fmla="*/ 3358 w 12912"/>
                <a:gd name="connsiteY42" fmla="*/ 2178 h 10760"/>
                <a:gd name="connsiteX43" fmla="*/ 3684 w 12912"/>
                <a:gd name="connsiteY43" fmla="*/ 1886 h 10760"/>
                <a:gd name="connsiteX44" fmla="*/ 3809 w 12912"/>
                <a:gd name="connsiteY44" fmla="*/ 1793 h 10760"/>
                <a:gd name="connsiteX45" fmla="*/ 4509 w 12912"/>
                <a:gd name="connsiteY45" fmla="*/ 1805 h 10760"/>
                <a:gd name="connsiteX46" fmla="*/ 4227 w 12912"/>
                <a:gd name="connsiteY46" fmla="*/ 1835 h 10760"/>
                <a:gd name="connsiteX47" fmla="*/ 4039 w 12912"/>
                <a:gd name="connsiteY47" fmla="*/ 1596 h 10760"/>
                <a:gd name="connsiteX48" fmla="*/ 4022 w 12912"/>
                <a:gd name="connsiteY48" fmla="*/ 1359 h 10760"/>
                <a:gd name="connsiteX49" fmla="*/ 4070 w 12912"/>
                <a:gd name="connsiteY49" fmla="*/ 1009 h 10760"/>
                <a:gd name="connsiteX50" fmla="*/ 3804 w 12912"/>
                <a:gd name="connsiteY50" fmla="*/ 1059 h 10760"/>
                <a:gd name="connsiteX51" fmla="*/ 3758 w 12912"/>
                <a:gd name="connsiteY51" fmla="*/ 879 h 10760"/>
                <a:gd name="connsiteX52" fmla="*/ 3873 w 12912"/>
                <a:gd name="connsiteY52" fmla="*/ 580 h 10760"/>
                <a:gd name="connsiteX53" fmla="*/ 3771 w 12912"/>
                <a:gd name="connsiteY53" fmla="*/ 0 h 10760"/>
                <a:gd name="connsiteX54" fmla="*/ 5069 w 12912"/>
                <a:gd name="connsiteY54" fmla="*/ 195 h 10760"/>
                <a:gd name="connsiteX55" fmla="*/ 6105 w 12912"/>
                <a:gd name="connsiteY55" fmla="*/ 1088 h 10760"/>
                <a:gd name="connsiteX56" fmla="*/ 6365 w 12912"/>
                <a:gd name="connsiteY56" fmla="*/ 1091 h 10760"/>
                <a:gd name="connsiteX57" fmla="*/ 6431 w 12912"/>
                <a:gd name="connsiteY57" fmla="*/ 1196 h 10760"/>
                <a:gd name="connsiteX58" fmla="*/ 6647 w 12912"/>
                <a:gd name="connsiteY58" fmla="*/ 1300 h 10760"/>
                <a:gd name="connsiteX59" fmla="*/ 7088 w 12912"/>
                <a:gd name="connsiteY59" fmla="*/ 1256 h 10760"/>
                <a:gd name="connsiteX60" fmla="*/ 7138 w 12912"/>
                <a:gd name="connsiteY60" fmla="*/ 1745 h 10760"/>
                <a:gd name="connsiteX61" fmla="*/ 7419 w 12912"/>
                <a:gd name="connsiteY61" fmla="*/ 1596 h 10760"/>
                <a:gd name="connsiteX62" fmla="*/ 7934 w 12912"/>
                <a:gd name="connsiteY62" fmla="*/ 1755 h 10760"/>
                <a:gd name="connsiteX63" fmla="*/ 8671 w 12912"/>
                <a:gd name="connsiteY63" fmla="*/ 1218 h 10760"/>
                <a:gd name="connsiteX64" fmla="*/ 9095 w 12912"/>
                <a:gd name="connsiteY64" fmla="*/ 983 h 10760"/>
                <a:gd name="connsiteX65" fmla="*/ 10113 w 12912"/>
                <a:gd name="connsiteY65" fmla="*/ 1065 h 10760"/>
                <a:gd name="connsiteX66" fmla="*/ 10490 w 12912"/>
                <a:gd name="connsiteY66" fmla="*/ 1177 h 10760"/>
                <a:gd name="connsiteX67" fmla="*/ 10816 w 12912"/>
                <a:gd name="connsiteY67" fmla="*/ 721 h 10760"/>
                <a:gd name="connsiteX68" fmla="*/ 11098 w 12912"/>
                <a:gd name="connsiteY68" fmla="*/ 1213 h 10760"/>
                <a:gd name="connsiteX69" fmla="*/ 10710 w 12912"/>
                <a:gd name="connsiteY69" fmla="*/ 1544 h 10760"/>
                <a:gd name="connsiteX70" fmla="*/ 11330 w 12912"/>
                <a:gd name="connsiteY70" fmla="*/ 1477 h 10760"/>
                <a:gd name="connsiteX71" fmla="*/ 11908 w 12912"/>
                <a:gd name="connsiteY71" fmla="*/ 1744 h 10760"/>
                <a:gd name="connsiteX72" fmla="*/ 12363 w 12912"/>
                <a:gd name="connsiteY72" fmla="*/ 4405 h 10760"/>
                <a:gd name="connsiteX73" fmla="*/ 12911 w 12912"/>
                <a:gd name="connsiteY73" fmla="*/ 5293 h 10760"/>
                <a:gd name="connsiteX74" fmla="*/ 12499 w 12912"/>
                <a:gd name="connsiteY74" fmla="*/ 5967 h 10760"/>
                <a:gd name="connsiteX75" fmla="*/ 11116 w 12912"/>
                <a:gd name="connsiteY75" fmla="*/ 6232 h 10760"/>
                <a:gd name="connsiteX76" fmla="*/ 9900 w 12912"/>
                <a:gd name="connsiteY76" fmla="*/ 6788 h 10760"/>
                <a:gd name="connsiteX77" fmla="*/ 9263 w 12912"/>
                <a:gd name="connsiteY77" fmla="*/ 6901 h 10760"/>
                <a:gd name="connsiteX78" fmla="*/ 8734 w 12912"/>
                <a:gd name="connsiteY78" fmla="*/ 7088 h 10760"/>
                <a:gd name="connsiteX79" fmla="*/ 9297 w 12912"/>
                <a:gd name="connsiteY79" fmla="*/ 7238 h 10760"/>
                <a:gd name="connsiteX80" fmla="*/ 9767 w 12912"/>
                <a:gd name="connsiteY80" fmla="*/ 7626 h 10760"/>
                <a:gd name="connsiteX81" fmla="*/ 10142 w 12912"/>
                <a:gd name="connsiteY81" fmla="*/ 8372 h 10760"/>
                <a:gd name="connsiteX82" fmla="*/ 10518 w 12912"/>
                <a:gd name="connsiteY82" fmla="*/ 8342 h 10760"/>
                <a:gd name="connsiteX83" fmla="*/ 11504 w 12912"/>
                <a:gd name="connsiteY83" fmla="*/ 9088 h 10760"/>
                <a:gd name="connsiteX84" fmla="*/ 10330 w 12912"/>
                <a:gd name="connsiteY84" fmla="*/ 9894 h 10760"/>
                <a:gd name="connsiteX85" fmla="*/ 10800 w 12912"/>
                <a:gd name="connsiteY85" fmla="*/ 10491 h 10760"/>
                <a:gd name="connsiteX86" fmla="*/ 10612 w 12912"/>
                <a:gd name="connsiteY86" fmla="*/ 10730 h 10760"/>
                <a:gd name="connsiteX87" fmla="*/ 10330 w 12912"/>
                <a:gd name="connsiteY87" fmla="*/ 10491 h 10760"/>
                <a:gd name="connsiteX88" fmla="*/ 8452 w 12912"/>
                <a:gd name="connsiteY88" fmla="*/ 10461 h 10760"/>
                <a:gd name="connsiteX89" fmla="*/ 8124 w 12912"/>
                <a:gd name="connsiteY89" fmla="*/ 10760 h 10760"/>
                <a:gd name="connsiteX90" fmla="*/ 7560 w 12912"/>
                <a:gd name="connsiteY90" fmla="*/ 10730 h 10760"/>
                <a:gd name="connsiteX0" fmla="*/ 7560 w 12912"/>
                <a:gd name="connsiteY0" fmla="*/ 10730 h 10760"/>
                <a:gd name="connsiteX1" fmla="*/ 7654 w 12912"/>
                <a:gd name="connsiteY1" fmla="*/ 9894 h 10760"/>
                <a:gd name="connsiteX2" fmla="*/ 7936 w 12912"/>
                <a:gd name="connsiteY2" fmla="*/ 9088 h 10760"/>
                <a:gd name="connsiteX3" fmla="*/ 7138 w 12912"/>
                <a:gd name="connsiteY3" fmla="*/ 8909 h 10760"/>
                <a:gd name="connsiteX4" fmla="*/ 6903 w 12912"/>
                <a:gd name="connsiteY4" fmla="*/ 8730 h 10760"/>
                <a:gd name="connsiteX5" fmla="*/ 6527 w 12912"/>
                <a:gd name="connsiteY5" fmla="*/ 8820 h 10760"/>
                <a:gd name="connsiteX6" fmla="*/ 6199 w 12912"/>
                <a:gd name="connsiteY6" fmla="*/ 8253 h 10760"/>
                <a:gd name="connsiteX7" fmla="*/ 5635 w 12912"/>
                <a:gd name="connsiteY7" fmla="*/ 7894 h 10760"/>
                <a:gd name="connsiteX8" fmla="*/ 5213 w 12912"/>
                <a:gd name="connsiteY8" fmla="*/ 7924 h 10760"/>
                <a:gd name="connsiteX9" fmla="*/ 5307 w 12912"/>
                <a:gd name="connsiteY9" fmla="*/ 8103 h 10760"/>
                <a:gd name="connsiteX10" fmla="*/ 4837 w 12912"/>
                <a:gd name="connsiteY10" fmla="*/ 8133 h 10760"/>
                <a:gd name="connsiteX11" fmla="*/ 4790 w 12912"/>
                <a:gd name="connsiteY11" fmla="*/ 7447 h 10760"/>
                <a:gd name="connsiteX12" fmla="*/ 4039 w 12912"/>
                <a:gd name="connsiteY12" fmla="*/ 7417 h 10760"/>
                <a:gd name="connsiteX13" fmla="*/ 4133 w 12912"/>
                <a:gd name="connsiteY13" fmla="*/ 7118 h 10760"/>
                <a:gd name="connsiteX14" fmla="*/ 3804 w 12912"/>
                <a:gd name="connsiteY14" fmla="*/ 7029 h 10760"/>
                <a:gd name="connsiteX15" fmla="*/ 3617 w 12912"/>
                <a:gd name="connsiteY15" fmla="*/ 6521 h 10760"/>
                <a:gd name="connsiteX16" fmla="*/ 3945 w 12912"/>
                <a:gd name="connsiteY16" fmla="*/ 6372 h 10760"/>
                <a:gd name="connsiteX17" fmla="*/ 4415 w 12912"/>
                <a:gd name="connsiteY17" fmla="*/ 5984 h 10760"/>
                <a:gd name="connsiteX18" fmla="*/ 4133 w 12912"/>
                <a:gd name="connsiteY18" fmla="*/ 5775 h 10760"/>
                <a:gd name="connsiteX19" fmla="*/ 4696 w 12912"/>
                <a:gd name="connsiteY19" fmla="*/ 5447 h 10760"/>
                <a:gd name="connsiteX20" fmla="*/ 4133 w 12912"/>
                <a:gd name="connsiteY20" fmla="*/ 5447 h 10760"/>
                <a:gd name="connsiteX21" fmla="*/ 4133 w 12912"/>
                <a:gd name="connsiteY21" fmla="*/ 5088 h 10760"/>
                <a:gd name="connsiteX22" fmla="*/ 4321 w 12912"/>
                <a:gd name="connsiteY22" fmla="*/ 4521 h 10760"/>
                <a:gd name="connsiteX23" fmla="*/ 4086 w 12912"/>
                <a:gd name="connsiteY23" fmla="*/ 4044 h 10760"/>
                <a:gd name="connsiteX24" fmla="*/ 4792 w 12912"/>
                <a:gd name="connsiteY24" fmla="*/ 3532 h 10760"/>
                <a:gd name="connsiteX25" fmla="*/ 882 w 12912"/>
                <a:gd name="connsiteY25" fmla="*/ 6342 h 10760"/>
                <a:gd name="connsiteX26" fmla="*/ 527 w 12912"/>
                <a:gd name="connsiteY26" fmla="*/ 5374 h 10760"/>
                <a:gd name="connsiteX27" fmla="*/ 0 w 12912"/>
                <a:gd name="connsiteY27" fmla="*/ 4938 h 10760"/>
                <a:gd name="connsiteX28" fmla="*/ 640 w 12912"/>
                <a:gd name="connsiteY28" fmla="*/ 4692 h 10760"/>
                <a:gd name="connsiteX29" fmla="*/ 1216 w 12912"/>
                <a:gd name="connsiteY29" fmla="*/ 4121 h 10760"/>
                <a:gd name="connsiteX30" fmla="*/ 1607 w 12912"/>
                <a:gd name="connsiteY30" fmla="*/ 3784 h 10760"/>
                <a:gd name="connsiteX31" fmla="*/ 1272 w 12912"/>
                <a:gd name="connsiteY31" fmla="*/ 3358 h 10760"/>
                <a:gd name="connsiteX32" fmla="*/ 1673 w 12912"/>
                <a:gd name="connsiteY32" fmla="*/ 2950 h 10760"/>
                <a:gd name="connsiteX33" fmla="*/ 1345 w 12912"/>
                <a:gd name="connsiteY33" fmla="*/ 2316 h 10760"/>
                <a:gd name="connsiteX34" fmla="*/ 1692 w 12912"/>
                <a:gd name="connsiteY34" fmla="*/ 2820 h 10760"/>
                <a:gd name="connsiteX35" fmla="*/ 1504 w 12912"/>
                <a:gd name="connsiteY35" fmla="*/ 2790 h 10760"/>
                <a:gd name="connsiteX36" fmla="*/ 1862 w 12912"/>
                <a:gd name="connsiteY36" fmla="*/ 1986 h 10760"/>
                <a:gd name="connsiteX37" fmla="*/ 2511 w 12912"/>
                <a:gd name="connsiteY37" fmla="*/ 1999 h 10760"/>
                <a:gd name="connsiteX38" fmla="*/ 3288 w 12912"/>
                <a:gd name="connsiteY38" fmla="*/ 2461 h 10760"/>
                <a:gd name="connsiteX39" fmla="*/ 2212 w 12912"/>
                <a:gd name="connsiteY39" fmla="*/ 2015 h 10760"/>
                <a:gd name="connsiteX40" fmla="*/ 2523 w 12912"/>
                <a:gd name="connsiteY40" fmla="*/ 2021 h 10760"/>
                <a:gd name="connsiteX41" fmla="*/ 2685 w 12912"/>
                <a:gd name="connsiteY41" fmla="*/ 2083 h 10760"/>
                <a:gd name="connsiteX42" fmla="*/ 3160 w 12912"/>
                <a:gd name="connsiteY42" fmla="*/ 2449 h 10760"/>
                <a:gd name="connsiteX43" fmla="*/ 3358 w 12912"/>
                <a:gd name="connsiteY43" fmla="*/ 2178 h 10760"/>
                <a:gd name="connsiteX44" fmla="*/ 3684 w 12912"/>
                <a:gd name="connsiteY44" fmla="*/ 1886 h 10760"/>
                <a:gd name="connsiteX45" fmla="*/ 3809 w 12912"/>
                <a:gd name="connsiteY45" fmla="*/ 1793 h 10760"/>
                <a:gd name="connsiteX46" fmla="*/ 4509 w 12912"/>
                <a:gd name="connsiteY46" fmla="*/ 1805 h 10760"/>
                <a:gd name="connsiteX47" fmla="*/ 4227 w 12912"/>
                <a:gd name="connsiteY47" fmla="*/ 1835 h 10760"/>
                <a:gd name="connsiteX48" fmla="*/ 4039 w 12912"/>
                <a:gd name="connsiteY48" fmla="*/ 1596 h 10760"/>
                <a:gd name="connsiteX49" fmla="*/ 4022 w 12912"/>
                <a:gd name="connsiteY49" fmla="*/ 1359 h 10760"/>
                <a:gd name="connsiteX50" fmla="*/ 4070 w 12912"/>
                <a:gd name="connsiteY50" fmla="*/ 1009 h 10760"/>
                <a:gd name="connsiteX51" fmla="*/ 3804 w 12912"/>
                <a:gd name="connsiteY51" fmla="*/ 1059 h 10760"/>
                <a:gd name="connsiteX52" fmla="*/ 3758 w 12912"/>
                <a:gd name="connsiteY52" fmla="*/ 879 h 10760"/>
                <a:gd name="connsiteX53" fmla="*/ 3873 w 12912"/>
                <a:gd name="connsiteY53" fmla="*/ 580 h 10760"/>
                <a:gd name="connsiteX54" fmla="*/ 3771 w 12912"/>
                <a:gd name="connsiteY54" fmla="*/ 0 h 10760"/>
                <a:gd name="connsiteX55" fmla="*/ 5069 w 12912"/>
                <a:gd name="connsiteY55" fmla="*/ 195 h 10760"/>
                <a:gd name="connsiteX56" fmla="*/ 6105 w 12912"/>
                <a:gd name="connsiteY56" fmla="*/ 1088 h 10760"/>
                <a:gd name="connsiteX57" fmla="*/ 6365 w 12912"/>
                <a:gd name="connsiteY57" fmla="*/ 1091 h 10760"/>
                <a:gd name="connsiteX58" fmla="*/ 6431 w 12912"/>
                <a:gd name="connsiteY58" fmla="*/ 1196 h 10760"/>
                <a:gd name="connsiteX59" fmla="*/ 6647 w 12912"/>
                <a:gd name="connsiteY59" fmla="*/ 1300 h 10760"/>
                <a:gd name="connsiteX60" fmla="*/ 7088 w 12912"/>
                <a:gd name="connsiteY60" fmla="*/ 1256 h 10760"/>
                <a:gd name="connsiteX61" fmla="*/ 7138 w 12912"/>
                <a:gd name="connsiteY61" fmla="*/ 1745 h 10760"/>
                <a:gd name="connsiteX62" fmla="*/ 7419 w 12912"/>
                <a:gd name="connsiteY62" fmla="*/ 1596 h 10760"/>
                <a:gd name="connsiteX63" fmla="*/ 7934 w 12912"/>
                <a:gd name="connsiteY63" fmla="*/ 1755 h 10760"/>
                <a:gd name="connsiteX64" fmla="*/ 8671 w 12912"/>
                <a:gd name="connsiteY64" fmla="*/ 1218 h 10760"/>
                <a:gd name="connsiteX65" fmla="*/ 9095 w 12912"/>
                <a:gd name="connsiteY65" fmla="*/ 983 h 10760"/>
                <a:gd name="connsiteX66" fmla="*/ 10113 w 12912"/>
                <a:gd name="connsiteY66" fmla="*/ 1065 h 10760"/>
                <a:gd name="connsiteX67" fmla="*/ 10490 w 12912"/>
                <a:gd name="connsiteY67" fmla="*/ 1177 h 10760"/>
                <a:gd name="connsiteX68" fmla="*/ 10816 w 12912"/>
                <a:gd name="connsiteY68" fmla="*/ 721 h 10760"/>
                <a:gd name="connsiteX69" fmla="*/ 11098 w 12912"/>
                <a:gd name="connsiteY69" fmla="*/ 1213 h 10760"/>
                <a:gd name="connsiteX70" fmla="*/ 10710 w 12912"/>
                <a:gd name="connsiteY70" fmla="*/ 1544 h 10760"/>
                <a:gd name="connsiteX71" fmla="*/ 11330 w 12912"/>
                <a:gd name="connsiteY71" fmla="*/ 1477 h 10760"/>
                <a:gd name="connsiteX72" fmla="*/ 11908 w 12912"/>
                <a:gd name="connsiteY72" fmla="*/ 1744 h 10760"/>
                <a:gd name="connsiteX73" fmla="*/ 12363 w 12912"/>
                <a:gd name="connsiteY73" fmla="*/ 4405 h 10760"/>
                <a:gd name="connsiteX74" fmla="*/ 12911 w 12912"/>
                <a:gd name="connsiteY74" fmla="*/ 5293 h 10760"/>
                <a:gd name="connsiteX75" fmla="*/ 12499 w 12912"/>
                <a:gd name="connsiteY75" fmla="*/ 5967 h 10760"/>
                <a:gd name="connsiteX76" fmla="*/ 11116 w 12912"/>
                <a:gd name="connsiteY76" fmla="*/ 6232 h 10760"/>
                <a:gd name="connsiteX77" fmla="*/ 9900 w 12912"/>
                <a:gd name="connsiteY77" fmla="*/ 6788 h 10760"/>
                <a:gd name="connsiteX78" fmla="*/ 9263 w 12912"/>
                <a:gd name="connsiteY78" fmla="*/ 6901 h 10760"/>
                <a:gd name="connsiteX79" fmla="*/ 8734 w 12912"/>
                <a:gd name="connsiteY79" fmla="*/ 7088 h 10760"/>
                <a:gd name="connsiteX80" fmla="*/ 9297 w 12912"/>
                <a:gd name="connsiteY80" fmla="*/ 7238 h 10760"/>
                <a:gd name="connsiteX81" fmla="*/ 9767 w 12912"/>
                <a:gd name="connsiteY81" fmla="*/ 7626 h 10760"/>
                <a:gd name="connsiteX82" fmla="*/ 10142 w 12912"/>
                <a:gd name="connsiteY82" fmla="*/ 8372 h 10760"/>
                <a:gd name="connsiteX83" fmla="*/ 10518 w 12912"/>
                <a:gd name="connsiteY83" fmla="*/ 8342 h 10760"/>
                <a:gd name="connsiteX84" fmla="*/ 11504 w 12912"/>
                <a:gd name="connsiteY84" fmla="*/ 9088 h 10760"/>
                <a:gd name="connsiteX85" fmla="*/ 10330 w 12912"/>
                <a:gd name="connsiteY85" fmla="*/ 9894 h 10760"/>
                <a:gd name="connsiteX86" fmla="*/ 10800 w 12912"/>
                <a:gd name="connsiteY86" fmla="*/ 10491 h 10760"/>
                <a:gd name="connsiteX87" fmla="*/ 10612 w 12912"/>
                <a:gd name="connsiteY87" fmla="*/ 10730 h 10760"/>
                <a:gd name="connsiteX88" fmla="*/ 10330 w 12912"/>
                <a:gd name="connsiteY88" fmla="*/ 10491 h 10760"/>
                <a:gd name="connsiteX89" fmla="*/ 8452 w 12912"/>
                <a:gd name="connsiteY89" fmla="*/ 10461 h 10760"/>
                <a:gd name="connsiteX90" fmla="*/ 8124 w 12912"/>
                <a:gd name="connsiteY90" fmla="*/ 10760 h 10760"/>
                <a:gd name="connsiteX91" fmla="*/ 7560 w 12912"/>
                <a:gd name="connsiteY91" fmla="*/ 10730 h 10760"/>
                <a:gd name="connsiteX0" fmla="*/ 7033 w 12385"/>
                <a:gd name="connsiteY0" fmla="*/ 10730 h 10760"/>
                <a:gd name="connsiteX1" fmla="*/ 7127 w 12385"/>
                <a:gd name="connsiteY1" fmla="*/ 9894 h 10760"/>
                <a:gd name="connsiteX2" fmla="*/ 7409 w 12385"/>
                <a:gd name="connsiteY2" fmla="*/ 9088 h 10760"/>
                <a:gd name="connsiteX3" fmla="*/ 6611 w 12385"/>
                <a:gd name="connsiteY3" fmla="*/ 8909 h 10760"/>
                <a:gd name="connsiteX4" fmla="*/ 6376 w 12385"/>
                <a:gd name="connsiteY4" fmla="*/ 8730 h 10760"/>
                <a:gd name="connsiteX5" fmla="*/ 6000 w 12385"/>
                <a:gd name="connsiteY5" fmla="*/ 8820 h 10760"/>
                <a:gd name="connsiteX6" fmla="*/ 5672 w 12385"/>
                <a:gd name="connsiteY6" fmla="*/ 8253 h 10760"/>
                <a:gd name="connsiteX7" fmla="*/ 5108 w 12385"/>
                <a:gd name="connsiteY7" fmla="*/ 7894 h 10760"/>
                <a:gd name="connsiteX8" fmla="*/ 4686 w 12385"/>
                <a:gd name="connsiteY8" fmla="*/ 7924 h 10760"/>
                <a:gd name="connsiteX9" fmla="*/ 4780 w 12385"/>
                <a:gd name="connsiteY9" fmla="*/ 8103 h 10760"/>
                <a:gd name="connsiteX10" fmla="*/ 4310 w 12385"/>
                <a:gd name="connsiteY10" fmla="*/ 8133 h 10760"/>
                <a:gd name="connsiteX11" fmla="*/ 4263 w 12385"/>
                <a:gd name="connsiteY11" fmla="*/ 7447 h 10760"/>
                <a:gd name="connsiteX12" fmla="*/ 3512 w 12385"/>
                <a:gd name="connsiteY12" fmla="*/ 7417 h 10760"/>
                <a:gd name="connsiteX13" fmla="*/ 3606 w 12385"/>
                <a:gd name="connsiteY13" fmla="*/ 7118 h 10760"/>
                <a:gd name="connsiteX14" fmla="*/ 3277 w 12385"/>
                <a:gd name="connsiteY14" fmla="*/ 7029 h 10760"/>
                <a:gd name="connsiteX15" fmla="*/ 3090 w 12385"/>
                <a:gd name="connsiteY15" fmla="*/ 6521 h 10760"/>
                <a:gd name="connsiteX16" fmla="*/ 3418 w 12385"/>
                <a:gd name="connsiteY16" fmla="*/ 6372 h 10760"/>
                <a:gd name="connsiteX17" fmla="*/ 3888 w 12385"/>
                <a:gd name="connsiteY17" fmla="*/ 5984 h 10760"/>
                <a:gd name="connsiteX18" fmla="*/ 3606 w 12385"/>
                <a:gd name="connsiteY18" fmla="*/ 5775 h 10760"/>
                <a:gd name="connsiteX19" fmla="*/ 4169 w 12385"/>
                <a:gd name="connsiteY19" fmla="*/ 5447 h 10760"/>
                <a:gd name="connsiteX20" fmla="*/ 3606 w 12385"/>
                <a:gd name="connsiteY20" fmla="*/ 5447 h 10760"/>
                <a:gd name="connsiteX21" fmla="*/ 3606 w 12385"/>
                <a:gd name="connsiteY21" fmla="*/ 5088 h 10760"/>
                <a:gd name="connsiteX22" fmla="*/ 3794 w 12385"/>
                <a:gd name="connsiteY22" fmla="*/ 4521 h 10760"/>
                <a:gd name="connsiteX23" fmla="*/ 3559 w 12385"/>
                <a:gd name="connsiteY23" fmla="*/ 4044 h 10760"/>
                <a:gd name="connsiteX24" fmla="*/ 4265 w 12385"/>
                <a:gd name="connsiteY24" fmla="*/ 3532 h 10760"/>
                <a:gd name="connsiteX25" fmla="*/ 355 w 12385"/>
                <a:gd name="connsiteY25" fmla="*/ 6342 h 10760"/>
                <a:gd name="connsiteX26" fmla="*/ 0 w 12385"/>
                <a:gd name="connsiteY26" fmla="*/ 5374 h 10760"/>
                <a:gd name="connsiteX27" fmla="*/ 113 w 12385"/>
                <a:gd name="connsiteY27" fmla="*/ 4692 h 10760"/>
                <a:gd name="connsiteX28" fmla="*/ 689 w 12385"/>
                <a:gd name="connsiteY28" fmla="*/ 4121 h 10760"/>
                <a:gd name="connsiteX29" fmla="*/ 1080 w 12385"/>
                <a:gd name="connsiteY29" fmla="*/ 3784 h 10760"/>
                <a:gd name="connsiteX30" fmla="*/ 745 w 12385"/>
                <a:gd name="connsiteY30" fmla="*/ 3358 h 10760"/>
                <a:gd name="connsiteX31" fmla="*/ 1146 w 12385"/>
                <a:gd name="connsiteY31" fmla="*/ 2950 h 10760"/>
                <a:gd name="connsiteX32" fmla="*/ 818 w 12385"/>
                <a:gd name="connsiteY32" fmla="*/ 2316 h 10760"/>
                <a:gd name="connsiteX33" fmla="*/ 1165 w 12385"/>
                <a:gd name="connsiteY33" fmla="*/ 2820 h 10760"/>
                <a:gd name="connsiteX34" fmla="*/ 977 w 12385"/>
                <a:gd name="connsiteY34" fmla="*/ 2790 h 10760"/>
                <a:gd name="connsiteX35" fmla="*/ 1335 w 12385"/>
                <a:gd name="connsiteY35" fmla="*/ 1986 h 10760"/>
                <a:gd name="connsiteX36" fmla="*/ 1984 w 12385"/>
                <a:gd name="connsiteY36" fmla="*/ 1999 h 10760"/>
                <a:gd name="connsiteX37" fmla="*/ 2761 w 12385"/>
                <a:gd name="connsiteY37" fmla="*/ 2461 h 10760"/>
                <a:gd name="connsiteX38" fmla="*/ 1685 w 12385"/>
                <a:gd name="connsiteY38" fmla="*/ 2015 h 10760"/>
                <a:gd name="connsiteX39" fmla="*/ 1996 w 12385"/>
                <a:gd name="connsiteY39" fmla="*/ 2021 h 10760"/>
                <a:gd name="connsiteX40" fmla="*/ 2158 w 12385"/>
                <a:gd name="connsiteY40" fmla="*/ 2083 h 10760"/>
                <a:gd name="connsiteX41" fmla="*/ 2633 w 12385"/>
                <a:gd name="connsiteY41" fmla="*/ 2449 h 10760"/>
                <a:gd name="connsiteX42" fmla="*/ 2831 w 12385"/>
                <a:gd name="connsiteY42" fmla="*/ 2178 h 10760"/>
                <a:gd name="connsiteX43" fmla="*/ 3157 w 12385"/>
                <a:gd name="connsiteY43" fmla="*/ 1886 h 10760"/>
                <a:gd name="connsiteX44" fmla="*/ 3282 w 12385"/>
                <a:gd name="connsiteY44" fmla="*/ 1793 h 10760"/>
                <a:gd name="connsiteX45" fmla="*/ 3982 w 12385"/>
                <a:gd name="connsiteY45" fmla="*/ 1805 h 10760"/>
                <a:gd name="connsiteX46" fmla="*/ 3700 w 12385"/>
                <a:gd name="connsiteY46" fmla="*/ 1835 h 10760"/>
                <a:gd name="connsiteX47" fmla="*/ 3512 w 12385"/>
                <a:gd name="connsiteY47" fmla="*/ 1596 h 10760"/>
                <a:gd name="connsiteX48" fmla="*/ 3495 w 12385"/>
                <a:gd name="connsiteY48" fmla="*/ 1359 h 10760"/>
                <a:gd name="connsiteX49" fmla="*/ 3543 w 12385"/>
                <a:gd name="connsiteY49" fmla="*/ 1009 h 10760"/>
                <a:gd name="connsiteX50" fmla="*/ 3277 w 12385"/>
                <a:gd name="connsiteY50" fmla="*/ 1059 h 10760"/>
                <a:gd name="connsiteX51" fmla="*/ 3231 w 12385"/>
                <a:gd name="connsiteY51" fmla="*/ 879 h 10760"/>
                <a:gd name="connsiteX52" fmla="*/ 3346 w 12385"/>
                <a:gd name="connsiteY52" fmla="*/ 580 h 10760"/>
                <a:gd name="connsiteX53" fmla="*/ 3244 w 12385"/>
                <a:gd name="connsiteY53" fmla="*/ 0 h 10760"/>
                <a:gd name="connsiteX54" fmla="*/ 4542 w 12385"/>
                <a:gd name="connsiteY54" fmla="*/ 195 h 10760"/>
                <a:gd name="connsiteX55" fmla="*/ 5578 w 12385"/>
                <a:gd name="connsiteY55" fmla="*/ 1088 h 10760"/>
                <a:gd name="connsiteX56" fmla="*/ 5838 w 12385"/>
                <a:gd name="connsiteY56" fmla="*/ 1091 h 10760"/>
                <a:gd name="connsiteX57" fmla="*/ 5904 w 12385"/>
                <a:gd name="connsiteY57" fmla="*/ 1196 h 10760"/>
                <a:gd name="connsiteX58" fmla="*/ 6120 w 12385"/>
                <a:gd name="connsiteY58" fmla="*/ 1300 h 10760"/>
                <a:gd name="connsiteX59" fmla="*/ 6561 w 12385"/>
                <a:gd name="connsiteY59" fmla="*/ 1256 h 10760"/>
                <a:gd name="connsiteX60" fmla="*/ 6611 w 12385"/>
                <a:gd name="connsiteY60" fmla="*/ 1745 h 10760"/>
                <a:gd name="connsiteX61" fmla="*/ 6892 w 12385"/>
                <a:gd name="connsiteY61" fmla="*/ 1596 h 10760"/>
                <a:gd name="connsiteX62" fmla="*/ 7407 w 12385"/>
                <a:gd name="connsiteY62" fmla="*/ 1755 h 10760"/>
                <a:gd name="connsiteX63" fmla="*/ 8144 w 12385"/>
                <a:gd name="connsiteY63" fmla="*/ 1218 h 10760"/>
                <a:gd name="connsiteX64" fmla="*/ 8568 w 12385"/>
                <a:gd name="connsiteY64" fmla="*/ 983 h 10760"/>
                <a:gd name="connsiteX65" fmla="*/ 9586 w 12385"/>
                <a:gd name="connsiteY65" fmla="*/ 1065 h 10760"/>
                <a:gd name="connsiteX66" fmla="*/ 9963 w 12385"/>
                <a:gd name="connsiteY66" fmla="*/ 1177 h 10760"/>
                <a:gd name="connsiteX67" fmla="*/ 10289 w 12385"/>
                <a:gd name="connsiteY67" fmla="*/ 721 h 10760"/>
                <a:gd name="connsiteX68" fmla="*/ 10571 w 12385"/>
                <a:gd name="connsiteY68" fmla="*/ 1213 h 10760"/>
                <a:gd name="connsiteX69" fmla="*/ 10183 w 12385"/>
                <a:gd name="connsiteY69" fmla="*/ 1544 h 10760"/>
                <a:gd name="connsiteX70" fmla="*/ 10803 w 12385"/>
                <a:gd name="connsiteY70" fmla="*/ 1477 h 10760"/>
                <a:gd name="connsiteX71" fmla="*/ 11381 w 12385"/>
                <a:gd name="connsiteY71" fmla="*/ 1744 h 10760"/>
                <a:gd name="connsiteX72" fmla="*/ 11836 w 12385"/>
                <a:gd name="connsiteY72" fmla="*/ 4405 h 10760"/>
                <a:gd name="connsiteX73" fmla="*/ 12384 w 12385"/>
                <a:gd name="connsiteY73" fmla="*/ 5293 h 10760"/>
                <a:gd name="connsiteX74" fmla="*/ 11972 w 12385"/>
                <a:gd name="connsiteY74" fmla="*/ 5967 h 10760"/>
                <a:gd name="connsiteX75" fmla="*/ 10589 w 12385"/>
                <a:gd name="connsiteY75" fmla="*/ 6232 h 10760"/>
                <a:gd name="connsiteX76" fmla="*/ 9373 w 12385"/>
                <a:gd name="connsiteY76" fmla="*/ 6788 h 10760"/>
                <a:gd name="connsiteX77" fmla="*/ 8736 w 12385"/>
                <a:gd name="connsiteY77" fmla="*/ 6901 h 10760"/>
                <a:gd name="connsiteX78" fmla="*/ 8207 w 12385"/>
                <a:gd name="connsiteY78" fmla="*/ 7088 h 10760"/>
                <a:gd name="connsiteX79" fmla="*/ 8770 w 12385"/>
                <a:gd name="connsiteY79" fmla="*/ 7238 h 10760"/>
                <a:gd name="connsiteX80" fmla="*/ 9240 w 12385"/>
                <a:gd name="connsiteY80" fmla="*/ 7626 h 10760"/>
                <a:gd name="connsiteX81" fmla="*/ 9615 w 12385"/>
                <a:gd name="connsiteY81" fmla="*/ 8372 h 10760"/>
                <a:gd name="connsiteX82" fmla="*/ 9991 w 12385"/>
                <a:gd name="connsiteY82" fmla="*/ 8342 h 10760"/>
                <a:gd name="connsiteX83" fmla="*/ 10977 w 12385"/>
                <a:gd name="connsiteY83" fmla="*/ 9088 h 10760"/>
                <a:gd name="connsiteX84" fmla="*/ 9803 w 12385"/>
                <a:gd name="connsiteY84" fmla="*/ 9894 h 10760"/>
                <a:gd name="connsiteX85" fmla="*/ 10273 w 12385"/>
                <a:gd name="connsiteY85" fmla="*/ 10491 h 10760"/>
                <a:gd name="connsiteX86" fmla="*/ 10085 w 12385"/>
                <a:gd name="connsiteY86" fmla="*/ 10730 h 10760"/>
                <a:gd name="connsiteX87" fmla="*/ 9803 w 12385"/>
                <a:gd name="connsiteY87" fmla="*/ 10491 h 10760"/>
                <a:gd name="connsiteX88" fmla="*/ 7925 w 12385"/>
                <a:gd name="connsiteY88" fmla="*/ 10461 h 10760"/>
                <a:gd name="connsiteX89" fmla="*/ 7597 w 12385"/>
                <a:gd name="connsiteY89" fmla="*/ 10760 h 10760"/>
                <a:gd name="connsiteX90" fmla="*/ 7033 w 12385"/>
                <a:gd name="connsiteY90" fmla="*/ 10730 h 10760"/>
                <a:gd name="connsiteX0" fmla="*/ 7033 w 12385"/>
                <a:gd name="connsiteY0" fmla="*/ 10730 h 10760"/>
                <a:gd name="connsiteX1" fmla="*/ 7127 w 12385"/>
                <a:gd name="connsiteY1" fmla="*/ 9894 h 10760"/>
                <a:gd name="connsiteX2" fmla="*/ 7409 w 12385"/>
                <a:gd name="connsiteY2" fmla="*/ 9088 h 10760"/>
                <a:gd name="connsiteX3" fmla="*/ 6611 w 12385"/>
                <a:gd name="connsiteY3" fmla="*/ 8909 h 10760"/>
                <a:gd name="connsiteX4" fmla="*/ 6376 w 12385"/>
                <a:gd name="connsiteY4" fmla="*/ 8730 h 10760"/>
                <a:gd name="connsiteX5" fmla="*/ 6000 w 12385"/>
                <a:gd name="connsiteY5" fmla="*/ 8820 h 10760"/>
                <a:gd name="connsiteX6" fmla="*/ 5672 w 12385"/>
                <a:gd name="connsiteY6" fmla="*/ 8253 h 10760"/>
                <a:gd name="connsiteX7" fmla="*/ 5108 w 12385"/>
                <a:gd name="connsiteY7" fmla="*/ 7894 h 10760"/>
                <a:gd name="connsiteX8" fmla="*/ 4686 w 12385"/>
                <a:gd name="connsiteY8" fmla="*/ 7924 h 10760"/>
                <a:gd name="connsiteX9" fmla="*/ 4780 w 12385"/>
                <a:gd name="connsiteY9" fmla="*/ 8103 h 10760"/>
                <a:gd name="connsiteX10" fmla="*/ 4310 w 12385"/>
                <a:gd name="connsiteY10" fmla="*/ 8133 h 10760"/>
                <a:gd name="connsiteX11" fmla="*/ 4263 w 12385"/>
                <a:gd name="connsiteY11" fmla="*/ 7447 h 10760"/>
                <a:gd name="connsiteX12" fmla="*/ 3512 w 12385"/>
                <a:gd name="connsiteY12" fmla="*/ 7417 h 10760"/>
                <a:gd name="connsiteX13" fmla="*/ 3606 w 12385"/>
                <a:gd name="connsiteY13" fmla="*/ 7118 h 10760"/>
                <a:gd name="connsiteX14" fmla="*/ 3277 w 12385"/>
                <a:gd name="connsiteY14" fmla="*/ 7029 h 10760"/>
                <a:gd name="connsiteX15" fmla="*/ 3090 w 12385"/>
                <a:gd name="connsiteY15" fmla="*/ 6521 h 10760"/>
                <a:gd name="connsiteX16" fmla="*/ 3418 w 12385"/>
                <a:gd name="connsiteY16" fmla="*/ 6372 h 10760"/>
                <a:gd name="connsiteX17" fmla="*/ 3888 w 12385"/>
                <a:gd name="connsiteY17" fmla="*/ 5984 h 10760"/>
                <a:gd name="connsiteX18" fmla="*/ 3606 w 12385"/>
                <a:gd name="connsiteY18" fmla="*/ 5775 h 10760"/>
                <a:gd name="connsiteX19" fmla="*/ 4169 w 12385"/>
                <a:gd name="connsiteY19" fmla="*/ 5447 h 10760"/>
                <a:gd name="connsiteX20" fmla="*/ 3606 w 12385"/>
                <a:gd name="connsiteY20" fmla="*/ 5447 h 10760"/>
                <a:gd name="connsiteX21" fmla="*/ 3606 w 12385"/>
                <a:gd name="connsiteY21" fmla="*/ 5088 h 10760"/>
                <a:gd name="connsiteX22" fmla="*/ 3794 w 12385"/>
                <a:gd name="connsiteY22" fmla="*/ 4521 h 10760"/>
                <a:gd name="connsiteX23" fmla="*/ 3559 w 12385"/>
                <a:gd name="connsiteY23" fmla="*/ 4044 h 10760"/>
                <a:gd name="connsiteX24" fmla="*/ 4265 w 12385"/>
                <a:gd name="connsiteY24" fmla="*/ 3532 h 10760"/>
                <a:gd name="connsiteX25" fmla="*/ 355 w 12385"/>
                <a:gd name="connsiteY25" fmla="*/ 6342 h 10760"/>
                <a:gd name="connsiteX26" fmla="*/ 0 w 12385"/>
                <a:gd name="connsiteY26" fmla="*/ 5374 h 10760"/>
                <a:gd name="connsiteX27" fmla="*/ 53 w 12385"/>
                <a:gd name="connsiteY27" fmla="*/ 4721 h 10760"/>
                <a:gd name="connsiteX28" fmla="*/ 689 w 12385"/>
                <a:gd name="connsiteY28" fmla="*/ 4121 h 10760"/>
                <a:gd name="connsiteX29" fmla="*/ 1080 w 12385"/>
                <a:gd name="connsiteY29" fmla="*/ 3784 h 10760"/>
                <a:gd name="connsiteX30" fmla="*/ 745 w 12385"/>
                <a:gd name="connsiteY30" fmla="*/ 3358 h 10760"/>
                <a:gd name="connsiteX31" fmla="*/ 1146 w 12385"/>
                <a:gd name="connsiteY31" fmla="*/ 2950 h 10760"/>
                <a:gd name="connsiteX32" fmla="*/ 818 w 12385"/>
                <a:gd name="connsiteY32" fmla="*/ 2316 h 10760"/>
                <a:gd name="connsiteX33" fmla="*/ 1165 w 12385"/>
                <a:gd name="connsiteY33" fmla="*/ 2820 h 10760"/>
                <a:gd name="connsiteX34" fmla="*/ 977 w 12385"/>
                <a:gd name="connsiteY34" fmla="*/ 2790 h 10760"/>
                <a:gd name="connsiteX35" fmla="*/ 1335 w 12385"/>
                <a:gd name="connsiteY35" fmla="*/ 1986 h 10760"/>
                <a:gd name="connsiteX36" fmla="*/ 1984 w 12385"/>
                <a:gd name="connsiteY36" fmla="*/ 1999 h 10760"/>
                <a:gd name="connsiteX37" fmla="*/ 2761 w 12385"/>
                <a:gd name="connsiteY37" fmla="*/ 2461 h 10760"/>
                <a:gd name="connsiteX38" fmla="*/ 1685 w 12385"/>
                <a:gd name="connsiteY38" fmla="*/ 2015 h 10760"/>
                <a:gd name="connsiteX39" fmla="*/ 1996 w 12385"/>
                <a:gd name="connsiteY39" fmla="*/ 2021 h 10760"/>
                <a:gd name="connsiteX40" fmla="*/ 2158 w 12385"/>
                <a:gd name="connsiteY40" fmla="*/ 2083 h 10760"/>
                <a:gd name="connsiteX41" fmla="*/ 2633 w 12385"/>
                <a:gd name="connsiteY41" fmla="*/ 2449 h 10760"/>
                <a:gd name="connsiteX42" fmla="*/ 2831 w 12385"/>
                <a:gd name="connsiteY42" fmla="*/ 2178 h 10760"/>
                <a:gd name="connsiteX43" fmla="*/ 3157 w 12385"/>
                <a:gd name="connsiteY43" fmla="*/ 1886 h 10760"/>
                <a:gd name="connsiteX44" fmla="*/ 3282 w 12385"/>
                <a:gd name="connsiteY44" fmla="*/ 1793 h 10760"/>
                <a:gd name="connsiteX45" fmla="*/ 3982 w 12385"/>
                <a:gd name="connsiteY45" fmla="*/ 1805 h 10760"/>
                <a:gd name="connsiteX46" fmla="*/ 3700 w 12385"/>
                <a:gd name="connsiteY46" fmla="*/ 1835 h 10760"/>
                <a:gd name="connsiteX47" fmla="*/ 3512 w 12385"/>
                <a:gd name="connsiteY47" fmla="*/ 1596 h 10760"/>
                <a:gd name="connsiteX48" fmla="*/ 3495 w 12385"/>
                <a:gd name="connsiteY48" fmla="*/ 1359 h 10760"/>
                <a:gd name="connsiteX49" fmla="*/ 3543 w 12385"/>
                <a:gd name="connsiteY49" fmla="*/ 1009 h 10760"/>
                <a:gd name="connsiteX50" fmla="*/ 3277 w 12385"/>
                <a:gd name="connsiteY50" fmla="*/ 1059 h 10760"/>
                <a:gd name="connsiteX51" fmla="*/ 3231 w 12385"/>
                <a:gd name="connsiteY51" fmla="*/ 879 h 10760"/>
                <a:gd name="connsiteX52" fmla="*/ 3346 w 12385"/>
                <a:gd name="connsiteY52" fmla="*/ 580 h 10760"/>
                <a:gd name="connsiteX53" fmla="*/ 3244 w 12385"/>
                <a:gd name="connsiteY53" fmla="*/ 0 h 10760"/>
                <a:gd name="connsiteX54" fmla="*/ 4542 w 12385"/>
                <a:gd name="connsiteY54" fmla="*/ 195 h 10760"/>
                <a:gd name="connsiteX55" fmla="*/ 5578 w 12385"/>
                <a:gd name="connsiteY55" fmla="*/ 1088 h 10760"/>
                <a:gd name="connsiteX56" fmla="*/ 5838 w 12385"/>
                <a:gd name="connsiteY56" fmla="*/ 1091 h 10760"/>
                <a:gd name="connsiteX57" fmla="*/ 5904 w 12385"/>
                <a:gd name="connsiteY57" fmla="*/ 1196 h 10760"/>
                <a:gd name="connsiteX58" fmla="*/ 6120 w 12385"/>
                <a:gd name="connsiteY58" fmla="*/ 1300 h 10760"/>
                <a:gd name="connsiteX59" fmla="*/ 6561 w 12385"/>
                <a:gd name="connsiteY59" fmla="*/ 1256 h 10760"/>
                <a:gd name="connsiteX60" fmla="*/ 6611 w 12385"/>
                <a:gd name="connsiteY60" fmla="*/ 1745 h 10760"/>
                <a:gd name="connsiteX61" fmla="*/ 6892 w 12385"/>
                <a:gd name="connsiteY61" fmla="*/ 1596 h 10760"/>
                <a:gd name="connsiteX62" fmla="*/ 7407 w 12385"/>
                <a:gd name="connsiteY62" fmla="*/ 1755 h 10760"/>
                <a:gd name="connsiteX63" fmla="*/ 8144 w 12385"/>
                <a:gd name="connsiteY63" fmla="*/ 1218 h 10760"/>
                <a:gd name="connsiteX64" fmla="*/ 8568 w 12385"/>
                <a:gd name="connsiteY64" fmla="*/ 983 h 10760"/>
                <a:gd name="connsiteX65" fmla="*/ 9586 w 12385"/>
                <a:gd name="connsiteY65" fmla="*/ 1065 h 10760"/>
                <a:gd name="connsiteX66" fmla="*/ 9963 w 12385"/>
                <a:gd name="connsiteY66" fmla="*/ 1177 h 10760"/>
                <a:gd name="connsiteX67" fmla="*/ 10289 w 12385"/>
                <a:gd name="connsiteY67" fmla="*/ 721 h 10760"/>
                <a:gd name="connsiteX68" fmla="*/ 10571 w 12385"/>
                <a:gd name="connsiteY68" fmla="*/ 1213 h 10760"/>
                <a:gd name="connsiteX69" fmla="*/ 10183 w 12385"/>
                <a:gd name="connsiteY69" fmla="*/ 1544 h 10760"/>
                <a:gd name="connsiteX70" fmla="*/ 10803 w 12385"/>
                <a:gd name="connsiteY70" fmla="*/ 1477 h 10760"/>
                <a:gd name="connsiteX71" fmla="*/ 11381 w 12385"/>
                <a:gd name="connsiteY71" fmla="*/ 1744 h 10760"/>
                <a:gd name="connsiteX72" fmla="*/ 11836 w 12385"/>
                <a:gd name="connsiteY72" fmla="*/ 4405 h 10760"/>
                <a:gd name="connsiteX73" fmla="*/ 12384 w 12385"/>
                <a:gd name="connsiteY73" fmla="*/ 5293 h 10760"/>
                <a:gd name="connsiteX74" fmla="*/ 11972 w 12385"/>
                <a:gd name="connsiteY74" fmla="*/ 5967 h 10760"/>
                <a:gd name="connsiteX75" fmla="*/ 10589 w 12385"/>
                <a:gd name="connsiteY75" fmla="*/ 6232 h 10760"/>
                <a:gd name="connsiteX76" fmla="*/ 9373 w 12385"/>
                <a:gd name="connsiteY76" fmla="*/ 6788 h 10760"/>
                <a:gd name="connsiteX77" fmla="*/ 8736 w 12385"/>
                <a:gd name="connsiteY77" fmla="*/ 6901 h 10760"/>
                <a:gd name="connsiteX78" fmla="*/ 8207 w 12385"/>
                <a:gd name="connsiteY78" fmla="*/ 7088 h 10760"/>
                <a:gd name="connsiteX79" fmla="*/ 8770 w 12385"/>
                <a:gd name="connsiteY79" fmla="*/ 7238 h 10760"/>
                <a:gd name="connsiteX80" fmla="*/ 9240 w 12385"/>
                <a:gd name="connsiteY80" fmla="*/ 7626 h 10760"/>
                <a:gd name="connsiteX81" fmla="*/ 9615 w 12385"/>
                <a:gd name="connsiteY81" fmla="*/ 8372 h 10760"/>
                <a:gd name="connsiteX82" fmla="*/ 9991 w 12385"/>
                <a:gd name="connsiteY82" fmla="*/ 8342 h 10760"/>
                <a:gd name="connsiteX83" fmla="*/ 10977 w 12385"/>
                <a:gd name="connsiteY83" fmla="*/ 9088 h 10760"/>
                <a:gd name="connsiteX84" fmla="*/ 9803 w 12385"/>
                <a:gd name="connsiteY84" fmla="*/ 9894 h 10760"/>
                <a:gd name="connsiteX85" fmla="*/ 10273 w 12385"/>
                <a:gd name="connsiteY85" fmla="*/ 10491 h 10760"/>
                <a:gd name="connsiteX86" fmla="*/ 10085 w 12385"/>
                <a:gd name="connsiteY86" fmla="*/ 10730 h 10760"/>
                <a:gd name="connsiteX87" fmla="*/ 9803 w 12385"/>
                <a:gd name="connsiteY87" fmla="*/ 10491 h 10760"/>
                <a:gd name="connsiteX88" fmla="*/ 7925 w 12385"/>
                <a:gd name="connsiteY88" fmla="*/ 10461 h 10760"/>
                <a:gd name="connsiteX89" fmla="*/ 7597 w 12385"/>
                <a:gd name="connsiteY89" fmla="*/ 10760 h 10760"/>
                <a:gd name="connsiteX90" fmla="*/ 7033 w 12385"/>
                <a:gd name="connsiteY90" fmla="*/ 10730 h 10760"/>
                <a:gd name="connsiteX0" fmla="*/ 7391 w 12743"/>
                <a:gd name="connsiteY0" fmla="*/ 10730 h 10760"/>
                <a:gd name="connsiteX1" fmla="*/ 7485 w 12743"/>
                <a:gd name="connsiteY1" fmla="*/ 9894 h 10760"/>
                <a:gd name="connsiteX2" fmla="*/ 7767 w 12743"/>
                <a:gd name="connsiteY2" fmla="*/ 9088 h 10760"/>
                <a:gd name="connsiteX3" fmla="*/ 6969 w 12743"/>
                <a:gd name="connsiteY3" fmla="*/ 8909 h 10760"/>
                <a:gd name="connsiteX4" fmla="*/ 6734 w 12743"/>
                <a:gd name="connsiteY4" fmla="*/ 8730 h 10760"/>
                <a:gd name="connsiteX5" fmla="*/ 6358 w 12743"/>
                <a:gd name="connsiteY5" fmla="*/ 8820 h 10760"/>
                <a:gd name="connsiteX6" fmla="*/ 6030 w 12743"/>
                <a:gd name="connsiteY6" fmla="*/ 8253 h 10760"/>
                <a:gd name="connsiteX7" fmla="*/ 5466 w 12743"/>
                <a:gd name="connsiteY7" fmla="*/ 7894 h 10760"/>
                <a:gd name="connsiteX8" fmla="*/ 5044 w 12743"/>
                <a:gd name="connsiteY8" fmla="*/ 7924 h 10760"/>
                <a:gd name="connsiteX9" fmla="*/ 5138 w 12743"/>
                <a:gd name="connsiteY9" fmla="*/ 8103 h 10760"/>
                <a:gd name="connsiteX10" fmla="*/ 4668 w 12743"/>
                <a:gd name="connsiteY10" fmla="*/ 8133 h 10760"/>
                <a:gd name="connsiteX11" fmla="*/ 4621 w 12743"/>
                <a:gd name="connsiteY11" fmla="*/ 7447 h 10760"/>
                <a:gd name="connsiteX12" fmla="*/ 3870 w 12743"/>
                <a:gd name="connsiteY12" fmla="*/ 7417 h 10760"/>
                <a:gd name="connsiteX13" fmla="*/ 3964 w 12743"/>
                <a:gd name="connsiteY13" fmla="*/ 7118 h 10760"/>
                <a:gd name="connsiteX14" fmla="*/ 3635 w 12743"/>
                <a:gd name="connsiteY14" fmla="*/ 7029 h 10760"/>
                <a:gd name="connsiteX15" fmla="*/ 3448 w 12743"/>
                <a:gd name="connsiteY15" fmla="*/ 6521 h 10760"/>
                <a:gd name="connsiteX16" fmla="*/ 3776 w 12743"/>
                <a:gd name="connsiteY16" fmla="*/ 6372 h 10760"/>
                <a:gd name="connsiteX17" fmla="*/ 4246 w 12743"/>
                <a:gd name="connsiteY17" fmla="*/ 5984 h 10760"/>
                <a:gd name="connsiteX18" fmla="*/ 3964 w 12743"/>
                <a:gd name="connsiteY18" fmla="*/ 5775 h 10760"/>
                <a:gd name="connsiteX19" fmla="*/ 4527 w 12743"/>
                <a:gd name="connsiteY19" fmla="*/ 5447 h 10760"/>
                <a:gd name="connsiteX20" fmla="*/ 3964 w 12743"/>
                <a:gd name="connsiteY20" fmla="*/ 5447 h 10760"/>
                <a:gd name="connsiteX21" fmla="*/ 3964 w 12743"/>
                <a:gd name="connsiteY21" fmla="*/ 5088 h 10760"/>
                <a:gd name="connsiteX22" fmla="*/ 4152 w 12743"/>
                <a:gd name="connsiteY22" fmla="*/ 4521 h 10760"/>
                <a:gd name="connsiteX23" fmla="*/ 3917 w 12743"/>
                <a:gd name="connsiteY23" fmla="*/ 4044 h 10760"/>
                <a:gd name="connsiteX24" fmla="*/ 4623 w 12743"/>
                <a:gd name="connsiteY24" fmla="*/ 3532 h 10760"/>
                <a:gd name="connsiteX25" fmla="*/ 713 w 12743"/>
                <a:gd name="connsiteY25" fmla="*/ 6342 h 10760"/>
                <a:gd name="connsiteX26" fmla="*/ 0 w 12743"/>
                <a:gd name="connsiteY26" fmla="*/ 5040 h 10760"/>
                <a:gd name="connsiteX27" fmla="*/ 411 w 12743"/>
                <a:gd name="connsiteY27" fmla="*/ 4721 h 10760"/>
                <a:gd name="connsiteX28" fmla="*/ 1047 w 12743"/>
                <a:gd name="connsiteY28" fmla="*/ 4121 h 10760"/>
                <a:gd name="connsiteX29" fmla="*/ 1438 w 12743"/>
                <a:gd name="connsiteY29" fmla="*/ 3784 h 10760"/>
                <a:gd name="connsiteX30" fmla="*/ 1103 w 12743"/>
                <a:gd name="connsiteY30" fmla="*/ 3358 h 10760"/>
                <a:gd name="connsiteX31" fmla="*/ 1504 w 12743"/>
                <a:gd name="connsiteY31" fmla="*/ 2950 h 10760"/>
                <a:gd name="connsiteX32" fmla="*/ 1176 w 12743"/>
                <a:gd name="connsiteY32" fmla="*/ 2316 h 10760"/>
                <a:gd name="connsiteX33" fmla="*/ 1523 w 12743"/>
                <a:gd name="connsiteY33" fmla="*/ 2820 h 10760"/>
                <a:gd name="connsiteX34" fmla="*/ 1335 w 12743"/>
                <a:gd name="connsiteY34" fmla="*/ 2790 h 10760"/>
                <a:gd name="connsiteX35" fmla="*/ 1693 w 12743"/>
                <a:gd name="connsiteY35" fmla="*/ 1986 h 10760"/>
                <a:gd name="connsiteX36" fmla="*/ 2342 w 12743"/>
                <a:gd name="connsiteY36" fmla="*/ 1999 h 10760"/>
                <a:gd name="connsiteX37" fmla="*/ 3119 w 12743"/>
                <a:gd name="connsiteY37" fmla="*/ 2461 h 10760"/>
                <a:gd name="connsiteX38" fmla="*/ 2043 w 12743"/>
                <a:gd name="connsiteY38" fmla="*/ 2015 h 10760"/>
                <a:gd name="connsiteX39" fmla="*/ 2354 w 12743"/>
                <a:gd name="connsiteY39" fmla="*/ 2021 h 10760"/>
                <a:gd name="connsiteX40" fmla="*/ 2516 w 12743"/>
                <a:gd name="connsiteY40" fmla="*/ 2083 h 10760"/>
                <a:gd name="connsiteX41" fmla="*/ 2991 w 12743"/>
                <a:gd name="connsiteY41" fmla="*/ 2449 h 10760"/>
                <a:gd name="connsiteX42" fmla="*/ 3189 w 12743"/>
                <a:gd name="connsiteY42" fmla="*/ 2178 h 10760"/>
                <a:gd name="connsiteX43" fmla="*/ 3515 w 12743"/>
                <a:gd name="connsiteY43" fmla="*/ 1886 h 10760"/>
                <a:gd name="connsiteX44" fmla="*/ 3640 w 12743"/>
                <a:gd name="connsiteY44" fmla="*/ 1793 h 10760"/>
                <a:gd name="connsiteX45" fmla="*/ 4340 w 12743"/>
                <a:gd name="connsiteY45" fmla="*/ 1805 h 10760"/>
                <a:gd name="connsiteX46" fmla="*/ 4058 w 12743"/>
                <a:gd name="connsiteY46" fmla="*/ 1835 h 10760"/>
                <a:gd name="connsiteX47" fmla="*/ 3870 w 12743"/>
                <a:gd name="connsiteY47" fmla="*/ 1596 h 10760"/>
                <a:gd name="connsiteX48" fmla="*/ 3853 w 12743"/>
                <a:gd name="connsiteY48" fmla="*/ 1359 h 10760"/>
                <a:gd name="connsiteX49" fmla="*/ 3901 w 12743"/>
                <a:gd name="connsiteY49" fmla="*/ 1009 h 10760"/>
                <a:gd name="connsiteX50" fmla="*/ 3635 w 12743"/>
                <a:gd name="connsiteY50" fmla="*/ 1059 h 10760"/>
                <a:gd name="connsiteX51" fmla="*/ 3589 w 12743"/>
                <a:gd name="connsiteY51" fmla="*/ 879 h 10760"/>
                <a:gd name="connsiteX52" fmla="*/ 3704 w 12743"/>
                <a:gd name="connsiteY52" fmla="*/ 580 h 10760"/>
                <a:gd name="connsiteX53" fmla="*/ 3602 w 12743"/>
                <a:gd name="connsiteY53" fmla="*/ 0 h 10760"/>
                <a:gd name="connsiteX54" fmla="*/ 4900 w 12743"/>
                <a:gd name="connsiteY54" fmla="*/ 195 h 10760"/>
                <a:gd name="connsiteX55" fmla="*/ 5936 w 12743"/>
                <a:gd name="connsiteY55" fmla="*/ 1088 h 10760"/>
                <a:gd name="connsiteX56" fmla="*/ 6196 w 12743"/>
                <a:gd name="connsiteY56" fmla="*/ 1091 h 10760"/>
                <a:gd name="connsiteX57" fmla="*/ 6262 w 12743"/>
                <a:gd name="connsiteY57" fmla="*/ 1196 h 10760"/>
                <a:gd name="connsiteX58" fmla="*/ 6478 w 12743"/>
                <a:gd name="connsiteY58" fmla="*/ 1300 h 10760"/>
                <a:gd name="connsiteX59" fmla="*/ 6919 w 12743"/>
                <a:gd name="connsiteY59" fmla="*/ 1256 h 10760"/>
                <a:gd name="connsiteX60" fmla="*/ 6969 w 12743"/>
                <a:gd name="connsiteY60" fmla="*/ 1745 h 10760"/>
                <a:gd name="connsiteX61" fmla="*/ 7250 w 12743"/>
                <a:gd name="connsiteY61" fmla="*/ 1596 h 10760"/>
                <a:gd name="connsiteX62" fmla="*/ 7765 w 12743"/>
                <a:gd name="connsiteY62" fmla="*/ 1755 h 10760"/>
                <a:gd name="connsiteX63" fmla="*/ 8502 w 12743"/>
                <a:gd name="connsiteY63" fmla="*/ 1218 h 10760"/>
                <a:gd name="connsiteX64" fmla="*/ 8926 w 12743"/>
                <a:gd name="connsiteY64" fmla="*/ 983 h 10760"/>
                <a:gd name="connsiteX65" fmla="*/ 9944 w 12743"/>
                <a:gd name="connsiteY65" fmla="*/ 1065 h 10760"/>
                <a:gd name="connsiteX66" fmla="*/ 10321 w 12743"/>
                <a:gd name="connsiteY66" fmla="*/ 1177 h 10760"/>
                <a:gd name="connsiteX67" fmla="*/ 10647 w 12743"/>
                <a:gd name="connsiteY67" fmla="*/ 721 h 10760"/>
                <a:gd name="connsiteX68" fmla="*/ 10929 w 12743"/>
                <a:gd name="connsiteY68" fmla="*/ 1213 h 10760"/>
                <a:gd name="connsiteX69" fmla="*/ 10541 w 12743"/>
                <a:gd name="connsiteY69" fmla="*/ 1544 h 10760"/>
                <a:gd name="connsiteX70" fmla="*/ 11161 w 12743"/>
                <a:gd name="connsiteY70" fmla="*/ 1477 h 10760"/>
                <a:gd name="connsiteX71" fmla="*/ 11739 w 12743"/>
                <a:gd name="connsiteY71" fmla="*/ 1744 h 10760"/>
                <a:gd name="connsiteX72" fmla="*/ 12194 w 12743"/>
                <a:gd name="connsiteY72" fmla="*/ 4405 h 10760"/>
                <a:gd name="connsiteX73" fmla="*/ 12742 w 12743"/>
                <a:gd name="connsiteY73" fmla="*/ 5293 h 10760"/>
                <a:gd name="connsiteX74" fmla="*/ 12330 w 12743"/>
                <a:gd name="connsiteY74" fmla="*/ 5967 h 10760"/>
                <a:gd name="connsiteX75" fmla="*/ 10947 w 12743"/>
                <a:gd name="connsiteY75" fmla="*/ 6232 h 10760"/>
                <a:gd name="connsiteX76" fmla="*/ 9731 w 12743"/>
                <a:gd name="connsiteY76" fmla="*/ 6788 h 10760"/>
                <a:gd name="connsiteX77" fmla="*/ 9094 w 12743"/>
                <a:gd name="connsiteY77" fmla="*/ 6901 h 10760"/>
                <a:gd name="connsiteX78" fmla="*/ 8565 w 12743"/>
                <a:gd name="connsiteY78" fmla="*/ 7088 h 10760"/>
                <a:gd name="connsiteX79" fmla="*/ 9128 w 12743"/>
                <a:gd name="connsiteY79" fmla="*/ 7238 h 10760"/>
                <a:gd name="connsiteX80" fmla="*/ 9598 w 12743"/>
                <a:gd name="connsiteY80" fmla="*/ 7626 h 10760"/>
                <a:gd name="connsiteX81" fmla="*/ 9973 w 12743"/>
                <a:gd name="connsiteY81" fmla="*/ 8372 h 10760"/>
                <a:gd name="connsiteX82" fmla="*/ 10349 w 12743"/>
                <a:gd name="connsiteY82" fmla="*/ 8342 h 10760"/>
                <a:gd name="connsiteX83" fmla="*/ 11335 w 12743"/>
                <a:gd name="connsiteY83" fmla="*/ 9088 h 10760"/>
                <a:gd name="connsiteX84" fmla="*/ 10161 w 12743"/>
                <a:gd name="connsiteY84" fmla="*/ 9894 h 10760"/>
                <a:gd name="connsiteX85" fmla="*/ 10631 w 12743"/>
                <a:gd name="connsiteY85" fmla="*/ 10491 h 10760"/>
                <a:gd name="connsiteX86" fmla="*/ 10443 w 12743"/>
                <a:gd name="connsiteY86" fmla="*/ 10730 h 10760"/>
                <a:gd name="connsiteX87" fmla="*/ 10161 w 12743"/>
                <a:gd name="connsiteY87" fmla="*/ 10491 h 10760"/>
                <a:gd name="connsiteX88" fmla="*/ 8283 w 12743"/>
                <a:gd name="connsiteY88" fmla="*/ 10461 h 10760"/>
                <a:gd name="connsiteX89" fmla="*/ 7955 w 12743"/>
                <a:gd name="connsiteY89" fmla="*/ 10760 h 10760"/>
                <a:gd name="connsiteX90" fmla="*/ 7391 w 12743"/>
                <a:gd name="connsiteY90" fmla="*/ 10730 h 10760"/>
                <a:gd name="connsiteX0" fmla="*/ 7395 w 12747"/>
                <a:gd name="connsiteY0" fmla="*/ 10730 h 10760"/>
                <a:gd name="connsiteX1" fmla="*/ 7489 w 12747"/>
                <a:gd name="connsiteY1" fmla="*/ 9894 h 10760"/>
                <a:gd name="connsiteX2" fmla="*/ 7771 w 12747"/>
                <a:gd name="connsiteY2" fmla="*/ 9088 h 10760"/>
                <a:gd name="connsiteX3" fmla="*/ 6973 w 12747"/>
                <a:gd name="connsiteY3" fmla="*/ 8909 h 10760"/>
                <a:gd name="connsiteX4" fmla="*/ 6738 w 12747"/>
                <a:gd name="connsiteY4" fmla="*/ 8730 h 10760"/>
                <a:gd name="connsiteX5" fmla="*/ 6362 w 12747"/>
                <a:gd name="connsiteY5" fmla="*/ 8820 h 10760"/>
                <a:gd name="connsiteX6" fmla="*/ 6034 w 12747"/>
                <a:gd name="connsiteY6" fmla="*/ 8253 h 10760"/>
                <a:gd name="connsiteX7" fmla="*/ 5470 w 12747"/>
                <a:gd name="connsiteY7" fmla="*/ 7894 h 10760"/>
                <a:gd name="connsiteX8" fmla="*/ 5048 w 12747"/>
                <a:gd name="connsiteY8" fmla="*/ 7924 h 10760"/>
                <a:gd name="connsiteX9" fmla="*/ 5142 w 12747"/>
                <a:gd name="connsiteY9" fmla="*/ 8103 h 10760"/>
                <a:gd name="connsiteX10" fmla="*/ 4672 w 12747"/>
                <a:gd name="connsiteY10" fmla="*/ 8133 h 10760"/>
                <a:gd name="connsiteX11" fmla="*/ 4625 w 12747"/>
                <a:gd name="connsiteY11" fmla="*/ 7447 h 10760"/>
                <a:gd name="connsiteX12" fmla="*/ 3874 w 12747"/>
                <a:gd name="connsiteY12" fmla="*/ 7417 h 10760"/>
                <a:gd name="connsiteX13" fmla="*/ 3968 w 12747"/>
                <a:gd name="connsiteY13" fmla="*/ 7118 h 10760"/>
                <a:gd name="connsiteX14" fmla="*/ 3639 w 12747"/>
                <a:gd name="connsiteY14" fmla="*/ 7029 h 10760"/>
                <a:gd name="connsiteX15" fmla="*/ 3452 w 12747"/>
                <a:gd name="connsiteY15" fmla="*/ 6521 h 10760"/>
                <a:gd name="connsiteX16" fmla="*/ 3780 w 12747"/>
                <a:gd name="connsiteY16" fmla="*/ 6372 h 10760"/>
                <a:gd name="connsiteX17" fmla="*/ 4250 w 12747"/>
                <a:gd name="connsiteY17" fmla="*/ 5984 h 10760"/>
                <a:gd name="connsiteX18" fmla="*/ 3968 w 12747"/>
                <a:gd name="connsiteY18" fmla="*/ 5775 h 10760"/>
                <a:gd name="connsiteX19" fmla="*/ 4531 w 12747"/>
                <a:gd name="connsiteY19" fmla="*/ 5447 h 10760"/>
                <a:gd name="connsiteX20" fmla="*/ 3968 w 12747"/>
                <a:gd name="connsiteY20" fmla="*/ 5447 h 10760"/>
                <a:gd name="connsiteX21" fmla="*/ 3968 w 12747"/>
                <a:gd name="connsiteY21" fmla="*/ 5088 h 10760"/>
                <a:gd name="connsiteX22" fmla="*/ 4156 w 12747"/>
                <a:gd name="connsiteY22" fmla="*/ 4521 h 10760"/>
                <a:gd name="connsiteX23" fmla="*/ 3921 w 12747"/>
                <a:gd name="connsiteY23" fmla="*/ 4044 h 10760"/>
                <a:gd name="connsiteX24" fmla="*/ 4627 w 12747"/>
                <a:gd name="connsiteY24" fmla="*/ 3532 h 10760"/>
                <a:gd name="connsiteX25" fmla="*/ 717 w 12747"/>
                <a:gd name="connsiteY25" fmla="*/ 6342 h 10760"/>
                <a:gd name="connsiteX26" fmla="*/ 4 w 12747"/>
                <a:gd name="connsiteY26" fmla="*/ 5040 h 10760"/>
                <a:gd name="connsiteX27" fmla="*/ 415 w 12747"/>
                <a:gd name="connsiteY27" fmla="*/ 4721 h 10760"/>
                <a:gd name="connsiteX28" fmla="*/ 1051 w 12747"/>
                <a:gd name="connsiteY28" fmla="*/ 4121 h 10760"/>
                <a:gd name="connsiteX29" fmla="*/ 1442 w 12747"/>
                <a:gd name="connsiteY29" fmla="*/ 3784 h 10760"/>
                <a:gd name="connsiteX30" fmla="*/ 1107 w 12747"/>
                <a:gd name="connsiteY30" fmla="*/ 3358 h 10760"/>
                <a:gd name="connsiteX31" fmla="*/ 1508 w 12747"/>
                <a:gd name="connsiteY31" fmla="*/ 2950 h 10760"/>
                <a:gd name="connsiteX32" fmla="*/ 1180 w 12747"/>
                <a:gd name="connsiteY32" fmla="*/ 2316 h 10760"/>
                <a:gd name="connsiteX33" fmla="*/ 1527 w 12747"/>
                <a:gd name="connsiteY33" fmla="*/ 2820 h 10760"/>
                <a:gd name="connsiteX34" fmla="*/ 1339 w 12747"/>
                <a:gd name="connsiteY34" fmla="*/ 2790 h 10760"/>
                <a:gd name="connsiteX35" fmla="*/ 1697 w 12747"/>
                <a:gd name="connsiteY35" fmla="*/ 1986 h 10760"/>
                <a:gd name="connsiteX36" fmla="*/ 2346 w 12747"/>
                <a:gd name="connsiteY36" fmla="*/ 1999 h 10760"/>
                <a:gd name="connsiteX37" fmla="*/ 3123 w 12747"/>
                <a:gd name="connsiteY37" fmla="*/ 2461 h 10760"/>
                <a:gd name="connsiteX38" fmla="*/ 2047 w 12747"/>
                <a:gd name="connsiteY38" fmla="*/ 2015 h 10760"/>
                <a:gd name="connsiteX39" fmla="*/ 2358 w 12747"/>
                <a:gd name="connsiteY39" fmla="*/ 2021 h 10760"/>
                <a:gd name="connsiteX40" fmla="*/ 2520 w 12747"/>
                <a:gd name="connsiteY40" fmla="*/ 2083 h 10760"/>
                <a:gd name="connsiteX41" fmla="*/ 2995 w 12747"/>
                <a:gd name="connsiteY41" fmla="*/ 2449 h 10760"/>
                <a:gd name="connsiteX42" fmla="*/ 3193 w 12747"/>
                <a:gd name="connsiteY42" fmla="*/ 2178 h 10760"/>
                <a:gd name="connsiteX43" fmla="*/ 3519 w 12747"/>
                <a:gd name="connsiteY43" fmla="*/ 1886 h 10760"/>
                <a:gd name="connsiteX44" fmla="*/ 3644 w 12747"/>
                <a:gd name="connsiteY44" fmla="*/ 1793 h 10760"/>
                <a:gd name="connsiteX45" fmla="*/ 4344 w 12747"/>
                <a:gd name="connsiteY45" fmla="*/ 1805 h 10760"/>
                <a:gd name="connsiteX46" fmla="*/ 4062 w 12747"/>
                <a:gd name="connsiteY46" fmla="*/ 1835 h 10760"/>
                <a:gd name="connsiteX47" fmla="*/ 3874 w 12747"/>
                <a:gd name="connsiteY47" fmla="*/ 1596 h 10760"/>
                <a:gd name="connsiteX48" fmla="*/ 3857 w 12747"/>
                <a:gd name="connsiteY48" fmla="*/ 1359 h 10760"/>
                <a:gd name="connsiteX49" fmla="*/ 3905 w 12747"/>
                <a:gd name="connsiteY49" fmla="*/ 1009 h 10760"/>
                <a:gd name="connsiteX50" fmla="*/ 3639 w 12747"/>
                <a:gd name="connsiteY50" fmla="*/ 1059 h 10760"/>
                <a:gd name="connsiteX51" fmla="*/ 3593 w 12747"/>
                <a:gd name="connsiteY51" fmla="*/ 879 h 10760"/>
                <a:gd name="connsiteX52" fmla="*/ 3708 w 12747"/>
                <a:gd name="connsiteY52" fmla="*/ 580 h 10760"/>
                <a:gd name="connsiteX53" fmla="*/ 3606 w 12747"/>
                <a:gd name="connsiteY53" fmla="*/ 0 h 10760"/>
                <a:gd name="connsiteX54" fmla="*/ 4904 w 12747"/>
                <a:gd name="connsiteY54" fmla="*/ 195 h 10760"/>
                <a:gd name="connsiteX55" fmla="*/ 5940 w 12747"/>
                <a:gd name="connsiteY55" fmla="*/ 1088 h 10760"/>
                <a:gd name="connsiteX56" fmla="*/ 6200 w 12747"/>
                <a:gd name="connsiteY56" fmla="*/ 1091 h 10760"/>
                <a:gd name="connsiteX57" fmla="*/ 6266 w 12747"/>
                <a:gd name="connsiteY57" fmla="*/ 1196 h 10760"/>
                <a:gd name="connsiteX58" fmla="*/ 6482 w 12747"/>
                <a:gd name="connsiteY58" fmla="*/ 1300 h 10760"/>
                <a:gd name="connsiteX59" fmla="*/ 6923 w 12747"/>
                <a:gd name="connsiteY59" fmla="*/ 1256 h 10760"/>
                <a:gd name="connsiteX60" fmla="*/ 6973 w 12747"/>
                <a:gd name="connsiteY60" fmla="*/ 1745 h 10760"/>
                <a:gd name="connsiteX61" fmla="*/ 7254 w 12747"/>
                <a:gd name="connsiteY61" fmla="*/ 1596 h 10760"/>
                <a:gd name="connsiteX62" fmla="*/ 7769 w 12747"/>
                <a:gd name="connsiteY62" fmla="*/ 1755 h 10760"/>
                <a:gd name="connsiteX63" fmla="*/ 8506 w 12747"/>
                <a:gd name="connsiteY63" fmla="*/ 1218 h 10760"/>
                <a:gd name="connsiteX64" fmla="*/ 8930 w 12747"/>
                <a:gd name="connsiteY64" fmla="*/ 983 h 10760"/>
                <a:gd name="connsiteX65" fmla="*/ 9948 w 12747"/>
                <a:gd name="connsiteY65" fmla="*/ 1065 h 10760"/>
                <a:gd name="connsiteX66" fmla="*/ 10325 w 12747"/>
                <a:gd name="connsiteY66" fmla="*/ 1177 h 10760"/>
                <a:gd name="connsiteX67" fmla="*/ 10651 w 12747"/>
                <a:gd name="connsiteY67" fmla="*/ 721 h 10760"/>
                <a:gd name="connsiteX68" fmla="*/ 10933 w 12747"/>
                <a:gd name="connsiteY68" fmla="*/ 1213 h 10760"/>
                <a:gd name="connsiteX69" fmla="*/ 10545 w 12747"/>
                <a:gd name="connsiteY69" fmla="*/ 1544 h 10760"/>
                <a:gd name="connsiteX70" fmla="*/ 11165 w 12747"/>
                <a:gd name="connsiteY70" fmla="*/ 1477 h 10760"/>
                <a:gd name="connsiteX71" fmla="*/ 11743 w 12747"/>
                <a:gd name="connsiteY71" fmla="*/ 1744 h 10760"/>
                <a:gd name="connsiteX72" fmla="*/ 12198 w 12747"/>
                <a:gd name="connsiteY72" fmla="*/ 4405 h 10760"/>
                <a:gd name="connsiteX73" fmla="*/ 12746 w 12747"/>
                <a:gd name="connsiteY73" fmla="*/ 5293 h 10760"/>
                <a:gd name="connsiteX74" fmla="*/ 12334 w 12747"/>
                <a:gd name="connsiteY74" fmla="*/ 5967 h 10760"/>
                <a:gd name="connsiteX75" fmla="*/ 10951 w 12747"/>
                <a:gd name="connsiteY75" fmla="*/ 6232 h 10760"/>
                <a:gd name="connsiteX76" fmla="*/ 9735 w 12747"/>
                <a:gd name="connsiteY76" fmla="*/ 6788 h 10760"/>
                <a:gd name="connsiteX77" fmla="*/ 9098 w 12747"/>
                <a:gd name="connsiteY77" fmla="*/ 6901 h 10760"/>
                <a:gd name="connsiteX78" fmla="*/ 8569 w 12747"/>
                <a:gd name="connsiteY78" fmla="*/ 7088 h 10760"/>
                <a:gd name="connsiteX79" fmla="*/ 9132 w 12747"/>
                <a:gd name="connsiteY79" fmla="*/ 7238 h 10760"/>
                <a:gd name="connsiteX80" fmla="*/ 9602 w 12747"/>
                <a:gd name="connsiteY80" fmla="*/ 7626 h 10760"/>
                <a:gd name="connsiteX81" fmla="*/ 9977 w 12747"/>
                <a:gd name="connsiteY81" fmla="*/ 8372 h 10760"/>
                <a:gd name="connsiteX82" fmla="*/ 10353 w 12747"/>
                <a:gd name="connsiteY82" fmla="*/ 8342 h 10760"/>
                <a:gd name="connsiteX83" fmla="*/ 11339 w 12747"/>
                <a:gd name="connsiteY83" fmla="*/ 9088 h 10760"/>
                <a:gd name="connsiteX84" fmla="*/ 10165 w 12747"/>
                <a:gd name="connsiteY84" fmla="*/ 9894 h 10760"/>
                <a:gd name="connsiteX85" fmla="*/ 10635 w 12747"/>
                <a:gd name="connsiteY85" fmla="*/ 10491 h 10760"/>
                <a:gd name="connsiteX86" fmla="*/ 10447 w 12747"/>
                <a:gd name="connsiteY86" fmla="*/ 10730 h 10760"/>
                <a:gd name="connsiteX87" fmla="*/ 10165 w 12747"/>
                <a:gd name="connsiteY87" fmla="*/ 10491 h 10760"/>
                <a:gd name="connsiteX88" fmla="*/ 8287 w 12747"/>
                <a:gd name="connsiteY88" fmla="*/ 10461 h 10760"/>
                <a:gd name="connsiteX89" fmla="*/ 7959 w 12747"/>
                <a:gd name="connsiteY89" fmla="*/ 10760 h 10760"/>
                <a:gd name="connsiteX90" fmla="*/ 7395 w 12747"/>
                <a:gd name="connsiteY90" fmla="*/ 10730 h 10760"/>
                <a:gd name="connsiteX0" fmla="*/ 7395 w 12747"/>
                <a:gd name="connsiteY0" fmla="*/ 10730 h 10760"/>
                <a:gd name="connsiteX1" fmla="*/ 7489 w 12747"/>
                <a:gd name="connsiteY1" fmla="*/ 9894 h 10760"/>
                <a:gd name="connsiteX2" fmla="*/ 7771 w 12747"/>
                <a:gd name="connsiteY2" fmla="*/ 9088 h 10760"/>
                <a:gd name="connsiteX3" fmla="*/ 6973 w 12747"/>
                <a:gd name="connsiteY3" fmla="*/ 8909 h 10760"/>
                <a:gd name="connsiteX4" fmla="*/ 6738 w 12747"/>
                <a:gd name="connsiteY4" fmla="*/ 8730 h 10760"/>
                <a:gd name="connsiteX5" fmla="*/ 6362 w 12747"/>
                <a:gd name="connsiteY5" fmla="*/ 8820 h 10760"/>
                <a:gd name="connsiteX6" fmla="*/ 6034 w 12747"/>
                <a:gd name="connsiteY6" fmla="*/ 8253 h 10760"/>
                <a:gd name="connsiteX7" fmla="*/ 5470 w 12747"/>
                <a:gd name="connsiteY7" fmla="*/ 7894 h 10760"/>
                <a:gd name="connsiteX8" fmla="*/ 5048 w 12747"/>
                <a:gd name="connsiteY8" fmla="*/ 7924 h 10760"/>
                <a:gd name="connsiteX9" fmla="*/ 5142 w 12747"/>
                <a:gd name="connsiteY9" fmla="*/ 8103 h 10760"/>
                <a:gd name="connsiteX10" fmla="*/ 4672 w 12747"/>
                <a:gd name="connsiteY10" fmla="*/ 8133 h 10760"/>
                <a:gd name="connsiteX11" fmla="*/ 4625 w 12747"/>
                <a:gd name="connsiteY11" fmla="*/ 7447 h 10760"/>
                <a:gd name="connsiteX12" fmla="*/ 3874 w 12747"/>
                <a:gd name="connsiteY12" fmla="*/ 7417 h 10760"/>
                <a:gd name="connsiteX13" fmla="*/ 3968 w 12747"/>
                <a:gd name="connsiteY13" fmla="*/ 7118 h 10760"/>
                <a:gd name="connsiteX14" fmla="*/ 3639 w 12747"/>
                <a:gd name="connsiteY14" fmla="*/ 7029 h 10760"/>
                <a:gd name="connsiteX15" fmla="*/ 3452 w 12747"/>
                <a:gd name="connsiteY15" fmla="*/ 6521 h 10760"/>
                <a:gd name="connsiteX16" fmla="*/ 3780 w 12747"/>
                <a:gd name="connsiteY16" fmla="*/ 6372 h 10760"/>
                <a:gd name="connsiteX17" fmla="*/ 4250 w 12747"/>
                <a:gd name="connsiteY17" fmla="*/ 5984 h 10760"/>
                <a:gd name="connsiteX18" fmla="*/ 3968 w 12747"/>
                <a:gd name="connsiteY18" fmla="*/ 5775 h 10760"/>
                <a:gd name="connsiteX19" fmla="*/ 4531 w 12747"/>
                <a:gd name="connsiteY19" fmla="*/ 5447 h 10760"/>
                <a:gd name="connsiteX20" fmla="*/ 3968 w 12747"/>
                <a:gd name="connsiteY20" fmla="*/ 5447 h 10760"/>
                <a:gd name="connsiteX21" fmla="*/ 3968 w 12747"/>
                <a:gd name="connsiteY21" fmla="*/ 5088 h 10760"/>
                <a:gd name="connsiteX22" fmla="*/ 4156 w 12747"/>
                <a:gd name="connsiteY22" fmla="*/ 4521 h 10760"/>
                <a:gd name="connsiteX23" fmla="*/ 3921 w 12747"/>
                <a:gd name="connsiteY23" fmla="*/ 4044 h 10760"/>
                <a:gd name="connsiteX24" fmla="*/ 4627 w 12747"/>
                <a:gd name="connsiteY24" fmla="*/ 3532 h 10760"/>
                <a:gd name="connsiteX25" fmla="*/ 717 w 12747"/>
                <a:gd name="connsiteY25" fmla="*/ 6342 h 10760"/>
                <a:gd name="connsiteX26" fmla="*/ 4 w 12747"/>
                <a:gd name="connsiteY26" fmla="*/ 5040 h 10760"/>
                <a:gd name="connsiteX27" fmla="*/ 415 w 12747"/>
                <a:gd name="connsiteY27" fmla="*/ 4721 h 10760"/>
                <a:gd name="connsiteX28" fmla="*/ 1051 w 12747"/>
                <a:gd name="connsiteY28" fmla="*/ 4121 h 10760"/>
                <a:gd name="connsiteX29" fmla="*/ 1442 w 12747"/>
                <a:gd name="connsiteY29" fmla="*/ 3784 h 10760"/>
                <a:gd name="connsiteX30" fmla="*/ 1107 w 12747"/>
                <a:gd name="connsiteY30" fmla="*/ 3358 h 10760"/>
                <a:gd name="connsiteX31" fmla="*/ 1508 w 12747"/>
                <a:gd name="connsiteY31" fmla="*/ 2950 h 10760"/>
                <a:gd name="connsiteX32" fmla="*/ 1180 w 12747"/>
                <a:gd name="connsiteY32" fmla="*/ 2316 h 10760"/>
                <a:gd name="connsiteX33" fmla="*/ 1527 w 12747"/>
                <a:gd name="connsiteY33" fmla="*/ 2820 h 10760"/>
                <a:gd name="connsiteX34" fmla="*/ 1339 w 12747"/>
                <a:gd name="connsiteY34" fmla="*/ 2790 h 10760"/>
                <a:gd name="connsiteX35" fmla="*/ 1697 w 12747"/>
                <a:gd name="connsiteY35" fmla="*/ 1986 h 10760"/>
                <a:gd name="connsiteX36" fmla="*/ 2346 w 12747"/>
                <a:gd name="connsiteY36" fmla="*/ 1999 h 10760"/>
                <a:gd name="connsiteX37" fmla="*/ 3123 w 12747"/>
                <a:gd name="connsiteY37" fmla="*/ 2461 h 10760"/>
                <a:gd name="connsiteX38" fmla="*/ 2047 w 12747"/>
                <a:gd name="connsiteY38" fmla="*/ 2015 h 10760"/>
                <a:gd name="connsiteX39" fmla="*/ 2358 w 12747"/>
                <a:gd name="connsiteY39" fmla="*/ 2021 h 10760"/>
                <a:gd name="connsiteX40" fmla="*/ 2520 w 12747"/>
                <a:gd name="connsiteY40" fmla="*/ 2083 h 10760"/>
                <a:gd name="connsiteX41" fmla="*/ 2995 w 12747"/>
                <a:gd name="connsiteY41" fmla="*/ 2449 h 10760"/>
                <a:gd name="connsiteX42" fmla="*/ 3193 w 12747"/>
                <a:gd name="connsiteY42" fmla="*/ 2178 h 10760"/>
                <a:gd name="connsiteX43" fmla="*/ 3519 w 12747"/>
                <a:gd name="connsiteY43" fmla="*/ 1886 h 10760"/>
                <a:gd name="connsiteX44" fmla="*/ 3644 w 12747"/>
                <a:gd name="connsiteY44" fmla="*/ 1793 h 10760"/>
                <a:gd name="connsiteX45" fmla="*/ 4344 w 12747"/>
                <a:gd name="connsiteY45" fmla="*/ 1805 h 10760"/>
                <a:gd name="connsiteX46" fmla="*/ 4062 w 12747"/>
                <a:gd name="connsiteY46" fmla="*/ 1835 h 10760"/>
                <a:gd name="connsiteX47" fmla="*/ 3874 w 12747"/>
                <a:gd name="connsiteY47" fmla="*/ 1596 h 10760"/>
                <a:gd name="connsiteX48" fmla="*/ 3857 w 12747"/>
                <a:gd name="connsiteY48" fmla="*/ 1359 h 10760"/>
                <a:gd name="connsiteX49" fmla="*/ 3905 w 12747"/>
                <a:gd name="connsiteY49" fmla="*/ 1009 h 10760"/>
                <a:gd name="connsiteX50" fmla="*/ 3639 w 12747"/>
                <a:gd name="connsiteY50" fmla="*/ 1059 h 10760"/>
                <a:gd name="connsiteX51" fmla="*/ 3593 w 12747"/>
                <a:gd name="connsiteY51" fmla="*/ 879 h 10760"/>
                <a:gd name="connsiteX52" fmla="*/ 3708 w 12747"/>
                <a:gd name="connsiteY52" fmla="*/ 580 h 10760"/>
                <a:gd name="connsiteX53" fmla="*/ 3606 w 12747"/>
                <a:gd name="connsiteY53" fmla="*/ 0 h 10760"/>
                <a:gd name="connsiteX54" fmla="*/ 4904 w 12747"/>
                <a:gd name="connsiteY54" fmla="*/ 195 h 10760"/>
                <a:gd name="connsiteX55" fmla="*/ 5940 w 12747"/>
                <a:gd name="connsiteY55" fmla="*/ 1088 h 10760"/>
                <a:gd name="connsiteX56" fmla="*/ 6200 w 12747"/>
                <a:gd name="connsiteY56" fmla="*/ 1091 h 10760"/>
                <a:gd name="connsiteX57" fmla="*/ 6266 w 12747"/>
                <a:gd name="connsiteY57" fmla="*/ 1196 h 10760"/>
                <a:gd name="connsiteX58" fmla="*/ 6482 w 12747"/>
                <a:gd name="connsiteY58" fmla="*/ 1300 h 10760"/>
                <a:gd name="connsiteX59" fmla="*/ 6923 w 12747"/>
                <a:gd name="connsiteY59" fmla="*/ 1256 h 10760"/>
                <a:gd name="connsiteX60" fmla="*/ 6973 w 12747"/>
                <a:gd name="connsiteY60" fmla="*/ 1745 h 10760"/>
                <a:gd name="connsiteX61" fmla="*/ 7254 w 12747"/>
                <a:gd name="connsiteY61" fmla="*/ 1596 h 10760"/>
                <a:gd name="connsiteX62" fmla="*/ 7769 w 12747"/>
                <a:gd name="connsiteY62" fmla="*/ 1755 h 10760"/>
                <a:gd name="connsiteX63" fmla="*/ 8506 w 12747"/>
                <a:gd name="connsiteY63" fmla="*/ 1218 h 10760"/>
                <a:gd name="connsiteX64" fmla="*/ 8930 w 12747"/>
                <a:gd name="connsiteY64" fmla="*/ 983 h 10760"/>
                <a:gd name="connsiteX65" fmla="*/ 9948 w 12747"/>
                <a:gd name="connsiteY65" fmla="*/ 1065 h 10760"/>
                <a:gd name="connsiteX66" fmla="*/ 10325 w 12747"/>
                <a:gd name="connsiteY66" fmla="*/ 1177 h 10760"/>
                <a:gd name="connsiteX67" fmla="*/ 10651 w 12747"/>
                <a:gd name="connsiteY67" fmla="*/ 721 h 10760"/>
                <a:gd name="connsiteX68" fmla="*/ 10933 w 12747"/>
                <a:gd name="connsiteY68" fmla="*/ 1213 h 10760"/>
                <a:gd name="connsiteX69" fmla="*/ 10545 w 12747"/>
                <a:gd name="connsiteY69" fmla="*/ 1544 h 10760"/>
                <a:gd name="connsiteX70" fmla="*/ 11165 w 12747"/>
                <a:gd name="connsiteY70" fmla="*/ 1477 h 10760"/>
                <a:gd name="connsiteX71" fmla="*/ 11743 w 12747"/>
                <a:gd name="connsiteY71" fmla="*/ 1744 h 10760"/>
                <a:gd name="connsiteX72" fmla="*/ 12198 w 12747"/>
                <a:gd name="connsiteY72" fmla="*/ 4405 h 10760"/>
                <a:gd name="connsiteX73" fmla="*/ 12746 w 12747"/>
                <a:gd name="connsiteY73" fmla="*/ 5293 h 10760"/>
                <a:gd name="connsiteX74" fmla="*/ 12334 w 12747"/>
                <a:gd name="connsiteY74" fmla="*/ 5967 h 10760"/>
                <a:gd name="connsiteX75" fmla="*/ 10951 w 12747"/>
                <a:gd name="connsiteY75" fmla="*/ 6232 h 10760"/>
                <a:gd name="connsiteX76" fmla="*/ 9735 w 12747"/>
                <a:gd name="connsiteY76" fmla="*/ 6788 h 10760"/>
                <a:gd name="connsiteX77" fmla="*/ 9098 w 12747"/>
                <a:gd name="connsiteY77" fmla="*/ 6901 h 10760"/>
                <a:gd name="connsiteX78" fmla="*/ 8569 w 12747"/>
                <a:gd name="connsiteY78" fmla="*/ 7088 h 10760"/>
                <a:gd name="connsiteX79" fmla="*/ 9132 w 12747"/>
                <a:gd name="connsiteY79" fmla="*/ 7238 h 10760"/>
                <a:gd name="connsiteX80" fmla="*/ 9602 w 12747"/>
                <a:gd name="connsiteY80" fmla="*/ 7626 h 10760"/>
                <a:gd name="connsiteX81" fmla="*/ 9977 w 12747"/>
                <a:gd name="connsiteY81" fmla="*/ 8372 h 10760"/>
                <a:gd name="connsiteX82" fmla="*/ 10353 w 12747"/>
                <a:gd name="connsiteY82" fmla="*/ 8342 h 10760"/>
                <a:gd name="connsiteX83" fmla="*/ 11339 w 12747"/>
                <a:gd name="connsiteY83" fmla="*/ 9088 h 10760"/>
                <a:gd name="connsiteX84" fmla="*/ 10165 w 12747"/>
                <a:gd name="connsiteY84" fmla="*/ 9894 h 10760"/>
                <a:gd name="connsiteX85" fmla="*/ 10635 w 12747"/>
                <a:gd name="connsiteY85" fmla="*/ 10491 h 10760"/>
                <a:gd name="connsiteX86" fmla="*/ 10447 w 12747"/>
                <a:gd name="connsiteY86" fmla="*/ 10730 h 10760"/>
                <a:gd name="connsiteX87" fmla="*/ 10165 w 12747"/>
                <a:gd name="connsiteY87" fmla="*/ 10491 h 10760"/>
                <a:gd name="connsiteX88" fmla="*/ 8287 w 12747"/>
                <a:gd name="connsiteY88" fmla="*/ 10461 h 10760"/>
                <a:gd name="connsiteX89" fmla="*/ 7959 w 12747"/>
                <a:gd name="connsiteY89" fmla="*/ 10760 h 10760"/>
                <a:gd name="connsiteX90" fmla="*/ 7395 w 12747"/>
                <a:gd name="connsiteY90" fmla="*/ 10730 h 10760"/>
                <a:gd name="connsiteX0" fmla="*/ 7397 w 12749"/>
                <a:gd name="connsiteY0" fmla="*/ 10730 h 10760"/>
                <a:gd name="connsiteX1" fmla="*/ 7491 w 12749"/>
                <a:gd name="connsiteY1" fmla="*/ 9894 h 10760"/>
                <a:gd name="connsiteX2" fmla="*/ 7773 w 12749"/>
                <a:gd name="connsiteY2" fmla="*/ 9088 h 10760"/>
                <a:gd name="connsiteX3" fmla="*/ 6975 w 12749"/>
                <a:gd name="connsiteY3" fmla="*/ 8909 h 10760"/>
                <a:gd name="connsiteX4" fmla="*/ 6740 w 12749"/>
                <a:gd name="connsiteY4" fmla="*/ 8730 h 10760"/>
                <a:gd name="connsiteX5" fmla="*/ 6364 w 12749"/>
                <a:gd name="connsiteY5" fmla="*/ 8820 h 10760"/>
                <a:gd name="connsiteX6" fmla="*/ 6036 w 12749"/>
                <a:gd name="connsiteY6" fmla="*/ 8253 h 10760"/>
                <a:gd name="connsiteX7" fmla="*/ 5472 w 12749"/>
                <a:gd name="connsiteY7" fmla="*/ 7894 h 10760"/>
                <a:gd name="connsiteX8" fmla="*/ 5050 w 12749"/>
                <a:gd name="connsiteY8" fmla="*/ 7924 h 10760"/>
                <a:gd name="connsiteX9" fmla="*/ 5144 w 12749"/>
                <a:gd name="connsiteY9" fmla="*/ 8103 h 10760"/>
                <a:gd name="connsiteX10" fmla="*/ 4674 w 12749"/>
                <a:gd name="connsiteY10" fmla="*/ 8133 h 10760"/>
                <a:gd name="connsiteX11" fmla="*/ 4627 w 12749"/>
                <a:gd name="connsiteY11" fmla="*/ 7447 h 10760"/>
                <a:gd name="connsiteX12" fmla="*/ 3876 w 12749"/>
                <a:gd name="connsiteY12" fmla="*/ 7417 h 10760"/>
                <a:gd name="connsiteX13" fmla="*/ 3970 w 12749"/>
                <a:gd name="connsiteY13" fmla="*/ 7118 h 10760"/>
                <a:gd name="connsiteX14" fmla="*/ 3641 w 12749"/>
                <a:gd name="connsiteY14" fmla="*/ 7029 h 10760"/>
                <a:gd name="connsiteX15" fmla="*/ 3454 w 12749"/>
                <a:gd name="connsiteY15" fmla="*/ 6521 h 10760"/>
                <a:gd name="connsiteX16" fmla="*/ 3782 w 12749"/>
                <a:gd name="connsiteY16" fmla="*/ 6372 h 10760"/>
                <a:gd name="connsiteX17" fmla="*/ 4252 w 12749"/>
                <a:gd name="connsiteY17" fmla="*/ 5984 h 10760"/>
                <a:gd name="connsiteX18" fmla="*/ 3970 w 12749"/>
                <a:gd name="connsiteY18" fmla="*/ 5775 h 10760"/>
                <a:gd name="connsiteX19" fmla="*/ 4533 w 12749"/>
                <a:gd name="connsiteY19" fmla="*/ 5447 h 10760"/>
                <a:gd name="connsiteX20" fmla="*/ 3970 w 12749"/>
                <a:gd name="connsiteY20" fmla="*/ 5447 h 10760"/>
                <a:gd name="connsiteX21" fmla="*/ 3970 w 12749"/>
                <a:gd name="connsiteY21" fmla="*/ 5088 h 10760"/>
                <a:gd name="connsiteX22" fmla="*/ 4158 w 12749"/>
                <a:gd name="connsiteY22" fmla="*/ 4521 h 10760"/>
                <a:gd name="connsiteX23" fmla="*/ 3923 w 12749"/>
                <a:gd name="connsiteY23" fmla="*/ 4044 h 10760"/>
                <a:gd name="connsiteX24" fmla="*/ 4629 w 12749"/>
                <a:gd name="connsiteY24" fmla="*/ 3532 h 10760"/>
                <a:gd name="connsiteX25" fmla="*/ 719 w 12749"/>
                <a:gd name="connsiteY25" fmla="*/ 6342 h 10760"/>
                <a:gd name="connsiteX26" fmla="*/ 6 w 12749"/>
                <a:gd name="connsiteY26" fmla="*/ 5040 h 10760"/>
                <a:gd name="connsiteX27" fmla="*/ 271 w 12749"/>
                <a:gd name="connsiteY27" fmla="*/ 4643 h 10760"/>
                <a:gd name="connsiteX28" fmla="*/ 1053 w 12749"/>
                <a:gd name="connsiteY28" fmla="*/ 4121 h 10760"/>
                <a:gd name="connsiteX29" fmla="*/ 1444 w 12749"/>
                <a:gd name="connsiteY29" fmla="*/ 3784 h 10760"/>
                <a:gd name="connsiteX30" fmla="*/ 1109 w 12749"/>
                <a:gd name="connsiteY30" fmla="*/ 3358 h 10760"/>
                <a:gd name="connsiteX31" fmla="*/ 1510 w 12749"/>
                <a:gd name="connsiteY31" fmla="*/ 2950 h 10760"/>
                <a:gd name="connsiteX32" fmla="*/ 1182 w 12749"/>
                <a:gd name="connsiteY32" fmla="*/ 2316 h 10760"/>
                <a:gd name="connsiteX33" fmla="*/ 1529 w 12749"/>
                <a:gd name="connsiteY33" fmla="*/ 2820 h 10760"/>
                <a:gd name="connsiteX34" fmla="*/ 1341 w 12749"/>
                <a:gd name="connsiteY34" fmla="*/ 2790 h 10760"/>
                <a:gd name="connsiteX35" fmla="*/ 1699 w 12749"/>
                <a:gd name="connsiteY35" fmla="*/ 1986 h 10760"/>
                <a:gd name="connsiteX36" fmla="*/ 2348 w 12749"/>
                <a:gd name="connsiteY36" fmla="*/ 1999 h 10760"/>
                <a:gd name="connsiteX37" fmla="*/ 3125 w 12749"/>
                <a:gd name="connsiteY37" fmla="*/ 2461 h 10760"/>
                <a:gd name="connsiteX38" fmla="*/ 2049 w 12749"/>
                <a:gd name="connsiteY38" fmla="*/ 2015 h 10760"/>
                <a:gd name="connsiteX39" fmla="*/ 2360 w 12749"/>
                <a:gd name="connsiteY39" fmla="*/ 2021 h 10760"/>
                <a:gd name="connsiteX40" fmla="*/ 2522 w 12749"/>
                <a:gd name="connsiteY40" fmla="*/ 2083 h 10760"/>
                <a:gd name="connsiteX41" fmla="*/ 2997 w 12749"/>
                <a:gd name="connsiteY41" fmla="*/ 2449 h 10760"/>
                <a:gd name="connsiteX42" fmla="*/ 3195 w 12749"/>
                <a:gd name="connsiteY42" fmla="*/ 2178 h 10760"/>
                <a:gd name="connsiteX43" fmla="*/ 3521 w 12749"/>
                <a:gd name="connsiteY43" fmla="*/ 1886 h 10760"/>
                <a:gd name="connsiteX44" fmla="*/ 3646 w 12749"/>
                <a:gd name="connsiteY44" fmla="*/ 1793 h 10760"/>
                <a:gd name="connsiteX45" fmla="*/ 4346 w 12749"/>
                <a:gd name="connsiteY45" fmla="*/ 1805 h 10760"/>
                <a:gd name="connsiteX46" fmla="*/ 4064 w 12749"/>
                <a:gd name="connsiteY46" fmla="*/ 1835 h 10760"/>
                <a:gd name="connsiteX47" fmla="*/ 3876 w 12749"/>
                <a:gd name="connsiteY47" fmla="*/ 1596 h 10760"/>
                <a:gd name="connsiteX48" fmla="*/ 3859 w 12749"/>
                <a:gd name="connsiteY48" fmla="*/ 1359 h 10760"/>
                <a:gd name="connsiteX49" fmla="*/ 3907 w 12749"/>
                <a:gd name="connsiteY49" fmla="*/ 1009 h 10760"/>
                <a:gd name="connsiteX50" fmla="*/ 3641 w 12749"/>
                <a:gd name="connsiteY50" fmla="*/ 1059 h 10760"/>
                <a:gd name="connsiteX51" fmla="*/ 3595 w 12749"/>
                <a:gd name="connsiteY51" fmla="*/ 879 h 10760"/>
                <a:gd name="connsiteX52" fmla="*/ 3710 w 12749"/>
                <a:gd name="connsiteY52" fmla="*/ 580 h 10760"/>
                <a:gd name="connsiteX53" fmla="*/ 3608 w 12749"/>
                <a:gd name="connsiteY53" fmla="*/ 0 h 10760"/>
                <a:gd name="connsiteX54" fmla="*/ 4906 w 12749"/>
                <a:gd name="connsiteY54" fmla="*/ 195 h 10760"/>
                <a:gd name="connsiteX55" fmla="*/ 5942 w 12749"/>
                <a:gd name="connsiteY55" fmla="*/ 1088 h 10760"/>
                <a:gd name="connsiteX56" fmla="*/ 6202 w 12749"/>
                <a:gd name="connsiteY56" fmla="*/ 1091 h 10760"/>
                <a:gd name="connsiteX57" fmla="*/ 6268 w 12749"/>
                <a:gd name="connsiteY57" fmla="*/ 1196 h 10760"/>
                <a:gd name="connsiteX58" fmla="*/ 6484 w 12749"/>
                <a:gd name="connsiteY58" fmla="*/ 1300 h 10760"/>
                <a:gd name="connsiteX59" fmla="*/ 6925 w 12749"/>
                <a:gd name="connsiteY59" fmla="*/ 1256 h 10760"/>
                <a:gd name="connsiteX60" fmla="*/ 6975 w 12749"/>
                <a:gd name="connsiteY60" fmla="*/ 1745 h 10760"/>
                <a:gd name="connsiteX61" fmla="*/ 7256 w 12749"/>
                <a:gd name="connsiteY61" fmla="*/ 1596 h 10760"/>
                <a:gd name="connsiteX62" fmla="*/ 7771 w 12749"/>
                <a:gd name="connsiteY62" fmla="*/ 1755 h 10760"/>
                <a:gd name="connsiteX63" fmla="*/ 8508 w 12749"/>
                <a:gd name="connsiteY63" fmla="*/ 1218 h 10760"/>
                <a:gd name="connsiteX64" fmla="*/ 8932 w 12749"/>
                <a:gd name="connsiteY64" fmla="*/ 983 h 10760"/>
                <a:gd name="connsiteX65" fmla="*/ 9950 w 12749"/>
                <a:gd name="connsiteY65" fmla="*/ 1065 h 10760"/>
                <a:gd name="connsiteX66" fmla="*/ 10327 w 12749"/>
                <a:gd name="connsiteY66" fmla="*/ 1177 h 10760"/>
                <a:gd name="connsiteX67" fmla="*/ 10653 w 12749"/>
                <a:gd name="connsiteY67" fmla="*/ 721 h 10760"/>
                <a:gd name="connsiteX68" fmla="*/ 10935 w 12749"/>
                <a:gd name="connsiteY68" fmla="*/ 1213 h 10760"/>
                <a:gd name="connsiteX69" fmla="*/ 10547 w 12749"/>
                <a:gd name="connsiteY69" fmla="*/ 1544 h 10760"/>
                <a:gd name="connsiteX70" fmla="*/ 11167 w 12749"/>
                <a:gd name="connsiteY70" fmla="*/ 1477 h 10760"/>
                <a:gd name="connsiteX71" fmla="*/ 11745 w 12749"/>
                <a:gd name="connsiteY71" fmla="*/ 1744 h 10760"/>
                <a:gd name="connsiteX72" fmla="*/ 12200 w 12749"/>
                <a:gd name="connsiteY72" fmla="*/ 4405 h 10760"/>
                <a:gd name="connsiteX73" fmla="*/ 12748 w 12749"/>
                <a:gd name="connsiteY73" fmla="*/ 5293 h 10760"/>
                <a:gd name="connsiteX74" fmla="*/ 12336 w 12749"/>
                <a:gd name="connsiteY74" fmla="*/ 5967 h 10760"/>
                <a:gd name="connsiteX75" fmla="*/ 10953 w 12749"/>
                <a:gd name="connsiteY75" fmla="*/ 6232 h 10760"/>
                <a:gd name="connsiteX76" fmla="*/ 9737 w 12749"/>
                <a:gd name="connsiteY76" fmla="*/ 6788 h 10760"/>
                <a:gd name="connsiteX77" fmla="*/ 9100 w 12749"/>
                <a:gd name="connsiteY77" fmla="*/ 6901 h 10760"/>
                <a:gd name="connsiteX78" fmla="*/ 8571 w 12749"/>
                <a:gd name="connsiteY78" fmla="*/ 7088 h 10760"/>
                <a:gd name="connsiteX79" fmla="*/ 9134 w 12749"/>
                <a:gd name="connsiteY79" fmla="*/ 7238 h 10760"/>
                <a:gd name="connsiteX80" fmla="*/ 9604 w 12749"/>
                <a:gd name="connsiteY80" fmla="*/ 7626 h 10760"/>
                <a:gd name="connsiteX81" fmla="*/ 9979 w 12749"/>
                <a:gd name="connsiteY81" fmla="*/ 8372 h 10760"/>
                <a:gd name="connsiteX82" fmla="*/ 10355 w 12749"/>
                <a:gd name="connsiteY82" fmla="*/ 8342 h 10760"/>
                <a:gd name="connsiteX83" fmla="*/ 11341 w 12749"/>
                <a:gd name="connsiteY83" fmla="*/ 9088 h 10760"/>
                <a:gd name="connsiteX84" fmla="*/ 10167 w 12749"/>
                <a:gd name="connsiteY84" fmla="*/ 9894 h 10760"/>
                <a:gd name="connsiteX85" fmla="*/ 10637 w 12749"/>
                <a:gd name="connsiteY85" fmla="*/ 10491 h 10760"/>
                <a:gd name="connsiteX86" fmla="*/ 10449 w 12749"/>
                <a:gd name="connsiteY86" fmla="*/ 10730 h 10760"/>
                <a:gd name="connsiteX87" fmla="*/ 10167 w 12749"/>
                <a:gd name="connsiteY87" fmla="*/ 10491 h 10760"/>
                <a:gd name="connsiteX88" fmla="*/ 8289 w 12749"/>
                <a:gd name="connsiteY88" fmla="*/ 10461 h 10760"/>
                <a:gd name="connsiteX89" fmla="*/ 7961 w 12749"/>
                <a:gd name="connsiteY89" fmla="*/ 10760 h 10760"/>
                <a:gd name="connsiteX90" fmla="*/ 7397 w 12749"/>
                <a:gd name="connsiteY90" fmla="*/ 10730 h 10760"/>
                <a:gd name="connsiteX0" fmla="*/ 7402 w 12754"/>
                <a:gd name="connsiteY0" fmla="*/ 10730 h 10760"/>
                <a:gd name="connsiteX1" fmla="*/ 7496 w 12754"/>
                <a:gd name="connsiteY1" fmla="*/ 9894 h 10760"/>
                <a:gd name="connsiteX2" fmla="*/ 7778 w 12754"/>
                <a:gd name="connsiteY2" fmla="*/ 9088 h 10760"/>
                <a:gd name="connsiteX3" fmla="*/ 6980 w 12754"/>
                <a:gd name="connsiteY3" fmla="*/ 8909 h 10760"/>
                <a:gd name="connsiteX4" fmla="*/ 6745 w 12754"/>
                <a:gd name="connsiteY4" fmla="*/ 8730 h 10760"/>
                <a:gd name="connsiteX5" fmla="*/ 6369 w 12754"/>
                <a:gd name="connsiteY5" fmla="*/ 8820 h 10760"/>
                <a:gd name="connsiteX6" fmla="*/ 6041 w 12754"/>
                <a:gd name="connsiteY6" fmla="*/ 8253 h 10760"/>
                <a:gd name="connsiteX7" fmla="*/ 5477 w 12754"/>
                <a:gd name="connsiteY7" fmla="*/ 7894 h 10760"/>
                <a:gd name="connsiteX8" fmla="*/ 5055 w 12754"/>
                <a:gd name="connsiteY8" fmla="*/ 7924 h 10760"/>
                <a:gd name="connsiteX9" fmla="*/ 5149 w 12754"/>
                <a:gd name="connsiteY9" fmla="*/ 8103 h 10760"/>
                <a:gd name="connsiteX10" fmla="*/ 4679 w 12754"/>
                <a:gd name="connsiteY10" fmla="*/ 8133 h 10760"/>
                <a:gd name="connsiteX11" fmla="*/ 4632 w 12754"/>
                <a:gd name="connsiteY11" fmla="*/ 7447 h 10760"/>
                <a:gd name="connsiteX12" fmla="*/ 3881 w 12754"/>
                <a:gd name="connsiteY12" fmla="*/ 7417 h 10760"/>
                <a:gd name="connsiteX13" fmla="*/ 3975 w 12754"/>
                <a:gd name="connsiteY13" fmla="*/ 7118 h 10760"/>
                <a:gd name="connsiteX14" fmla="*/ 3646 w 12754"/>
                <a:gd name="connsiteY14" fmla="*/ 7029 h 10760"/>
                <a:gd name="connsiteX15" fmla="*/ 3459 w 12754"/>
                <a:gd name="connsiteY15" fmla="*/ 6521 h 10760"/>
                <a:gd name="connsiteX16" fmla="*/ 3787 w 12754"/>
                <a:gd name="connsiteY16" fmla="*/ 6372 h 10760"/>
                <a:gd name="connsiteX17" fmla="*/ 4257 w 12754"/>
                <a:gd name="connsiteY17" fmla="*/ 5984 h 10760"/>
                <a:gd name="connsiteX18" fmla="*/ 3975 w 12754"/>
                <a:gd name="connsiteY18" fmla="*/ 5775 h 10760"/>
                <a:gd name="connsiteX19" fmla="*/ 4538 w 12754"/>
                <a:gd name="connsiteY19" fmla="*/ 5447 h 10760"/>
                <a:gd name="connsiteX20" fmla="*/ 3975 w 12754"/>
                <a:gd name="connsiteY20" fmla="*/ 5447 h 10760"/>
                <a:gd name="connsiteX21" fmla="*/ 3975 w 12754"/>
                <a:gd name="connsiteY21" fmla="*/ 5088 h 10760"/>
                <a:gd name="connsiteX22" fmla="*/ 4163 w 12754"/>
                <a:gd name="connsiteY22" fmla="*/ 4521 h 10760"/>
                <a:gd name="connsiteX23" fmla="*/ 3928 w 12754"/>
                <a:gd name="connsiteY23" fmla="*/ 4044 h 10760"/>
                <a:gd name="connsiteX24" fmla="*/ 4634 w 12754"/>
                <a:gd name="connsiteY24" fmla="*/ 3532 h 10760"/>
                <a:gd name="connsiteX25" fmla="*/ 724 w 12754"/>
                <a:gd name="connsiteY25" fmla="*/ 6342 h 10760"/>
                <a:gd name="connsiteX26" fmla="*/ 11 w 12754"/>
                <a:gd name="connsiteY26" fmla="*/ 5040 h 10760"/>
                <a:gd name="connsiteX27" fmla="*/ 137 w 12754"/>
                <a:gd name="connsiteY27" fmla="*/ 4771 h 10760"/>
                <a:gd name="connsiteX28" fmla="*/ 1058 w 12754"/>
                <a:gd name="connsiteY28" fmla="*/ 4121 h 10760"/>
                <a:gd name="connsiteX29" fmla="*/ 1449 w 12754"/>
                <a:gd name="connsiteY29" fmla="*/ 3784 h 10760"/>
                <a:gd name="connsiteX30" fmla="*/ 1114 w 12754"/>
                <a:gd name="connsiteY30" fmla="*/ 3358 h 10760"/>
                <a:gd name="connsiteX31" fmla="*/ 1515 w 12754"/>
                <a:gd name="connsiteY31" fmla="*/ 2950 h 10760"/>
                <a:gd name="connsiteX32" fmla="*/ 1187 w 12754"/>
                <a:gd name="connsiteY32" fmla="*/ 2316 h 10760"/>
                <a:gd name="connsiteX33" fmla="*/ 1534 w 12754"/>
                <a:gd name="connsiteY33" fmla="*/ 2820 h 10760"/>
                <a:gd name="connsiteX34" fmla="*/ 1346 w 12754"/>
                <a:gd name="connsiteY34" fmla="*/ 2790 h 10760"/>
                <a:gd name="connsiteX35" fmla="*/ 1704 w 12754"/>
                <a:gd name="connsiteY35" fmla="*/ 1986 h 10760"/>
                <a:gd name="connsiteX36" fmla="*/ 2353 w 12754"/>
                <a:gd name="connsiteY36" fmla="*/ 1999 h 10760"/>
                <a:gd name="connsiteX37" fmla="*/ 3130 w 12754"/>
                <a:gd name="connsiteY37" fmla="*/ 2461 h 10760"/>
                <a:gd name="connsiteX38" fmla="*/ 2054 w 12754"/>
                <a:gd name="connsiteY38" fmla="*/ 2015 h 10760"/>
                <a:gd name="connsiteX39" fmla="*/ 2365 w 12754"/>
                <a:gd name="connsiteY39" fmla="*/ 2021 h 10760"/>
                <a:gd name="connsiteX40" fmla="*/ 2527 w 12754"/>
                <a:gd name="connsiteY40" fmla="*/ 2083 h 10760"/>
                <a:gd name="connsiteX41" fmla="*/ 3002 w 12754"/>
                <a:gd name="connsiteY41" fmla="*/ 2449 h 10760"/>
                <a:gd name="connsiteX42" fmla="*/ 3200 w 12754"/>
                <a:gd name="connsiteY42" fmla="*/ 2178 h 10760"/>
                <a:gd name="connsiteX43" fmla="*/ 3526 w 12754"/>
                <a:gd name="connsiteY43" fmla="*/ 1886 h 10760"/>
                <a:gd name="connsiteX44" fmla="*/ 3651 w 12754"/>
                <a:gd name="connsiteY44" fmla="*/ 1793 h 10760"/>
                <a:gd name="connsiteX45" fmla="*/ 4351 w 12754"/>
                <a:gd name="connsiteY45" fmla="*/ 1805 h 10760"/>
                <a:gd name="connsiteX46" fmla="*/ 4069 w 12754"/>
                <a:gd name="connsiteY46" fmla="*/ 1835 h 10760"/>
                <a:gd name="connsiteX47" fmla="*/ 3881 w 12754"/>
                <a:gd name="connsiteY47" fmla="*/ 1596 h 10760"/>
                <a:gd name="connsiteX48" fmla="*/ 3864 w 12754"/>
                <a:gd name="connsiteY48" fmla="*/ 1359 h 10760"/>
                <a:gd name="connsiteX49" fmla="*/ 3912 w 12754"/>
                <a:gd name="connsiteY49" fmla="*/ 1009 h 10760"/>
                <a:gd name="connsiteX50" fmla="*/ 3646 w 12754"/>
                <a:gd name="connsiteY50" fmla="*/ 1059 h 10760"/>
                <a:gd name="connsiteX51" fmla="*/ 3600 w 12754"/>
                <a:gd name="connsiteY51" fmla="*/ 879 h 10760"/>
                <a:gd name="connsiteX52" fmla="*/ 3715 w 12754"/>
                <a:gd name="connsiteY52" fmla="*/ 580 h 10760"/>
                <a:gd name="connsiteX53" fmla="*/ 3613 w 12754"/>
                <a:gd name="connsiteY53" fmla="*/ 0 h 10760"/>
                <a:gd name="connsiteX54" fmla="*/ 4911 w 12754"/>
                <a:gd name="connsiteY54" fmla="*/ 195 h 10760"/>
                <a:gd name="connsiteX55" fmla="*/ 5947 w 12754"/>
                <a:gd name="connsiteY55" fmla="*/ 1088 h 10760"/>
                <a:gd name="connsiteX56" fmla="*/ 6207 w 12754"/>
                <a:gd name="connsiteY56" fmla="*/ 1091 h 10760"/>
                <a:gd name="connsiteX57" fmla="*/ 6273 w 12754"/>
                <a:gd name="connsiteY57" fmla="*/ 1196 h 10760"/>
                <a:gd name="connsiteX58" fmla="*/ 6489 w 12754"/>
                <a:gd name="connsiteY58" fmla="*/ 1300 h 10760"/>
                <a:gd name="connsiteX59" fmla="*/ 6930 w 12754"/>
                <a:gd name="connsiteY59" fmla="*/ 1256 h 10760"/>
                <a:gd name="connsiteX60" fmla="*/ 6980 w 12754"/>
                <a:gd name="connsiteY60" fmla="*/ 1745 h 10760"/>
                <a:gd name="connsiteX61" fmla="*/ 7261 w 12754"/>
                <a:gd name="connsiteY61" fmla="*/ 1596 h 10760"/>
                <a:gd name="connsiteX62" fmla="*/ 7776 w 12754"/>
                <a:gd name="connsiteY62" fmla="*/ 1755 h 10760"/>
                <a:gd name="connsiteX63" fmla="*/ 8513 w 12754"/>
                <a:gd name="connsiteY63" fmla="*/ 1218 h 10760"/>
                <a:gd name="connsiteX64" fmla="*/ 8937 w 12754"/>
                <a:gd name="connsiteY64" fmla="*/ 983 h 10760"/>
                <a:gd name="connsiteX65" fmla="*/ 9955 w 12754"/>
                <a:gd name="connsiteY65" fmla="*/ 1065 h 10760"/>
                <a:gd name="connsiteX66" fmla="*/ 10332 w 12754"/>
                <a:gd name="connsiteY66" fmla="*/ 1177 h 10760"/>
                <a:gd name="connsiteX67" fmla="*/ 10658 w 12754"/>
                <a:gd name="connsiteY67" fmla="*/ 721 h 10760"/>
                <a:gd name="connsiteX68" fmla="*/ 10940 w 12754"/>
                <a:gd name="connsiteY68" fmla="*/ 1213 h 10760"/>
                <a:gd name="connsiteX69" fmla="*/ 10552 w 12754"/>
                <a:gd name="connsiteY69" fmla="*/ 1544 h 10760"/>
                <a:gd name="connsiteX70" fmla="*/ 11172 w 12754"/>
                <a:gd name="connsiteY70" fmla="*/ 1477 h 10760"/>
                <a:gd name="connsiteX71" fmla="*/ 11750 w 12754"/>
                <a:gd name="connsiteY71" fmla="*/ 1744 h 10760"/>
                <a:gd name="connsiteX72" fmla="*/ 12205 w 12754"/>
                <a:gd name="connsiteY72" fmla="*/ 4405 h 10760"/>
                <a:gd name="connsiteX73" fmla="*/ 12753 w 12754"/>
                <a:gd name="connsiteY73" fmla="*/ 5293 h 10760"/>
                <a:gd name="connsiteX74" fmla="*/ 12341 w 12754"/>
                <a:gd name="connsiteY74" fmla="*/ 5967 h 10760"/>
                <a:gd name="connsiteX75" fmla="*/ 10958 w 12754"/>
                <a:gd name="connsiteY75" fmla="*/ 6232 h 10760"/>
                <a:gd name="connsiteX76" fmla="*/ 9742 w 12754"/>
                <a:gd name="connsiteY76" fmla="*/ 6788 h 10760"/>
                <a:gd name="connsiteX77" fmla="*/ 9105 w 12754"/>
                <a:gd name="connsiteY77" fmla="*/ 6901 h 10760"/>
                <a:gd name="connsiteX78" fmla="*/ 8576 w 12754"/>
                <a:gd name="connsiteY78" fmla="*/ 7088 h 10760"/>
                <a:gd name="connsiteX79" fmla="*/ 9139 w 12754"/>
                <a:gd name="connsiteY79" fmla="*/ 7238 h 10760"/>
                <a:gd name="connsiteX80" fmla="*/ 9609 w 12754"/>
                <a:gd name="connsiteY80" fmla="*/ 7626 h 10760"/>
                <a:gd name="connsiteX81" fmla="*/ 9984 w 12754"/>
                <a:gd name="connsiteY81" fmla="*/ 8372 h 10760"/>
                <a:gd name="connsiteX82" fmla="*/ 10360 w 12754"/>
                <a:gd name="connsiteY82" fmla="*/ 8342 h 10760"/>
                <a:gd name="connsiteX83" fmla="*/ 11346 w 12754"/>
                <a:gd name="connsiteY83" fmla="*/ 9088 h 10760"/>
                <a:gd name="connsiteX84" fmla="*/ 10172 w 12754"/>
                <a:gd name="connsiteY84" fmla="*/ 9894 h 10760"/>
                <a:gd name="connsiteX85" fmla="*/ 10642 w 12754"/>
                <a:gd name="connsiteY85" fmla="*/ 10491 h 10760"/>
                <a:gd name="connsiteX86" fmla="*/ 10454 w 12754"/>
                <a:gd name="connsiteY86" fmla="*/ 10730 h 10760"/>
                <a:gd name="connsiteX87" fmla="*/ 10172 w 12754"/>
                <a:gd name="connsiteY87" fmla="*/ 10491 h 10760"/>
                <a:gd name="connsiteX88" fmla="*/ 8294 w 12754"/>
                <a:gd name="connsiteY88" fmla="*/ 10461 h 10760"/>
                <a:gd name="connsiteX89" fmla="*/ 7966 w 12754"/>
                <a:gd name="connsiteY89" fmla="*/ 10760 h 10760"/>
                <a:gd name="connsiteX90" fmla="*/ 7402 w 12754"/>
                <a:gd name="connsiteY90" fmla="*/ 10730 h 10760"/>
                <a:gd name="connsiteX0" fmla="*/ 7402 w 12754"/>
                <a:gd name="connsiteY0" fmla="*/ 10730 h 10760"/>
                <a:gd name="connsiteX1" fmla="*/ 7496 w 12754"/>
                <a:gd name="connsiteY1" fmla="*/ 9894 h 10760"/>
                <a:gd name="connsiteX2" fmla="*/ 7778 w 12754"/>
                <a:gd name="connsiteY2" fmla="*/ 9088 h 10760"/>
                <a:gd name="connsiteX3" fmla="*/ 6980 w 12754"/>
                <a:gd name="connsiteY3" fmla="*/ 8909 h 10760"/>
                <a:gd name="connsiteX4" fmla="*/ 6745 w 12754"/>
                <a:gd name="connsiteY4" fmla="*/ 8730 h 10760"/>
                <a:gd name="connsiteX5" fmla="*/ 6369 w 12754"/>
                <a:gd name="connsiteY5" fmla="*/ 8820 h 10760"/>
                <a:gd name="connsiteX6" fmla="*/ 6041 w 12754"/>
                <a:gd name="connsiteY6" fmla="*/ 8253 h 10760"/>
                <a:gd name="connsiteX7" fmla="*/ 5477 w 12754"/>
                <a:gd name="connsiteY7" fmla="*/ 7894 h 10760"/>
                <a:gd name="connsiteX8" fmla="*/ 5055 w 12754"/>
                <a:gd name="connsiteY8" fmla="*/ 7924 h 10760"/>
                <a:gd name="connsiteX9" fmla="*/ 5149 w 12754"/>
                <a:gd name="connsiteY9" fmla="*/ 8103 h 10760"/>
                <a:gd name="connsiteX10" fmla="*/ 4679 w 12754"/>
                <a:gd name="connsiteY10" fmla="*/ 8133 h 10760"/>
                <a:gd name="connsiteX11" fmla="*/ 4632 w 12754"/>
                <a:gd name="connsiteY11" fmla="*/ 7447 h 10760"/>
                <a:gd name="connsiteX12" fmla="*/ 3881 w 12754"/>
                <a:gd name="connsiteY12" fmla="*/ 7417 h 10760"/>
                <a:gd name="connsiteX13" fmla="*/ 3975 w 12754"/>
                <a:gd name="connsiteY13" fmla="*/ 7118 h 10760"/>
                <a:gd name="connsiteX14" fmla="*/ 3646 w 12754"/>
                <a:gd name="connsiteY14" fmla="*/ 7029 h 10760"/>
                <a:gd name="connsiteX15" fmla="*/ 3459 w 12754"/>
                <a:gd name="connsiteY15" fmla="*/ 6521 h 10760"/>
                <a:gd name="connsiteX16" fmla="*/ 3787 w 12754"/>
                <a:gd name="connsiteY16" fmla="*/ 6372 h 10760"/>
                <a:gd name="connsiteX17" fmla="*/ 4257 w 12754"/>
                <a:gd name="connsiteY17" fmla="*/ 5984 h 10760"/>
                <a:gd name="connsiteX18" fmla="*/ 3975 w 12754"/>
                <a:gd name="connsiteY18" fmla="*/ 5775 h 10760"/>
                <a:gd name="connsiteX19" fmla="*/ 4538 w 12754"/>
                <a:gd name="connsiteY19" fmla="*/ 5447 h 10760"/>
                <a:gd name="connsiteX20" fmla="*/ 3975 w 12754"/>
                <a:gd name="connsiteY20" fmla="*/ 5447 h 10760"/>
                <a:gd name="connsiteX21" fmla="*/ 3975 w 12754"/>
                <a:gd name="connsiteY21" fmla="*/ 5088 h 10760"/>
                <a:gd name="connsiteX22" fmla="*/ 4163 w 12754"/>
                <a:gd name="connsiteY22" fmla="*/ 4521 h 10760"/>
                <a:gd name="connsiteX23" fmla="*/ 3928 w 12754"/>
                <a:gd name="connsiteY23" fmla="*/ 4044 h 10760"/>
                <a:gd name="connsiteX24" fmla="*/ 4634 w 12754"/>
                <a:gd name="connsiteY24" fmla="*/ 3532 h 10760"/>
                <a:gd name="connsiteX25" fmla="*/ 724 w 12754"/>
                <a:gd name="connsiteY25" fmla="*/ 6342 h 10760"/>
                <a:gd name="connsiteX26" fmla="*/ 11 w 12754"/>
                <a:gd name="connsiteY26" fmla="*/ 5040 h 10760"/>
                <a:gd name="connsiteX27" fmla="*/ 147 w 12754"/>
                <a:gd name="connsiteY27" fmla="*/ 4655 h 10760"/>
                <a:gd name="connsiteX28" fmla="*/ 1058 w 12754"/>
                <a:gd name="connsiteY28" fmla="*/ 4121 h 10760"/>
                <a:gd name="connsiteX29" fmla="*/ 1449 w 12754"/>
                <a:gd name="connsiteY29" fmla="*/ 3784 h 10760"/>
                <a:gd name="connsiteX30" fmla="*/ 1114 w 12754"/>
                <a:gd name="connsiteY30" fmla="*/ 3358 h 10760"/>
                <a:gd name="connsiteX31" fmla="*/ 1515 w 12754"/>
                <a:gd name="connsiteY31" fmla="*/ 2950 h 10760"/>
                <a:gd name="connsiteX32" fmla="*/ 1187 w 12754"/>
                <a:gd name="connsiteY32" fmla="*/ 2316 h 10760"/>
                <a:gd name="connsiteX33" fmla="*/ 1534 w 12754"/>
                <a:gd name="connsiteY33" fmla="*/ 2820 h 10760"/>
                <a:gd name="connsiteX34" fmla="*/ 1346 w 12754"/>
                <a:gd name="connsiteY34" fmla="*/ 2790 h 10760"/>
                <a:gd name="connsiteX35" fmla="*/ 1704 w 12754"/>
                <a:gd name="connsiteY35" fmla="*/ 1986 h 10760"/>
                <a:gd name="connsiteX36" fmla="*/ 2353 w 12754"/>
                <a:gd name="connsiteY36" fmla="*/ 1999 h 10760"/>
                <a:gd name="connsiteX37" fmla="*/ 3130 w 12754"/>
                <a:gd name="connsiteY37" fmla="*/ 2461 h 10760"/>
                <a:gd name="connsiteX38" fmla="*/ 2054 w 12754"/>
                <a:gd name="connsiteY38" fmla="*/ 2015 h 10760"/>
                <a:gd name="connsiteX39" fmla="*/ 2365 w 12754"/>
                <a:gd name="connsiteY39" fmla="*/ 2021 h 10760"/>
                <a:gd name="connsiteX40" fmla="*/ 2527 w 12754"/>
                <a:gd name="connsiteY40" fmla="*/ 2083 h 10760"/>
                <a:gd name="connsiteX41" fmla="*/ 3002 w 12754"/>
                <a:gd name="connsiteY41" fmla="*/ 2449 h 10760"/>
                <a:gd name="connsiteX42" fmla="*/ 3200 w 12754"/>
                <a:gd name="connsiteY42" fmla="*/ 2178 h 10760"/>
                <a:gd name="connsiteX43" fmla="*/ 3526 w 12754"/>
                <a:gd name="connsiteY43" fmla="*/ 1886 h 10760"/>
                <a:gd name="connsiteX44" fmla="*/ 3651 w 12754"/>
                <a:gd name="connsiteY44" fmla="*/ 1793 h 10760"/>
                <a:gd name="connsiteX45" fmla="*/ 4351 w 12754"/>
                <a:gd name="connsiteY45" fmla="*/ 1805 h 10760"/>
                <a:gd name="connsiteX46" fmla="*/ 4069 w 12754"/>
                <a:gd name="connsiteY46" fmla="*/ 1835 h 10760"/>
                <a:gd name="connsiteX47" fmla="*/ 3881 w 12754"/>
                <a:gd name="connsiteY47" fmla="*/ 1596 h 10760"/>
                <a:gd name="connsiteX48" fmla="*/ 3864 w 12754"/>
                <a:gd name="connsiteY48" fmla="*/ 1359 h 10760"/>
                <a:gd name="connsiteX49" fmla="*/ 3912 w 12754"/>
                <a:gd name="connsiteY49" fmla="*/ 1009 h 10760"/>
                <a:gd name="connsiteX50" fmla="*/ 3646 w 12754"/>
                <a:gd name="connsiteY50" fmla="*/ 1059 h 10760"/>
                <a:gd name="connsiteX51" fmla="*/ 3600 w 12754"/>
                <a:gd name="connsiteY51" fmla="*/ 879 h 10760"/>
                <a:gd name="connsiteX52" fmla="*/ 3715 w 12754"/>
                <a:gd name="connsiteY52" fmla="*/ 580 h 10760"/>
                <a:gd name="connsiteX53" fmla="*/ 3613 w 12754"/>
                <a:gd name="connsiteY53" fmla="*/ 0 h 10760"/>
                <a:gd name="connsiteX54" fmla="*/ 4911 w 12754"/>
                <a:gd name="connsiteY54" fmla="*/ 195 h 10760"/>
                <a:gd name="connsiteX55" fmla="*/ 5947 w 12754"/>
                <a:gd name="connsiteY55" fmla="*/ 1088 h 10760"/>
                <a:gd name="connsiteX56" fmla="*/ 6207 w 12754"/>
                <a:gd name="connsiteY56" fmla="*/ 1091 h 10760"/>
                <a:gd name="connsiteX57" fmla="*/ 6273 w 12754"/>
                <a:gd name="connsiteY57" fmla="*/ 1196 h 10760"/>
                <a:gd name="connsiteX58" fmla="*/ 6489 w 12754"/>
                <a:gd name="connsiteY58" fmla="*/ 1300 h 10760"/>
                <a:gd name="connsiteX59" fmla="*/ 6930 w 12754"/>
                <a:gd name="connsiteY59" fmla="*/ 1256 h 10760"/>
                <a:gd name="connsiteX60" fmla="*/ 6980 w 12754"/>
                <a:gd name="connsiteY60" fmla="*/ 1745 h 10760"/>
                <a:gd name="connsiteX61" fmla="*/ 7261 w 12754"/>
                <a:gd name="connsiteY61" fmla="*/ 1596 h 10760"/>
                <a:gd name="connsiteX62" fmla="*/ 7776 w 12754"/>
                <a:gd name="connsiteY62" fmla="*/ 1755 h 10760"/>
                <a:gd name="connsiteX63" fmla="*/ 8513 w 12754"/>
                <a:gd name="connsiteY63" fmla="*/ 1218 h 10760"/>
                <a:gd name="connsiteX64" fmla="*/ 8937 w 12754"/>
                <a:gd name="connsiteY64" fmla="*/ 983 h 10760"/>
                <a:gd name="connsiteX65" fmla="*/ 9955 w 12754"/>
                <a:gd name="connsiteY65" fmla="*/ 1065 h 10760"/>
                <a:gd name="connsiteX66" fmla="*/ 10332 w 12754"/>
                <a:gd name="connsiteY66" fmla="*/ 1177 h 10760"/>
                <a:gd name="connsiteX67" fmla="*/ 10658 w 12754"/>
                <a:gd name="connsiteY67" fmla="*/ 721 h 10760"/>
                <a:gd name="connsiteX68" fmla="*/ 10940 w 12754"/>
                <a:gd name="connsiteY68" fmla="*/ 1213 h 10760"/>
                <a:gd name="connsiteX69" fmla="*/ 10552 w 12754"/>
                <a:gd name="connsiteY69" fmla="*/ 1544 h 10760"/>
                <a:gd name="connsiteX70" fmla="*/ 11172 w 12754"/>
                <a:gd name="connsiteY70" fmla="*/ 1477 h 10760"/>
                <a:gd name="connsiteX71" fmla="*/ 11750 w 12754"/>
                <a:gd name="connsiteY71" fmla="*/ 1744 h 10760"/>
                <a:gd name="connsiteX72" fmla="*/ 12205 w 12754"/>
                <a:gd name="connsiteY72" fmla="*/ 4405 h 10760"/>
                <a:gd name="connsiteX73" fmla="*/ 12753 w 12754"/>
                <a:gd name="connsiteY73" fmla="*/ 5293 h 10760"/>
                <a:gd name="connsiteX74" fmla="*/ 12341 w 12754"/>
                <a:gd name="connsiteY74" fmla="*/ 5967 h 10760"/>
                <a:gd name="connsiteX75" fmla="*/ 10958 w 12754"/>
                <a:gd name="connsiteY75" fmla="*/ 6232 h 10760"/>
                <a:gd name="connsiteX76" fmla="*/ 9742 w 12754"/>
                <a:gd name="connsiteY76" fmla="*/ 6788 h 10760"/>
                <a:gd name="connsiteX77" fmla="*/ 9105 w 12754"/>
                <a:gd name="connsiteY77" fmla="*/ 6901 h 10760"/>
                <a:gd name="connsiteX78" fmla="*/ 8576 w 12754"/>
                <a:gd name="connsiteY78" fmla="*/ 7088 h 10760"/>
                <a:gd name="connsiteX79" fmla="*/ 9139 w 12754"/>
                <a:gd name="connsiteY79" fmla="*/ 7238 h 10760"/>
                <a:gd name="connsiteX80" fmla="*/ 9609 w 12754"/>
                <a:gd name="connsiteY80" fmla="*/ 7626 h 10760"/>
                <a:gd name="connsiteX81" fmla="*/ 9984 w 12754"/>
                <a:gd name="connsiteY81" fmla="*/ 8372 h 10760"/>
                <a:gd name="connsiteX82" fmla="*/ 10360 w 12754"/>
                <a:gd name="connsiteY82" fmla="*/ 8342 h 10760"/>
                <a:gd name="connsiteX83" fmla="*/ 11346 w 12754"/>
                <a:gd name="connsiteY83" fmla="*/ 9088 h 10760"/>
                <a:gd name="connsiteX84" fmla="*/ 10172 w 12754"/>
                <a:gd name="connsiteY84" fmla="*/ 9894 h 10760"/>
                <a:gd name="connsiteX85" fmla="*/ 10642 w 12754"/>
                <a:gd name="connsiteY85" fmla="*/ 10491 h 10760"/>
                <a:gd name="connsiteX86" fmla="*/ 10454 w 12754"/>
                <a:gd name="connsiteY86" fmla="*/ 10730 h 10760"/>
                <a:gd name="connsiteX87" fmla="*/ 10172 w 12754"/>
                <a:gd name="connsiteY87" fmla="*/ 10491 h 10760"/>
                <a:gd name="connsiteX88" fmla="*/ 8294 w 12754"/>
                <a:gd name="connsiteY88" fmla="*/ 10461 h 10760"/>
                <a:gd name="connsiteX89" fmla="*/ 7966 w 12754"/>
                <a:gd name="connsiteY89" fmla="*/ 10760 h 10760"/>
                <a:gd name="connsiteX90" fmla="*/ 7402 w 12754"/>
                <a:gd name="connsiteY90" fmla="*/ 10730 h 10760"/>
                <a:gd name="connsiteX0" fmla="*/ 7513 w 12865"/>
                <a:gd name="connsiteY0" fmla="*/ 10730 h 10760"/>
                <a:gd name="connsiteX1" fmla="*/ 7607 w 12865"/>
                <a:gd name="connsiteY1" fmla="*/ 9894 h 10760"/>
                <a:gd name="connsiteX2" fmla="*/ 7889 w 12865"/>
                <a:gd name="connsiteY2" fmla="*/ 9088 h 10760"/>
                <a:gd name="connsiteX3" fmla="*/ 7091 w 12865"/>
                <a:gd name="connsiteY3" fmla="*/ 8909 h 10760"/>
                <a:gd name="connsiteX4" fmla="*/ 6856 w 12865"/>
                <a:gd name="connsiteY4" fmla="*/ 8730 h 10760"/>
                <a:gd name="connsiteX5" fmla="*/ 6480 w 12865"/>
                <a:gd name="connsiteY5" fmla="*/ 8820 h 10760"/>
                <a:gd name="connsiteX6" fmla="*/ 6152 w 12865"/>
                <a:gd name="connsiteY6" fmla="*/ 8253 h 10760"/>
                <a:gd name="connsiteX7" fmla="*/ 5588 w 12865"/>
                <a:gd name="connsiteY7" fmla="*/ 7894 h 10760"/>
                <a:gd name="connsiteX8" fmla="*/ 5166 w 12865"/>
                <a:gd name="connsiteY8" fmla="*/ 7924 h 10760"/>
                <a:gd name="connsiteX9" fmla="*/ 5260 w 12865"/>
                <a:gd name="connsiteY9" fmla="*/ 8103 h 10760"/>
                <a:gd name="connsiteX10" fmla="*/ 4790 w 12865"/>
                <a:gd name="connsiteY10" fmla="*/ 8133 h 10760"/>
                <a:gd name="connsiteX11" fmla="*/ 4743 w 12865"/>
                <a:gd name="connsiteY11" fmla="*/ 7447 h 10760"/>
                <a:gd name="connsiteX12" fmla="*/ 3992 w 12865"/>
                <a:gd name="connsiteY12" fmla="*/ 7417 h 10760"/>
                <a:gd name="connsiteX13" fmla="*/ 4086 w 12865"/>
                <a:gd name="connsiteY13" fmla="*/ 7118 h 10760"/>
                <a:gd name="connsiteX14" fmla="*/ 3757 w 12865"/>
                <a:gd name="connsiteY14" fmla="*/ 7029 h 10760"/>
                <a:gd name="connsiteX15" fmla="*/ 3570 w 12865"/>
                <a:gd name="connsiteY15" fmla="*/ 6521 h 10760"/>
                <a:gd name="connsiteX16" fmla="*/ 3898 w 12865"/>
                <a:gd name="connsiteY16" fmla="*/ 6372 h 10760"/>
                <a:gd name="connsiteX17" fmla="*/ 4368 w 12865"/>
                <a:gd name="connsiteY17" fmla="*/ 5984 h 10760"/>
                <a:gd name="connsiteX18" fmla="*/ 4086 w 12865"/>
                <a:gd name="connsiteY18" fmla="*/ 5775 h 10760"/>
                <a:gd name="connsiteX19" fmla="*/ 4649 w 12865"/>
                <a:gd name="connsiteY19" fmla="*/ 5447 h 10760"/>
                <a:gd name="connsiteX20" fmla="*/ 4086 w 12865"/>
                <a:gd name="connsiteY20" fmla="*/ 5447 h 10760"/>
                <a:gd name="connsiteX21" fmla="*/ 4086 w 12865"/>
                <a:gd name="connsiteY21" fmla="*/ 5088 h 10760"/>
                <a:gd name="connsiteX22" fmla="*/ 4274 w 12865"/>
                <a:gd name="connsiteY22" fmla="*/ 4521 h 10760"/>
                <a:gd name="connsiteX23" fmla="*/ 4039 w 12865"/>
                <a:gd name="connsiteY23" fmla="*/ 4044 h 10760"/>
                <a:gd name="connsiteX24" fmla="*/ 4745 w 12865"/>
                <a:gd name="connsiteY24" fmla="*/ 3532 h 10760"/>
                <a:gd name="connsiteX25" fmla="*/ 119 w 12865"/>
                <a:gd name="connsiteY25" fmla="*/ 5674 h 10760"/>
                <a:gd name="connsiteX26" fmla="*/ 122 w 12865"/>
                <a:gd name="connsiteY26" fmla="*/ 5040 h 10760"/>
                <a:gd name="connsiteX27" fmla="*/ 258 w 12865"/>
                <a:gd name="connsiteY27" fmla="*/ 4655 h 10760"/>
                <a:gd name="connsiteX28" fmla="*/ 1169 w 12865"/>
                <a:gd name="connsiteY28" fmla="*/ 4121 h 10760"/>
                <a:gd name="connsiteX29" fmla="*/ 1560 w 12865"/>
                <a:gd name="connsiteY29" fmla="*/ 3784 h 10760"/>
                <a:gd name="connsiteX30" fmla="*/ 1225 w 12865"/>
                <a:gd name="connsiteY30" fmla="*/ 3358 h 10760"/>
                <a:gd name="connsiteX31" fmla="*/ 1626 w 12865"/>
                <a:gd name="connsiteY31" fmla="*/ 2950 h 10760"/>
                <a:gd name="connsiteX32" fmla="*/ 1298 w 12865"/>
                <a:gd name="connsiteY32" fmla="*/ 2316 h 10760"/>
                <a:gd name="connsiteX33" fmla="*/ 1645 w 12865"/>
                <a:gd name="connsiteY33" fmla="*/ 2820 h 10760"/>
                <a:gd name="connsiteX34" fmla="*/ 1457 w 12865"/>
                <a:gd name="connsiteY34" fmla="*/ 2790 h 10760"/>
                <a:gd name="connsiteX35" fmla="*/ 1815 w 12865"/>
                <a:gd name="connsiteY35" fmla="*/ 1986 h 10760"/>
                <a:gd name="connsiteX36" fmla="*/ 2464 w 12865"/>
                <a:gd name="connsiteY36" fmla="*/ 1999 h 10760"/>
                <a:gd name="connsiteX37" fmla="*/ 3241 w 12865"/>
                <a:gd name="connsiteY37" fmla="*/ 2461 h 10760"/>
                <a:gd name="connsiteX38" fmla="*/ 2165 w 12865"/>
                <a:gd name="connsiteY38" fmla="*/ 2015 h 10760"/>
                <a:gd name="connsiteX39" fmla="*/ 2476 w 12865"/>
                <a:gd name="connsiteY39" fmla="*/ 2021 h 10760"/>
                <a:gd name="connsiteX40" fmla="*/ 2638 w 12865"/>
                <a:gd name="connsiteY40" fmla="*/ 2083 h 10760"/>
                <a:gd name="connsiteX41" fmla="*/ 3113 w 12865"/>
                <a:gd name="connsiteY41" fmla="*/ 2449 h 10760"/>
                <a:gd name="connsiteX42" fmla="*/ 3311 w 12865"/>
                <a:gd name="connsiteY42" fmla="*/ 2178 h 10760"/>
                <a:gd name="connsiteX43" fmla="*/ 3637 w 12865"/>
                <a:gd name="connsiteY43" fmla="*/ 1886 h 10760"/>
                <a:gd name="connsiteX44" fmla="*/ 3762 w 12865"/>
                <a:gd name="connsiteY44" fmla="*/ 1793 h 10760"/>
                <a:gd name="connsiteX45" fmla="*/ 4462 w 12865"/>
                <a:gd name="connsiteY45" fmla="*/ 1805 h 10760"/>
                <a:gd name="connsiteX46" fmla="*/ 4180 w 12865"/>
                <a:gd name="connsiteY46" fmla="*/ 1835 h 10760"/>
                <a:gd name="connsiteX47" fmla="*/ 3992 w 12865"/>
                <a:gd name="connsiteY47" fmla="*/ 1596 h 10760"/>
                <a:gd name="connsiteX48" fmla="*/ 3975 w 12865"/>
                <a:gd name="connsiteY48" fmla="*/ 1359 h 10760"/>
                <a:gd name="connsiteX49" fmla="*/ 4023 w 12865"/>
                <a:gd name="connsiteY49" fmla="*/ 1009 h 10760"/>
                <a:gd name="connsiteX50" fmla="*/ 3757 w 12865"/>
                <a:gd name="connsiteY50" fmla="*/ 1059 h 10760"/>
                <a:gd name="connsiteX51" fmla="*/ 3711 w 12865"/>
                <a:gd name="connsiteY51" fmla="*/ 879 h 10760"/>
                <a:gd name="connsiteX52" fmla="*/ 3826 w 12865"/>
                <a:gd name="connsiteY52" fmla="*/ 580 h 10760"/>
                <a:gd name="connsiteX53" fmla="*/ 3724 w 12865"/>
                <a:gd name="connsiteY53" fmla="*/ 0 h 10760"/>
                <a:gd name="connsiteX54" fmla="*/ 5022 w 12865"/>
                <a:gd name="connsiteY54" fmla="*/ 195 h 10760"/>
                <a:gd name="connsiteX55" fmla="*/ 6058 w 12865"/>
                <a:gd name="connsiteY55" fmla="*/ 1088 h 10760"/>
                <a:gd name="connsiteX56" fmla="*/ 6318 w 12865"/>
                <a:gd name="connsiteY56" fmla="*/ 1091 h 10760"/>
                <a:gd name="connsiteX57" fmla="*/ 6384 w 12865"/>
                <a:gd name="connsiteY57" fmla="*/ 1196 h 10760"/>
                <a:gd name="connsiteX58" fmla="*/ 6600 w 12865"/>
                <a:gd name="connsiteY58" fmla="*/ 1300 h 10760"/>
                <a:gd name="connsiteX59" fmla="*/ 7041 w 12865"/>
                <a:gd name="connsiteY59" fmla="*/ 1256 h 10760"/>
                <a:gd name="connsiteX60" fmla="*/ 7091 w 12865"/>
                <a:gd name="connsiteY60" fmla="*/ 1745 h 10760"/>
                <a:gd name="connsiteX61" fmla="*/ 7372 w 12865"/>
                <a:gd name="connsiteY61" fmla="*/ 1596 h 10760"/>
                <a:gd name="connsiteX62" fmla="*/ 7887 w 12865"/>
                <a:gd name="connsiteY62" fmla="*/ 1755 h 10760"/>
                <a:gd name="connsiteX63" fmla="*/ 8624 w 12865"/>
                <a:gd name="connsiteY63" fmla="*/ 1218 h 10760"/>
                <a:gd name="connsiteX64" fmla="*/ 9048 w 12865"/>
                <a:gd name="connsiteY64" fmla="*/ 983 h 10760"/>
                <a:gd name="connsiteX65" fmla="*/ 10066 w 12865"/>
                <a:gd name="connsiteY65" fmla="*/ 1065 h 10760"/>
                <a:gd name="connsiteX66" fmla="*/ 10443 w 12865"/>
                <a:gd name="connsiteY66" fmla="*/ 1177 h 10760"/>
                <a:gd name="connsiteX67" fmla="*/ 10769 w 12865"/>
                <a:gd name="connsiteY67" fmla="*/ 721 h 10760"/>
                <a:gd name="connsiteX68" fmla="*/ 11051 w 12865"/>
                <a:gd name="connsiteY68" fmla="*/ 1213 h 10760"/>
                <a:gd name="connsiteX69" fmla="*/ 10663 w 12865"/>
                <a:gd name="connsiteY69" fmla="*/ 1544 h 10760"/>
                <a:gd name="connsiteX70" fmla="*/ 11283 w 12865"/>
                <a:gd name="connsiteY70" fmla="*/ 1477 h 10760"/>
                <a:gd name="connsiteX71" fmla="*/ 11861 w 12865"/>
                <a:gd name="connsiteY71" fmla="*/ 1744 h 10760"/>
                <a:gd name="connsiteX72" fmla="*/ 12316 w 12865"/>
                <a:gd name="connsiteY72" fmla="*/ 4405 h 10760"/>
                <a:gd name="connsiteX73" fmla="*/ 12864 w 12865"/>
                <a:gd name="connsiteY73" fmla="*/ 5293 h 10760"/>
                <a:gd name="connsiteX74" fmla="*/ 12452 w 12865"/>
                <a:gd name="connsiteY74" fmla="*/ 5967 h 10760"/>
                <a:gd name="connsiteX75" fmla="*/ 11069 w 12865"/>
                <a:gd name="connsiteY75" fmla="*/ 6232 h 10760"/>
                <a:gd name="connsiteX76" fmla="*/ 9853 w 12865"/>
                <a:gd name="connsiteY76" fmla="*/ 6788 h 10760"/>
                <a:gd name="connsiteX77" fmla="*/ 9216 w 12865"/>
                <a:gd name="connsiteY77" fmla="*/ 6901 h 10760"/>
                <a:gd name="connsiteX78" fmla="*/ 8687 w 12865"/>
                <a:gd name="connsiteY78" fmla="*/ 7088 h 10760"/>
                <a:gd name="connsiteX79" fmla="*/ 9250 w 12865"/>
                <a:gd name="connsiteY79" fmla="*/ 7238 h 10760"/>
                <a:gd name="connsiteX80" fmla="*/ 9720 w 12865"/>
                <a:gd name="connsiteY80" fmla="*/ 7626 h 10760"/>
                <a:gd name="connsiteX81" fmla="*/ 10095 w 12865"/>
                <a:gd name="connsiteY81" fmla="*/ 8372 h 10760"/>
                <a:gd name="connsiteX82" fmla="*/ 10471 w 12865"/>
                <a:gd name="connsiteY82" fmla="*/ 8342 h 10760"/>
                <a:gd name="connsiteX83" fmla="*/ 11457 w 12865"/>
                <a:gd name="connsiteY83" fmla="*/ 9088 h 10760"/>
                <a:gd name="connsiteX84" fmla="*/ 10283 w 12865"/>
                <a:gd name="connsiteY84" fmla="*/ 9894 h 10760"/>
                <a:gd name="connsiteX85" fmla="*/ 10753 w 12865"/>
                <a:gd name="connsiteY85" fmla="*/ 10491 h 10760"/>
                <a:gd name="connsiteX86" fmla="*/ 10565 w 12865"/>
                <a:gd name="connsiteY86" fmla="*/ 10730 h 10760"/>
                <a:gd name="connsiteX87" fmla="*/ 10283 w 12865"/>
                <a:gd name="connsiteY87" fmla="*/ 10491 h 10760"/>
                <a:gd name="connsiteX88" fmla="*/ 8405 w 12865"/>
                <a:gd name="connsiteY88" fmla="*/ 10461 h 10760"/>
                <a:gd name="connsiteX89" fmla="*/ 8077 w 12865"/>
                <a:gd name="connsiteY89" fmla="*/ 10760 h 10760"/>
                <a:gd name="connsiteX90" fmla="*/ 7513 w 12865"/>
                <a:gd name="connsiteY90" fmla="*/ 10730 h 10760"/>
                <a:gd name="connsiteX0" fmla="*/ 7402 w 12754"/>
                <a:gd name="connsiteY0" fmla="*/ 10730 h 10760"/>
                <a:gd name="connsiteX1" fmla="*/ 7496 w 12754"/>
                <a:gd name="connsiteY1" fmla="*/ 9894 h 10760"/>
                <a:gd name="connsiteX2" fmla="*/ 7778 w 12754"/>
                <a:gd name="connsiteY2" fmla="*/ 9088 h 10760"/>
                <a:gd name="connsiteX3" fmla="*/ 6980 w 12754"/>
                <a:gd name="connsiteY3" fmla="*/ 8909 h 10760"/>
                <a:gd name="connsiteX4" fmla="*/ 6745 w 12754"/>
                <a:gd name="connsiteY4" fmla="*/ 8730 h 10760"/>
                <a:gd name="connsiteX5" fmla="*/ 6369 w 12754"/>
                <a:gd name="connsiteY5" fmla="*/ 8820 h 10760"/>
                <a:gd name="connsiteX6" fmla="*/ 6041 w 12754"/>
                <a:gd name="connsiteY6" fmla="*/ 8253 h 10760"/>
                <a:gd name="connsiteX7" fmla="*/ 5477 w 12754"/>
                <a:gd name="connsiteY7" fmla="*/ 7894 h 10760"/>
                <a:gd name="connsiteX8" fmla="*/ 5055 w 12754"/>
                <a:gd name="connsiteY8" fmla="*/ 7924 h 10760"/>
                <a:gd name="connsiteX9" fmla="*/ 5149 w 12754"/>
                <a:gd name="connsiteY9" fmla="*/ 8103 h 10760"/>
                <a:gd name="connsiteX10" fmla="*/ 4679 w 12754"/>
                <a:gd name="connsiteY10" fmla="*/ 8133 h 10760"/>
                <a:gd name="connsiteX11" fmla="*/ 4632 w 12754"/>
                <a:gd name="connsiteY11" fmla="*/ 7447 h 10760"/>
                <a:gd name="connsiteX12" fmla="*/ 3881 w 12754"/>
                <a:gd name="connsiteY12" fmla="*/ 7417 h 10760"/>
                <a:gd name="connsiteX13" fmla="*/ 3975 w 12754"/>
                <a:gd name="connsiteY13" fmla="*/ 7118 h 10760"/>
                <a:gd name="connsiteX14" fmla="*/ 3646 w 12754"/>
                <a:gd name="connsiteY14" fmla="*/ 7029 h 10760"/>
                <a:gd name="connsiteX15" fmla="*/ 3459 w 12754"/>
                <a:gd name="connsiteY15" fmla="*/ 6521 h 10760"/>
                <a:gd name="connsiteX16" fmla="*/ 3787 w 12754"/>
                <a:gd name="connsiteY16" fmla="*/ 6372 h 10760"/>
                <a:gd name="connsiteX17" fmla="*/ 4257 w 12754"/>
                <a:gd name="connsiteY17" fmla="*/ 5984 h 10760"/>
                <a:gd name="connsiteX18" fmla="*/ 3975 w 12754"/>
                <a:gd name="connsiteY18" fmla="*/ 5775 h 10760"/>
                <a:gd name="connsiteX19" fmla="*/ 4538 w 12754"/>
                <a:gd name="connsiteY19" fmla="*/ 5447 h 10760"/>
                <a:gd name="connsiteX20" fmla="*/ 3975 w 12754"/>
                <a:gd name="connsiteY20" fmla="*/ 5447 h 10760"/>
                <a:gd name="connsiteX21" fmla="*/ 3975 w 12754"/>
                <a:gd name="connsiteY21" fmla="*/ 5088 h 10760"/>
                <a:gd name="connsiteX22" fmla="*/ 4163 w 12754"/>
                <a:gd name="connsiteY22" fmla="*/ 4521 h 10760"/>
                <a:gd name="connsiteX23" fmla="*/ 3928 w 12754"/>
                <a:gd name="connsiteY23" fmla="*/ 4044 h 10760"/>
                <a:gd name="connsiteX24" fmla="*/ 4634 w 12754"/>
                <a:gd name="connsiteY24" fmla="*/ 3532 h 10760"/>
                <a:gd name="connsiteX25" fmla="*/ 8 w 12754"/>
                <a:gd name="connsiteY25" fmla="*/ 5674 h 10760"/>
                <a:gd name="connsiteX26" fmla="*/ 11 w 12754"/>
                <a:gd name="connsiteY26" fmla="*/ 5040 h 10760"/>
                <a:gd name="connsiteX27" fmla="*/ 147 w 12754"/>
                <a:gd name="connsiteY27" fmla="*/ 4655 h 10760"/>
                <a:gd name="connsiteX28" fmla="*/ 1058 w 12754"/>
                <a:gd name="connsiteY28" fmla="*/ 4121 h 10760"/>
                <a:gd name="connsiteX29" fmla="*/ 1449 w 12754"/>
                <a:gd name="connsiteY29" fmla="*/ 3784 h 10760"/>
                <a:gd name="connsiteX30" fmla="*/ 1114 w 12754"/>
                <a:gd name="connsiteY30" fmla="*/ 3358 h 10760"/>
                <a:gd name="connsiteX31" fmla="*/ 1515 w 12754"/>
                <a:gd name="connsiteY31" fmla="*/ 2950 h 10760"/>
                <a:gd name="connsiteX32" fmla="*/ 1187 w 12754"/>
                <a:gd name="connsiteY32" fmla="*/ 2316 h 10760"/>
                <a:gd name="connsiteX33" fmla="*/ 1534 w 12754"/>
                <a:gd name="connsiteY33" fmla="*/ 2820 h 10760"/>
                <a:gd name="connsiteX34" fmla="*/ 1346 w 12754"/>
                <a:gd name="connsiteY34" fmla="*/ 2790 h 10760"/>
                <a:gd name="connsiteX35" fmla="*/ 1704 w 12754"/>
                <a:gd name="connsiteY35" fmla="*/ 1986 h 10760"/>
                <a:gd name="connsiteX36" fmla="*/ 2353 w 12754"/>
                <a:gd name="connsiteY36" fmla="*/ 1999 h 10760"/>
                <a:gd name="connsiteX37" fmla="*/ 3130 w 12754"/>
                <a:gd name="connsiteY37" fmla="*/ 2461 h 10760"/>
                <a:gd name="connsiteX38" fmla="*/ 2054 w 12754"/>
                <a:gd name="connsiteY38" fmla="*/ 2015 h 10760"/>
                <a:gd name="connsiteX39" fmla="*/ 2365 w 12754"/>
                <a:gd name="connsiteY39" fmla="*/ 2021 h 10760"/>
                <a:gd name="connsiteX40" fmla="*/ 2527 w 12754"/>
                <a:gd name="connsiteY40" fmla="*/ 2083 h 10760"/>
                <a:gd name="connsiteX41" fmla="*/ 3002 w 12754"/>
                <a:gd name="connsiteY41" fmla="*/ 2449 h 10760"/>
                <a:gd name="connsiteX42" fmla="*/ 3200 w 12754"/>
                <a:gd name="connsiteY42" fmla="*/ 2178 h 10760"/>
                <a:gd name="connsiteX43" fmla="*/ 3526 w 12754"/>
                <a:gd name="connsiteY43" fmla="*/ 1886 h 10760"/>
                <a:gd name="connsiteX44" fmla="*/ 3651 w 12754"/>
                <a:gd name="connsiteY44" fmla="*/ 1793 h 10760"/>
                <a:gd name="connsiteX45" fmla="*/ 4351 w 12754"/>
                <a:gd name="connsiteY45" fmla="*/ 1805 h 10760"/>
                <a:gd name="connsiteX46" fmla="*/ 4069 w 12754"/>
                <a:gd name="connsiteY46" fmla="*/ 1835 h 10760"/>
                <a:gd name="connsiteX47" fmla="*/ 3881 w 12754"/>
                <a:gd name="connsiteY47" fmla="*/ 1596 h 10760"/>
                <a:gd name="connsiteX48" fmla="*/ 3864 w 12754"/>
                <a:gd name="connsiteY48" fmla="*/ 1359 h 10760"/>
                <a:gd name="connsiteX49" fmla="*/ 3912 w 12754"/>
                <a:gd name="connsiteY49" fmla="*/ 1009 h 10760"/>
                <a:gd name="connsiteX50" fmla="*/ 3646 w 12754"/>
                <a:gd name="connsiteY50" fmla="*/ 1059 h 10760"/>
                <a:gd name="connsiteX51" fmla="*/ 3600 w 12754"/>
                <a:gd name="connsiteY51" fmla="*/ 879 h 10760"/>
                <a:gd name="connsiteX52" fmla="*/ 3715 w 12754"/>
                <a:gd name="connsiteY52" fmla="*/ 580 h 10760"/>
                <a:gd name="connsiteX53" fmla="*/ 3613 w 12754"/>
                <a:gd name="connsiteY53" fmla="*/ 0 h 10760"/>
                <a:gd name="connsiteX54" fmla="*/ 4911 w 12754"/>
                <a:gd name="connsiteY54" fmla="*/ 195 h 10760"/>
                <a:gd name="connsiteX55" fmla="*/ 5947 w 12754"/>
                <a:gd name="connsiteY55" fmla="*/ 1088 h 10760"/>
                <a:gd name="connsiteX56" fmla="*/ 6207 w 12754"/>
                <a:gd name="connsiteY56" fmla="*/ 1091 h 10760"/>
                <a:gd name="connsiteX57" fmla="*/ 6273 w 12754"/>
                <a:gd name="connsiteY57" fmla="*/ 1196 h 10760"/>
                <a:gd name="connsiteX58" fmla="*/ 6489 w 12754"/>
                <a:gd name="connsiteY58" fmla="*/ 1300 h 10760"/>
                <a:gd name="connsiteX59" fmla="*/ 6930 w 12754"/>
                <a:gd name="connsiteY59" fmla="*/ 1256 h 10760"/>
                <a:gd name="connsiteX60" fmla="*/ 6980 w 12754"/>
                <a:gd name="connsiteY60" fmla="*/ 1745 h 10760"/>
                <a:gd name="connsiteX61" fmla="*/ 7261 w 12754"/>
                <a:gd name="connsiteY61" fmla="*/ 1596 h 10760"/>
                <a:gd name="connsiteX62" fmla="*/ 7776 w 12754"/>
                <a:gd name="connsiteY62" fmla="*/ 1755 h 10760"/>
                <a:gd name="connsiteX63" fmla="*/ 8513 w 12754"/>
                <a:gd name="connsiteY63" fmla="*/ 1218 h 10760"/>
                <a:gd name="connsiteX64" fmla="*/ 8937 w 12754"/>
                <a:gd name="connsiteY64" fmla="*/ 983 h 10760"/>
                <a:gd name="connsiteX65" fmla="*/ 9955 w 12754"/>
                <a:gd name="connsiteY65" fmla="*/ 1065 h 10760"/>
                <a:gd name="connsiteX66" fmla="*/ 10332 w 12754"/>
                <a:gd name="connsiteY66" fmla="*/ 1177 h 10760"/>
                <a:gd name="connsiteX67" fmla="*/ 10658 w 12754"/>
                <a:gd name="connsiteY67" fmla="*/ 721 h 10760"/>
                <a:gd name="connsiteX68" fmla="*/ 10940 w 12754"/>
                <a:gd name="connsiteY68" fmla="*/ 1213 h 10760"/>
                <a:gd name="connsiteX69" fmla="*/ 10552 w 12754"/>
                <a:gd name="connsiteY69" fmla="*/ 1544 h 10760"/>
                <a:gd name="connsiteX70" fmla="*/ 11172 w 12754"/>
                <a:gd name="connsiteY70" fmla="*/ 1477 h 10760"/>
                <a:gd name="connsiteX71" fmla="*/ 11750 w 12754"/>
                <a:gd name="connsiteY71" fmla="*/ 1744 h 10760"/>
                <a:gd name="connsiteX72" fmla="*/ 12205 w 12754"/>
                <a:gd name="connsiteY72" fmla="*/ 4405 h 10760"/>
                <a:gd name="connsiteX73" fmla="*/ 12753 w 12754"/>
                <a:gd name="connsiteY73" fmla="*/ 5293 h 10760"/>
                <a:gd name="connsiteX74" fmla="*/ 12341 w 12754"/>
                <a:gd name="connsiteY74" fmla="*/ 5967 h 10760"/>
                <a:gd name="connsiteX75" fmla="*/ 10958 w 12754"/>
                <a:gd name="connsiteY75" fmla="*/ 6232 h 10760"/>
                <a:gd name="connsiteX76" fmla="*/ 9742 w 12754"/>
                <a:gd name="connsiteY76" fmla="*/ 6788 h 10760"/>
                <a:gd name="connsiteX77" fmla="*/ 9105 w 12754"/>
                <a:gd name="connsiteY77" fmla="*/ 6901 h 10760"/>
                <a:gd name="connsiteX78" fmla="*/ 8576 w 12754"/>
                <a:gd name="connsiteY78" fmla="*/ 7088 h 10760"/>
                <a:gd name="connsiteX79" fmla="*/ 9139 w 12754"/>
                <a:gd name="connsiteY79" fmla="*/ 7238 h 10760"/>
                <a:gd name="connsiteX80" fmla="*/ 9609 w 12754"/>
                <a:gd name="connsiteY80" fmla="*/ 7626 h 10760"/>
                <a:gd name="connsiteX81" fmla="*/ 9984 w 12754"/>
                <a:gd name="connsiteY81" fmla="*/ 8372 h 10760"/>
                <a:gd name="connsiteX82" fmla="*/ 10360 w 12754"/>
                <a:gd name="connsiteY82" fmla="*/ 8342 h 10760"/>
                <a:gd name="connsiteX83" fmla="*/ 11346 w 12754"/>
                <a:gd name="connsiteY83" fmla="*/ 9088 h 10760"/>
                <a:gd name="connsiteX84" fmla="*/ 10172 w 12754"/>
                <a:gd name="connsiteY84" fmla="*/ 9894 h 10760"/>
                <a:gd name="connsiteX85" fmla="*/ 10642 w 12754"/>
                <a:gd name="connsiteY85" fmla="*/ 10491 h 10760"/>
                <a:gd name="connsiteX86" fmla="*/ 10454 w 12754"/>
                <a:gd name="connsiteY86" fmla="*/ 10730 h 10760"/>
                <a:gd name="connsiteX87" fmla="*/ 10172 w 12754"/>
                <a:gd name="connsiteY87" fmla="*/ 10491 h 10760"/>
                <a:gd name="connsiteX88" fmla="*/ 8294 w 12754"/>
                <a:gd name="connsiteY88" fmla="*/ 10461 h 10760"/>
                <a:gd name="connsiteX89" fmla="*/ 7966 w 12754"/>
                <a:gd name="connsiteY89" fmla="*/ 10760 h 10760"/>
                <a:gd name="connsiteX90" fmla="*/ 7402 w 12754"/>
                <a:gd name="connsiteY90" fmla="*/ 10730 h 10760"/>
                <a:gd name="connsiteX0" fmla="*/ 7402 w 12754"/>
                <a:gd name="connsiteY0" fmla="*/ 10730 h 10760"/>
                <a:gd name="connsiteX1" fmla="*/ 7496 w 12754"/>
                <a:gd name="connsiteY1" fmla="*/ 9894 h 10760"/>
                <a:gd name="connsiteX2" fmla="*/ 7778 w 12754"/>
                <a:gd name="connsiteY2" fmla="*/ 9088 h 10760"/>
                <a:gd name="connsiteX3" fmla="*/ 6980 w 12754"/>
                <a:gd name="connsiteY3" fmla="*/ 8909 h 10760"/>
                <a:gd name="connsiteX4" fmla="*/ 6745 w 12754"/>
                <a:gd name="connsiteY4" fmla="*/ 8730 h 10760"/>
                <a:gd name="connsiteX5" fmla="*/ 6369 w 12754"/>
                <a:gd name="connsiteY5" fmla="*/ 8820 h 10760"/>
                <a:gd name="connsiteX6" fmla="*/ 6041 w 12754"/>
                <a:gd name="connsiteY6" fmla="*/ 8253 h 10760"/>
                <a:gd name="connsiteX7" fmla="*/ 5477 w 12754"/>
                <a:gd name="connsiteY7" fmla="*/ 7894 h 10760"/>
                <a:gd name="connsiteX8" fmla="*/ 5055 w 12754"/>
                <a:gd name="connsiteY8" fmla="*/ 7924 h 10760"/>
                <a:gd name="connsiteX9" fmla="*/ 5149 w 12754"/>
                <a:gd name="connsiteY9" fmla="*/ 8103 h 10760"/>
                <a:gd name="connsiteX10" fmla="*/ 4679 w 12754"/>
                <a:gd name="connsiteY10" fmla="*/ 8133 h 10760"/>
                <a:gd name="connsiteX11" fmla="*/ 4632 w 12754"/>
                <a:gd name="connsiteY11" fmla="*/ 7447 h 10760"/>
                <a:gd name="connsiteX12" fmla="*/ 3881 w 12754"/>
                <a:gd name="connsiteY12" fmla="*/ 7417 h 10760"/>
                <a:gd name="connsiteX13" fmla="*/ 3975 w 12754"/>
                <a:gd name="connsiteY13" fmla="*/ 7118 h 10760"/>
                <a:gd name="connsiteX14" fmla="*/ 3646 w 12754"/>
                <a:gd name="connsiteY14" fmla="*/ 7029 h 10760"/>
                <a:gd name="connsiteX15" fmla="*/ 3459 w 12754"/>
                <a:gd name="connsiteY15" fmla="*/ 6521 h 10760"/>
                <a:gd name="connsiteX16" fmla="*/ 3787 w 12754"/>
                <a:gd name="connsiteY16" fmla="*/ 6372 h 10760"/>
                <a:gd name="connsiteX17" fmla="*/ 4257 w 12754"/>
                <a:gd name="connsiteY17" fmla="*/ 5984 h 10760"/>
                <a:gd name="connsiteX18" fmla="*/ 3975 w 12754"/>
                <a:gd name="connsiteY18" fmla="*/ 5775 h 10760"/>
                <a:gd name="connsiteX19" fmla="*/ 4538 w 12754"/>
                <a:gd name="connsiteY19" fmla="*/ 5447 h 10760"/>
                <a:gd name="connsiteX20" fmla="*/ 3975 w 12754"/>
                <a:gd name="connsiteY20" fmla="*/ 5447 h 10760"/>
                <a:gd name="connsiteX21" fmla="*/ 3975 w 12754"/>
                <a:gd name="connsiteY21" fmla="*/ 5088 h 10760"/>
                <a:gd name="connsiteX22" fmla="*/ 4163 w 12754"/>
                <a:gd name="connsiteY22" fmla="*/ 4521 h 10760"/>
                <a:gd name="connsiteX23" fmla="*/ 3928 w 12754"/>
                <a:gd name="connsiteY23" fmla="*/ 4044 h 10760"/>
                <a:gd name="connsiteX24" fmla="*/ 4634 w 12754"/>
                <a:gd name="connsiteY24" fmla="*/ 3532 h 10760"/>
                <a:gd name="connsiteX25" fmla="*/ 8 w 12754"/>
                <a:gd name="connsiteY25" fmla="*/ 5674 h 10760"/>
                <a:gd name="connsiteX26" fmla="*/ 11 w 12754"/>
                <a:gd name="connsiteY26" fmla="*/ 5040 h 10760"/>
                <a:gd name="connsiteX27" fmla="*/ 147 w 12754"/>
                <a:gd name="connsiteY27" fmla="*/ 4655 h 10760"/>
                <a:gd name="connsiteX28" fmla="*/ 1058 w 12754"/>
                <a:gd name="connsiteY28" fmla="*/ 4121 h 10760"/>
                <a:gd name="connsiteX29" fmla="*/ 1449 w 12754"/>
                <a:gd name="connsiteY29" fmla="*/ 3784 h 10760"/>
                <a:gd name="connsiteX30" fmla="*/ 1114 w 12754"/>
                <a:gd name="connsiteY30" fmla="*/ 3358 h 10760"/>
                <a:gd name="connsiteX31" fmla="*/ 1515 w 12754"/>
                <a:gd name="connsiteY31" fmla="*/ 2950 h 10760"/>
                <a:gd name="connsiteX32" fmla="*/ 1534 w 12754"/>
                <a:gd name="connsiteY32" fmla="*/ 2820 h 10760"/>
                <a:gd name="connsiteX33" fmla="*/ 1346 w 12754"/>
                <a:gd name="connsiteY33" fmla="*/ 2790 h 10760"/>
                <a:gd name="connsiteX34" fmla="*/ 1704 w 12754"/>
                <a:gd name="connsiteY34" fmla="*/ 1986 h 10760"/>
                <a:gd name="connsiteX35" fmla="*/ 2353 w 12754"/>
                <a:gd name="connsiteY35" fmla="*/ 1999 h 10760"/>
                <a:gd name="connsiteX36" fmla="*/ 3130 w 12754"/>
                <a:gd name="connsiteY36" fmla="*/ 2461 h 10760"/>
                <a:gd name="connsiteX37" fmla="*/ 2054 w 12754"/>
                <a:gd name="connsiteY37" fmla="*/ 2015 h 10760"/>
                <a:gd name="connsiteX38" fmla="*/ 2365 w 12754"/>
                <a:gd name="connsiteY38" fmla="*/ 2021 h 10760"/>
                <a:gd name="connsiteX39" fmla="*/ 2527 w 12754"/>
                <a:gd name="connsiteY39" fmla="*/ 2083 h 10760"/>
                <a:gd name="connsiteX40" fmla="*/ 3002 w 12754"/>
                <a:gd name="connsiteY40" fmla="*/ 2449 h 10760"/>
                <a:gd name="connsiteX41" fmla="*/ 3200 w 12754"/>
                <a:gd name="connsiteY41" fmla="*/ 2178 h 10760"/>
                <a:gd name="connsiteX42" fmla="*/ 3526 w 12754"/>
                <a:gd name="connsiteY42" fmla="*/ 1886 h 10760"/>
                <a:gd name="connsiteX43" fmla="*/ 3651 w 12754"/>
                <a:gd name="connsiteY43" fmla="*/ 1793 h 10760"/>
                <a:gd name="connsiteX44" fmla="*/ 4351 w 12754"/>
                <a:gd name="connsiteY44" fmla="*/ 1805 h 10760"/>
                <a:gd name="connsiteX45" fmla="*/ 4069 w 12754"/>
                <a:gd name="connsiteY45" fmla="*/ 1835 h 10760"/>
                <a:gd name="connsiteX46" fmla="*/ 3881 w 12754"/>
                <a:gd name="connsiteY46" fmla="*/ 1596 h 10760"/>
                <a:gd name="connsiteX47" fmla="*/ 3864 w 12754"/>
                <a:gd name="connsiteY47" fmla="*/ 1359 h 10760"/>
                <a:gd name="connsiteX48" fmla="*/ 3912 w 12754"/>
                <a:gd name="connsiteY48" fmla="*/ 1009 h 10760"/>
                <a:gd name="connsiteX49" fmla="*/ 3646 w 12754"/>
                <a:gd name="connsiteY49" fmla="*/ 1059 h 10760"/>
                <a:gd name="connsiteX50" fmla="*/ 3600 w 12754"/>
                <a:gd name="connsiteY50" fmla="*/ 879 h 10760"/>
                <a:gd name="connsiteX51" fmla="*/ 3715 w 12754"/>
                <a:gd name="connsiteY51" fmla="*/ 580 h 10760"/>
                <a:gd name="connsiteX52" fmla="*/ 3613 w 12754"/>
                <a:gd name="connsiteY52" fmla="*/ 0 h 10760"/>
                <a:gd name="connsiteX53" fmla="*/ 4911 w 12754"/>
                <a:gd name="connsiteY53" fmla="*/ 195 h 10760"/>
                <a:gd name="connsiteX54" fmla="*/ 5947 w 12754"/>
                <a:gd name="connsiteY54" fmla="*/ 1088 h 10760"/>
                <a:gd name="connsiteX55" fmla="*/ 6207 w 12754"/>
                <a:gd name="connsiteY55" fmla="*/ 1091 h 10760"/>
                <a:gd name="connsiteX56" fmla="*/ 6273 w 12754"/>
                <a:gd name="connsiteY56" fmla="*/ 1196 h 10760"/>
                <a:gd name="connsiteX57" fmla="*/ 6489 w 12754"/>
                <a:gd name="connsiteY57" fmla="*/ 1300 h 10760"/>
                <a:gd name="connsiteX58" fmla="*/ 6930 w 12754"/>
                <a:gd name="connsiteY58" fmla="*/ 1256 h 10760"/>
                <a:gd name="connsiteX59" fmla="*/ 6980 w 12754"/>
                <a:gd name="connsiteY59" fmla="*/ 1745 h 10760"/>
                <a:gd name="connsiteX60" fmla="*/ 7261 w 12754"/>
                <a:gd name="connsiteY60" fmla="*/ 1596 h 10760"/>
                <a:gd name="connsiteX61" fmla="*/ 7776 w 12754"/>
                <a:gd name="connsiteY61" fmla="*/ 1755 h 10760"/>
                <a:gd name="connsiteX62" fmla="*/ 8513 w 12754"/>
                <a:gd name="connsiteY62" fmla="*/ 1218 h 10760"/>
                <a:gd name="connsiteX63" fmla="*/ 8937 w 12754"/>
                <a:gd name="connsiteY63" fmla="*/ 983 h 10760"/>
                <a:gd name="connsiteX64" fmla="*/ 9955 w 12754"/>
                <a:gd name="connsiteY64" fmla="*/ 1065 h 10760"/>
                <a:gd name="connsiteX65" fmla="*/ 10332 w 12754"/>
                <a:gd name="connsiteY65" fmla="*/ 1177 h 10760"/>
                <a:gd name="connsiteX66" fmla="*/ 10658 w 12754"/>
                <a:gd name="connsiteY66" fmla="*/ 721 h 10760"/>
                <a:gd name="connsiteX67" fmla="*/ 10940 w 12754"/>
                <a:gd name="connsiteY67" fmla="*/ 1213 h 10760"/>
                <a:gd name="connsiteX68" fmla="*/ 10552 w 12754"/>
                <a:gd name="connsiteY68" fmla="*/ 1544 h 10760"/>
                <a:gd name="connsiteX69" fmla="*/ 11172 w 12754"/>
                <a:gd name="connsiteY69" fmla="*/ 1477 h 10760"/>
                <a:gd name="connsiteX70" fmla="*/ 11750 w 12754"/>
                <a:gd name="connsiteY70" fmla="*/ 1744 h 10760"/>
                <a:gd name="connsiteX71" fmla="*/ 12205 w 12754"/>
                <a:gd name="connsiteY71" fmla="*/ 4405 h 10760"/>
                <a:gd name="connsiteX72" fmla="*/ 12753 w 12754"/>
                <a:gd name="connsiteY72" fmla="*/ 5293 h 10760"/>
                <a:gd name="connsiteX73" fmla="*/ 12341 w 12754"/>
                <a:gd name="connsiteY73" fmla="*/ 5967 h 10760"/>
                <a:gd name="connsiteX74" fmla="*/ 10958 w 12754"/>
                <a:gd name="connsiteY74" fmla="*/ 6232 h 10760"/>
                <a:gd name="connsiteX75" fmla="*/ 9742 w 12754"/>
                <a:gd name="connsiteY75" fmla="*/ 6788 h 10760"/>
                <a:gd name="connsiteX76" fmla="*/ 9105 w 12754"/>
                <a:gd name="connsiteY76" fmla="*/ 6901 h 10760"/>
                <a:gd name="connsiteX77" fmla="*/ 8576 w 12754"/>
                <a:gd name="connsiteY77" fmla="*/ 7088 h 10760"/>
                <a:gd name="connsiteX78" fmla="*/ 9139 w 12754"/>
                <a:gd name="connsiteY78" fmla="*/ 7238 h 10760"/>
                <a:gd name="connsiteX79" fmla="*/ 9609 w 12754"/>
                <a:gd name="connsiteY79" fmla="*/ 7626 h 10760"/>
                <a:gd name="connsiteX80" fmla="*/ 9984 w 12754"/>
                <a:gd name="connsiteY80" fmla="*/ 8372 h 10760"/>
                <a:gd name="connsiteX81" fmla="*/ 10360 w 12754"/>
                <a:gd name="connsiteY81" fmla="*/ 8342 h 10760"/>
                <a:gd name="connsiteX82" fmla="*/ 11346 w 12754"/>
                <a:gd name="connsiteY82" fmla="*/ 9088 h 10760"/>
                <a:gd name="connsiteX83" fmla="*/ 10172 w 12754"/>
                <a:gd name="connsiteY83" fmla="*/ 9894 h 10760"/>
                <a:gd name="connsiteX84" fmla="*/ 10642 w 12754"/>
                <a:gd name="connsiteY84" fmla="*/ 10491 h 10760"/>
                <a:gd name="connsiteX85" fmla="*/ 10454 w 12754"/>
                <a:gd name="connsiteY85" fmla="*/ 10730 h 10760"/>
                <a:gd name="connsiteX86" fmla="*/ 10172 w 12754"/>
                <a:gd name="connsiteY86" fmla="*/ 10491 h 10760"/>
                <a:gd name="connsiteX87" fmla="*/ 8294 w 12754"/>
                <a:gd name="connsiteY87" fmla="*/ 10461 h 10760"/>
                <a:gd name="connsiteX88" fmla="*/ 7966 w 12754"/>
                <a:gd name="connsiteY88" fmla="*/ 10760 h 10760"/>
                <a:gd name="connsiteX89" fmla="*/ 7402 w 12754"/>
                <a:gd name="connsiteY89" fmla="*/ 10730 h 10760"/>
                <a:gd name="connsiteX0" fmla="*/ 7402 w 12754"/>
                <a:gd name="connsiteY0" fmla="*/ 10730 h 10760"/>
                <a:gd name="connsiteX1" fmla="*/ 7496 w 12754"/>
                <a:gd name="connsiteY1" fmla="*/ 9894 h 10760"/>
                <a:gd name="connsiteX2" fmla="*/ 7778 w 12754"/>
                <a:gd name="connsiteY2" fmla="*/ 9088 h 10760"/>
                <a:gd name="connsiteX3" fmla="*/ 6980 w 12754"/>
                <a:gd name="connsiteY3" fmla="*/ 8909 h 10760"/>
                <a:gd name="connsiteX4" fmla="*/ 6745 w 12754"/>
                <a:gd name="connsiteY4" fmla="*/ 8730 h 10760"/>
                <a:gd name="connsiteX5" fmla="*/ 6369 w 12754"/>
                <a:gd name="connsiteY5" fmla="*/ 8820 h 10760"/>
                <a:gd name="connsiteX6" fmla="*/ 6041 w 12754"/>
                <a:gd name="connsiteY6" fmla="*/ 8253 h 10760"/>
                <a:gd name="connsiteX7" fmla="*/ 5477 w 12754"/>
                <a:gd name="connsiteY7" fmla="*/ 7894 h 10760"/>
                <a:gd name="connsiteX8" fmla="*/ 5055 w 12754"/>
                <a:gd name="connsiteY8" fmla="*/ 7924 h 10760"/>
                <a:gd name="connsiteX9" fmla="*/ 5149 w 12754"/>
                <a:gd name="connsiteY9" fmla="*/ 8103 h 10760"/>
                <a:gd name="connsiteX10" fmla="*/ 4679 w 12754"/>
                <a:gd name="connsiteY10" fmla="*/ 8133 h 10760"/>
                <a:gd name="connsiteX11" fmla="*/ 4632 w 12754"/>
                <a:gd name="connsiteY11" fmla="*/ 7447 h 10760"/>
                <a:gd name="connsiteX12" fmla="*/ 3881 w 12754"/>
                <a:gd name="connsiteY12" fmla="*/ 7417 h 10760"/>
                <a:gd name="connsiteX13" fmla="*/ 3975 w 12754"/>
                <a:gd name="connsiteY13" fmla="*/ 7118 h 10760"/>
                <a:gd name="connsiteX14" fmla="*/ 3646 w 12754"/>
                <a:gd name="connsiteY14" fmla="*/ 7029 h 10760"/>
                <a:gd name="connsiteX15" fmla="*/ 3459 w 12754"/>
                <a:gd name="connsiteY15" fmla="*/ 6521 h 10760"/>
                <a:gd name="connsiteX16" fmla="*/ 3787 w 12754"/>
                <a:gd name="connsiteY16" fmla="*/ 6372 h 10760"/>
                <a:gd name="connsiteX17" fmla="*/ 4257 w 12754"/>
                <a:gd name="connsiteY17" fmla="*/ 5984 h 10760"/>
                <a:gd name="connsiteX18" fmla="*/ 3975 w 12754"/>
                <a:gd name="connsiteY18" fmla="*/ 5775 h 10760"/>
                <a:gd name="connsiteX19" fmla="*/ 4538 w 12754"/>
                <a:gd name="connsiteY19" fmla="*/ 5447 h 10760"/>
                <a:gd name="connsiteX20" fmla="*/ 3975 w 12754"/>
                <a:gd name="connsiteY20" fmla="*/ 5447 h 10760"/>
                <a:gd name="connsiteX21" fmla="*/ 3975 w 12754"/>
                <a:gd name="connsiteY21" fmla="*/ 5088 h 10760"/>
                <a:gd name="connsiteX22" fmla="*/ 4163 w 12754"/>
                <a:gd name="connsiteY22" fmla="*/ 4521 h 10760"/>
                <a:gd name="connsiteX23" fmla="*/ 3928 w 12754"/>
                <a:gd name="connsiteY23" fmla="*/ 4044 h 10760"/>
                <a:gd name="connsiteX24" fmla="*/ 51 w 12754"/>
                <a:gd name="connsiteY24" fmla="*/ 6058 h 10760"/>
                <a:gd name="connsiteX25" fmla="*/ 8 w 12754"/>
                <a:gd name="connsiteY25" fmla="*/ 5674 h 10760"/>
                <a:gd name="connsiteX26" fmla="*/ 11 w 12754"/>
                <a:gd name="connsiteY26" fmla="*/ 5040 h 10760"/>
                <a:gd name="connsiteX27" fmla="*/ 147 w 12754"/>
                <a:gd name="connsiteY27" fmla="*/ 4655 h 10760"/>
                <a:gd name="connsiteX28" fmla="*/ 1058 w 12754"/>
                <a:gd name="connsiteY28" fmla="*/ 4121 h 10760"/>
                <a:gd name="connsiteX29" fmla="*/ 1449 w 12754"/>
                <a:gd name="connsiteY29" fmla="*/ 3784 h 10760"/>
                <a:gd name="connsiteX30" fmla="*/ 1114 w 12754"/>
                <a:gd name="connsiteY30" fmla="*/ 3358 h 10760"/>
                <a:gd name="connsiteX31" fmla="*/ 1515 w 12754"/>
                <a:gd name="connsiteY31" fmla="*/ 2950 h 10760"/>
                <a:gd name="connsiteX32" fmla="*/ 1534 w 12754"/>
                <a:gd name="connsiteY32" fmla="*/ 2820 h 10760"/>
                <a:gd name="connsiteX33" fmla="*/ 1346 w 12754"/>
                <a:gd name="connsiteY33" fmla="*/ 2790 h 10760"/>
                <a:gd name="connsiteX34" fmla="*/ 1704 w 12754"/>
                <a:gd name="connsiteY34" fmla="*/ 1986 h 10760"/>
                <a:gd name="connsiteX35" fmla="*/ 2353 w 12754"/>
                <a:gd name="connsiteY35" fmla="*/ 1999 h 10760"/>
                <a:gd name="connsiteX36" fmla="*/ 3130 w 12754"/>
                <a:gd name="connsiteY36" fmla="*/ 2461 h 10760"/>
                <a:gd name="connsiteX37" fmla="*/ 2054 w 12754"/>
                <a:gd name="connsiteY37" fmla="*/ 2015 h 10760"/>
                <a:gd name="connsiteX38" fmla="*/ 2365 w 12754"/>
                <a:gd name="connsiteY38" fmla="*/ 2021 h 10760"/>
                <a:gd name="connsiteX39" fmla="*/ 2527 w 12754"/>
                <a:gd name="connsiteY39" fmla="*/ 2083 h 10760"/>
                <a:gd name="connsiteX40" fmla="*/ 3002 w 12754"/>
                <a:gd name="connsiteY40" fmla="*/ 2449 h 10760"/>
                <a:gd name="connsiteX41" fmla="*/ 3200 w 12754"/>
                <a:gd name="connsiteY41" fmla="*/ 2178 h 10760"/>
                <a:gd name="connsiteX42" fmla="*/ 3526 w 12754"/>
                <a:gd name="connsiteY42" fmla="*/ 1886 h 10760"/>
                <a:gd name="connsiteX43" fmla="*/ 3651 w 12754"/>
                <a:gd name="connsiteY43" fmla="*/ 1793 h 10760"/>
                <a:gd name="connsiteX44" fmla="*/ 4351 w 12754"/>
                <a:gd name="connsiteY44" fmla="*/ 1805 h 10760"/>
                <a:gd name="connsiteX45" fmla="*/ 4069 w 12754"/>
                <a:gd name="connsiteY45" fmla="*/ 1835 h 10760"/>
                <a:gd name="connsiteX46" fmla="*/ 3881 w 12754"/>
                <a:gd name="connsiteY46" fmla="*/ 1596 h 10760"/>
                <a:gd name="connsiteX47" fmla="*/ 3864 w 12754"/>
                <a:gd name="connsiteY47" fmla="*/ 1359 h 10760"/>
                <a:gd name="connsiteX48" fmla="*/ 3912 w 12754"/>
                <a:gd name="connsiteY48" fmla="*/ 1009 h 10760"/>
                <a:gd name="connsiteX49" fmla="*/ 3646 w 12754"/>
                <a:gd name="connsiteY49" fmla="*/ 1059 h 10760"/>
                <a:gd name="connsiteX50" fmla="*/ 3600 w 12754"/>
                <a:gd name="connsiteY50" fmla="*/ 879 h 10760"/>
                <a:gd name="connsiteX51" fmla="*/ 3715 w 12754"/>
                <a:gd name="connsiteY51" fmla="*/ 580 h 10760"/>
                <a:gd name="connsiteX52" fmla="*/ 3613 w 12754"/>
                <a:gd name="connsiteY52" fmla="*/ 0 h 10760"/>
                <a:gd name="connsiteX53" fmla="*/ 4911 w 12754"/>
                <a:gd name="connsiteY53" fmla="*/ 195 h 10760"/>
                <a:gd name="connsiteX54" fmla="*/ 5947 w 12754"/>
                <a:gd name="connsiteY54" fmla="*/ 1088 h 10760"/>
                <a:gd name="connsiteX55" fmla="*/ 6207 w 12754"/>
                <a:gd name="connsiteY55" fmla="*/ 1091 h 10760"/>
                <a:gd name="connsiteX56" fmla="*/ 6273 w 12754"/>
                <a:gd name="connsiteY56" fmla="*/ 1196 h 10760"/>
                <a:gd name="connsiteX57" fmla="*/ 6489 w 12754"/>
                <a:gd name="connsiteY57" fmla="*/ 1300 h 10760"/>
                <a:gd name="connsiteX58" fmla="*/ 6930 w 12754"/>
                <a:gd name="connsiteY58" fmla="*/ 1256 h 10760"/>
                <a:gd name="connsiteX59" fmla="*/ 6980 w 12754"/>
                <a:gd name="connsiteY59" fmla="*/ 1745 h 10760"/>
                <a:gd name="connsiteX60" fmla="*/ 7261 w 12754"/>
                <a:gd name="connsiteY60" fmla="*/ 1596 h 10760"/>
                <a:gd name="connsiteX61" fmla="*/ 7776 w 12754"/>
                <a:gd name="connsiteY61" fmla="*/ 1755 h 10760"/>
                <a:gd name="connsiteX62" fmla="*/ 8513 w 12754"/>
                <a:gd name="connsiteY62" fmla="*/ 1218 h 10760"/>
                <a:gd name="connsiteX63" fmla="*/ 8937 w 12754"/>
                <a:gd name="connsiteY63" fmla="*/ 983 h 10760"/>
                <a:gd name="connsiteX64" fmla="*/ 9955 w 12754"/>
                <a:gd name="connsiteY64" fmla="*/ 1065 h 10760"/>
                <a:gd name="connsiteX65" fmla="*/ 10332 w 12754"/>
                <a:gd name="connsiteY65" fmla="*/ 1177 h 10760"/>
                <a:gd name="connsiteX66" fmla="*/ 10658 w 12754"/>
                <a:gd name="connsiteY66" fmla="*/ 721 h 10760"/>
                <a:gd name="connsiteX67" fmla="*/ 10940 w 12754"/>
                <a:gd name="connsiteY67" fmla="*/ 1213 h 10760"/>
                <a:gd name="connsiteX68" fmla="*/ 10552 w 12754"/>
                <a:gd name="connsiteY68" fmla="*/ 1544 h 10760"/>
                <a:gd name="connsiteX69" fmla="*/ 11172 w 12754"/>
                <a:gd name="connsiteY69" fmla="*/ 1477 h 10760"/>
                <a:gd name="connsiteX70" fmla="*/ 11750 w 12754"/>
                <a:gd name="connsiteY70" fmla="*/ 1744 h 10760"/>
                <a:gd name="connsiteX71" fmla="*/ 12205 w 12754"/>
                <a:gd name="connsiteY71" fmla="*/ 4405 h 10760"/>
                <a:gd name="connsiteX72" fmla="*/ 12753 w 12754"/>
                <a:gd name="connsiteY72" fmla="*/ 5293 h 10760"/>
                <a:gd name="connsiteX73" fmla="*/ 12341 w 12754"/>
                <a:gd name="connsiteY73" fmla="*/ 5967 h 10760"/>
                <a:gd name="connsiteX74" fmla="*/ 10958 w 12754"/>
                <a:gd name="connsiteY74" fmla="*/ 6232 h 10760"/>
                <a:gd name="connsiteX75" fmla="*/ 9742 w 12754"/>
                <a:gd name="connsiteY75" fmla="*/ 6788 h 10760"/>
                <a:gd name="connsiteX76" fmla="*/ 9105 w 12754"/>
                <a:gd name="connsiteY76" fmla="*/ 6901 h 10760"/>
                <a:gd name="connsiteX77" fmla="*/ 8576 w 12754"/>
                <a:gd name="connsiteY77" fmla="*/ 7088 h 10760"/>
                <a:gd name="connsiteX78" fmla="*/ 9139 w 12754"/>
                <a:gd name="connsiteY78" fmla="*/ 7238 h 10760"/>
                <a:gd name="connsiteX79" fmla="*/ 9609 w 12754"/>
                <a:gd name="connsiteY79" fmla="*/ 7626 h 10760"/>
                <a:gd name="connsiteX80" fmla="*/ 9984 w 12754"/>
                <a:gd name="connsiteY80" fmla="*/ 8372 h 10760"/>
                <a:gd name="connsiteX81" fmla="*/ 10360 w 12754"/>
                <a:gd name="connsiteY81" fmla="*/ 8342 h 10760"/>
                <a:gd name="connsiteX82" fmla="*/ 11346 w 12754"/>
                <a:gd name="connsiteY82" fmla="*/ 9088 h 10760"/>
                <a:gd name="connsiteX83" fmla="*/ 10172 w 12754"/>
                <a:gd name="connsiteY83" fmla="*/ 9894 h 10760"/>
                <a:gd name="connsiteX84" fmla="*/ 10642 w 12754"/>
                <a:gd name="connsiteY84" fmla="*/ 10491 h 10760"/>
                <a:gd name="connsiteX85" fmla="*/ 10454 w 12754"/>
                <a:gd name="connsiteY85" fmla="*/ 10730 h 10760"/>
                <a:gd name="connsiteX86" fmla="*/ 10172 w 12754"/>
                <a:gd name="connsiteY86" fmla="*/ 10491 h 10760"/>
                <a:gd name="connsiteX87" fmla="*/ 8294 w 12754"/>
                <a:gd name="connsiteY87" fmla="*/ 10461 h 10760"/>
                <a:gd name="connsiteX88" fmla="*/ 7966 w 12754"/>
                <a:gd name="connsiteY88" fmla="*/ 10760 h 10760"/>
                <a:gd name="connsiteX89" fmla="*/ 7402 w 12754"/>
                <a:gd name="connsiteY89" fmla="*/ 10730 h 10760"/>
                <a:gd name="connsiteX0" fmla="*/ 7402 w 12754"/>
                <a:gd name="connsiteY0" fmla="*/ 10730 h 10760"/>
                <a:gd name="connsiteX1" fmla="*/ 7496 w 12754"/>
                <a:gd name="connsiteY1" fmla="*/ 9894 h 10760"/>
                <a:gd name="connsiteX2" fmla="*/ 7778 w 12754"/>
                <a:gd name="connsiteY2" fmla="*/ 9088 h 10760"/>
                <a:gd name="connsiteX3" fmla="*/ 6980 w 12754"/>
                <a:gd name="connsiteY3" fmla="*/ 8909 h 10760"/>
                <a:gd name="connsiteX4" fmla="*/ 6745 w 12754"/>
                <a:gd name="connsiteY4" fmla="*/ 8730 h 10760"/>
                <a:gd name="connsiteX5" fmla="*/ 6369 w 12754"/>
                <a:gd name="connsiteY5" fmla="*/ 8820 h 10760"/>
                <a:gd name="connsiteX6" fmla="*/ 6041 w 12754"/>
                <a:gd name="connsiteY6" fmla="*/ 8253 h 10760"/>
                <a:gd name="connsiteX7" fmla="*/ 5477 w 12754"/>
                <a:gd name="connsiteY7" fmla="*/ 7894 h 10760"/>
                <a:gd name="connsiteX8" fmla="*/ 5055 w 12754"/>
                <a:gd name="connsiteY8" fmla="*/ 7924 h 10760"/>
                <a:gd name="connsiteX9" fmla="*/ 5149 w 12754"/>
                <a:gd name="connsiteY9" fmla="*/ 8103 h 10760"/>
                <a:gd name="connsiteX10" fmla="*/ 4679 w 12754"/>
                <a:gd name="connsiteY10" fmla="*/ 8133 h 10760"/>
                <a:gd name="connsiteX11" fmla="*/ 4632 w 12754"/>
                <a:gd name="connsiteY11" fmla="*/ 7447 h 10760"/>
                <a:gd name="connsiteX12" fmla="*/ 3881 w 12754"/>
                <a:gd name="connsiteY12" fmla="*/ 7417 h 10760"/>
                <a:gd name="connsiteX13" fmla="*/ 3975 w 12754"/>
                <a:gd name="connsiteY13" fmla="*/ 7118 h 10760"/>
                <a:gd name="connsiteX14" fmla="*/ 3646 w 12754"/>
                <a:gd name="connsiteY14" fmla="*/ 7029 h 10760"/>
                <a:gd name="connsiteX15" fmla="*/ 3459 w 12754"/>
                <a:gd name="connsiteY15" fmla="*/ 6521 h 10760"/>
                <a:gd name="connsiteX16" fmla="*/ 3787 w 12754"/>
                <a:gd name="connsiteY16" fmla="*/ 6372 h 10760"/>
                <a:gd name="connsiteX17" fmla="*/ 4257 w 12754"/>
                <a:gd name="connsiteY17" fmla="*/ 5984 h 10760"/>
                <a:gd name="connsiteX18" fmla="*/ 3975 w 12754"/>
                <a:gd name="connsiteY18" fmla="*/ 5775 h 10760"/>
                <a:gd name="connsiteX19" fmla="*/ 4538 w 12754"/>
                <a:gd name="connsiteY19" fmla="*/ 5447 h 10760"/>
                <a:gd name="connsiteX20" fmla="*/ 3975 w 12754"/>
                <a:gd name="connsiteY20" fmla="*/ 5447 h 10760"/>
                <a:gd name="connsiteX21" fmla="*/ 3975 w 12754"/>
                <a:gd name="connsiteY21" fmla="*/ 5088 h 10760"/>
                <a:gd name="connsiteX22" fmla="*/ 4163 w 12754"/>
                <a:gd name="connsiteY22" fmla="*/ 4521 h 10760"/>
                <a:gd name="connsiteX23" fmla="*/ 472 w 12754"/>
                <a:gd name="connsiteY23" fmla="*/ 6422 h 10760"/>
                <a:gd name="connsiteX24" fmla="*/ 3928 w 12754"/>
                <a:gd name="connsiteY24" fmla="*/ 4044 h 10760"/>
                <a:gd name="connsiteX25" fmla="*/ 51 w 12754"/>
                <a:gd name="connsiteY25" fmla="*/ 6058 h 10760"/>
                <a:gd name="connsiteX26" fmla="*/ 8 w 12754"/>
                <a:gd name="connsiteY26" fmla="*/ 5674 h 10760"/>
                <a:gd name="connsiteX27" fmla="*/ 11 w 12754"/>
                <a:gd name="connsiteY27" fmla="*/ 5040 h 10760"/>
                <a:gd name="connsiteX28" fmla="*/ 147 w 12754"/>
                <a:gd name="connsiteY28" fmla="*/ 4655 h 10760"/>
                <a:gd name="connsiteX29" fmla="*/ 1058 w 12754"/>
                <a:gd name="connsiteY29" fmla="*/ 4121 h 10760"/>
                <a:gd name="connsiteX30" fmla="*/ 1449 w 12754"/>
                <a:gd name="connsiteY30" fmla="*/ 3784 h 10760"/>
                <a:gd name="connsiteX31" fmla="*/ 1114 w 12754"/>
                <a:gd name="connsiteY31" fmla="*/ 3358 h 10760"/>
                <a:gd name="connsiteX32" fmla="*/ 1515 w 12754"/>
                <a:gd name="connsiteY32" fmla="*/ 2950 h 10760"/>
                <a:gd name="connsiteX33" fmla="*/ 1534 w 12754"/>
                <a:gd name="connsiteY33" fmla="*/ 2820 h 10760"/>
                <a:gd name="connsiteX34" fmla="*/ 1346 w 12754"/>
                <a:gd name="connsiteY34" fmla="*/ 2790 h 10760"/>
                <a:gd name="connsiteX35" fmla="*/ 1704 w 12754"/>
                <a:gd name="connsiteY35" fmla="*/ 1986 h 10760"/>
                <a:gd name="connsiteX36" fmla="*/ 2353 w 12754"/>
                <a:gd name="connsiteY36" fmla="*/ 1999 h 10760"/>
                <a:gd name="connsiteX37" fmla="*/ 3130 w 12754"/>
                <a:gd name="connsiteY37" fmla="*/ 2461 h 10760"/>
                <a:gd name="connsiteX38" fmla="*/ 2054 w 12754"/>
                <a:gd name="connsiteY38" fmla="*/ 2015 h 10760"/>
                <a:gd name="connsiteX39" fmla="*/ 2365 w 12754"/>
                <a:gd name="connsiteY39" fmla="*/ 2021 h 10760"/>
                <a:gd name="connsiteX40" fmla="*/ 2527 w 12754"/>
                <a:gd name="connsiteY40" fmla="*/ 2083 h 10760"/>
                <a:gd name="connsiteX41" fmla="*/ 3002 w 12754"/>
                <a:gd name="connsiteY41" fmla="*/ 2449 h 10760"/>
                <a:gd name="connsiteX42" fmla="*/ 3200 w 12754"/>
                <a:gd name="connsiteY42" fmla="*/ 2178 h 10760"/>
                <a:gd name="connsiteX43" fmla="*/ 3526 w 12754"/>
                <a:gd name="connsiteY43" fmla="*/ 1886 h 10760"/>
                <a:gd name="connsiteX44" fmla="*/ 3651 w 12754"/>
                <a:gd name="connsiteY44" fmla="*/ 1793 h 10760"/>
                <a:gd name="connsiteX45" fmla="*/ 4351 w 12754"/>
                <a:gd name="connsiteY45" fmla="*/ 1805 h 10760"/>
                <a:gd name="connsiteX46" fmla="*/ 4069 w 12754"/>
                <a:gd name="connsiteY46" fmla="*/ 1835 h 10760"/>
                <a:gd name="connsiteX47" fmla="*/ 3881 w 12754"/>
                <a:gd name="connsiteY47" fmla="*/ 1596 h 10760"/>
                <a:gd name="connsiteX48" fmla="*/ 3864 w 12754"/>
                <a:gd name="connsiteY48" fmla="*/ 1359 h 10760"/>
                <a:gd name="connsiteX49" fmla="*/ 3912 w 12754"/>
                <a:gd name="connsiteY49" fmla="*/ 1009 h 10760"/>
                <a:gd name="connsiteX50" fmla="*/ 3646 w 12754"/>
                <a:gd name="connsiteY50" fmla="*/ 1059 h 10760"/>
                <a:gd name="connsiteX51" fmla="*/ 3600 w 12754"/>
                <a:gd name="connsiteY51" fmla="*/ 879 h 10760"/>
                <a:gd name="connsiteX52" fmla="*/ 3715 w 12754"/>
                <a:gd name="connsiteY52" fmla="*/ 580 h 10760"/>
                <a:gd name="connsiteX53" fmla="*/ 3613 w 12754"/>
                <a:gd name="connsiteY53" fmla="*/ 0 h 10760"/>
                <a:gd name="connsiteX54" fmla="*/ 4911 w 12754"/>
                <a:gd name="connsiteY54" fmla="*/ 195 h 10760"/>
                <a:gd name="connsiteX55" fmla="*/ 5947 w 12754"/>
                <a:gd name="connsiteY55" fmla="*/ 1088 h 10760"/>
                <a:gd name="connsiteX56" fmla="*/ 6207 w 12754"/>
                <a:gd name="connsiteY56" fmla="*/ 1091 h 10760"/>
                <a:gd name="connsiteX57" fmla="*/ 6273 w 12754"/>
                <a:gd name="connsiteY57" fmla="*/ 1196 h 10760"/>
                <a:gd name="connsiteX58" fmla="*/ 6489 w 12754"/>
                <a:gd name="connsiteY58" fmla="*/ 1300 h 10760"/>
                <a:gd name="connsiteX59" fmla="*/ 6930 w 12754"/>
                <a:gd name="connsiteY59" fmla="*/ 1256 h 10760"/>
                <a:gd name="connsiteX60" fmla="*/ 6980 w 12754"/>
                <a:gd name="connsiteY60" fmla="*/ 1745 h 10760"/>
                <a:gd name="connsiteX61" fmla="*/ 7261 w 12754"/>
                <a:gd name="connsiteY61" fmla="*/ 1596 h 10760"/>
                <a:gd name="connsiteX62" fmla="*/ 7776 w 12754"/>
                <a:gd name="connsiteY62" fmla="*/ 1755 h 10760"/>
                <a:gd name="connsiteX63" fmla="*/ 8513 w 12754"/>
                <a:gd name="connsiteY63" fmla="*/ 1218 h 10760"/>
                <a:gd name="connsiteX64" fmla="*/ 8937 w 12754"/>
                <a:gd name="connsiteY64" fmla="*/ 983 h 10760"/>
                <a:gd name="connsiteX65" fmla="*/ 9955 w 12754"/>
                <a:gd name="connsiteY65" fmla="*/ 1065 h 10760"/>
                <a:gd name="connsiteX66" fmla="*/ 10332 w 12754"/>
                <a:gd name="connsiteY66" fmla="*/ 1177 h 10760"/>
                <a:gd name="connsiteX67" fmla="*/ 10658 w 12754"/>
                <a:gd name="connsiteY67" fmla="*/ 721 h 10760"/>
                <a:gd name="connsiteX68" fmla="*/ 10940 w 12754"/>
                <a:gd name="connsiteY68" fmla="*/ 1213 h 10760"/>
                <a:gd name="connsiteX69" fmla="*/ 10552 w 12754"/>
                <a:gd name="connsiteY69" fmla="*/ 1544 h 10760"/>
                <a:gd name="connsiteX70" fmla="*/ 11172 w 12754"/>
                <a:gd name="connsiteY70" fmla="*/ 1477 h 10760"/>
                <a:gd name="connsiteX71" fmla="*/ 11750 w 12754"/>
                <a:gd name="connsiteY71" fmla="*/ 1744 h 10760"/>
                <a:gd name="connsiteX72" fmla="*/ 12205 w 12754"/>
                <a:gd name="connsiteY72" fmla="*/ 4405 h 10760"/>
                <a:gd name="connsiteX73" fmla="*/ 12753 w 12754"/>
                <a:gd name="connsiteY73" fmla="*/ 5293 h 10760"/>
                <a:gd name="connsiteX74" fmla="*/ 12341 w 12754"/>
                <a:gd name="connsiteY74" fmla="*/ 5967 h 10760"/>
                <a:gd name="connsiteX75" fmla="*/ 10958 w 12754"/>
                <a:gd name="connsiteY75" fmla="*/ 6232 h 10760"/>
                <a:gd name="connsiteX76" fmla="*/ 9742 w 12754"/>
                <a:gd name="connsiteY76" fmla="*/ 6788 h 10760"/>
                <a:gd name="connsiteX77" fmla="*/ 9105 w 12754"/>
                <a:gd name="connsiteY77" fmla="*/ 6901 h 10760"/>
                <a:gd name="connsiteX78" fmla="*/ 8576 w 12754"/>
                <a:gd name="connsiteY78" fmla="*/ 7088 h 10760"/>
                <a:gd name="connsiteX79" fmla="*/ 9139 w 12754"/>
                <a:gd name="connsiteY79" fmla="*/ 7238 h 10760"/>
                <a:gd name="connsiteX80" fmla="*/ 9609 w 12754"/>
                <a:gd name="connsiteY80" fmla="*/ 7626 h 10760"/>
                <a:gd name="connsiteX81" fmla="*/ 9984 w 12754"/>
                <a:gd name="connsiteY81" fmla="*/ 8372 h 10760"/>
                <a:gd name="connsiteX82" fmla="*/ 10360 w 12754"/>
                <a:gd name="connsiteY82" fmla="*/ 8342 h 10760"/>
                <a:gd name="connsiteX83" fmla="*/ 11346 w 12754"/>
                <a:gd name="connsiteY83" fmla="*/ 9088 h 10760"/>
                <a:gd name="connsiteX84" fmla="*/ 10172 w 12754"/>
                <a:gd name="connsiteY84" fmla="*/ 9894 h 10760"/>
                <a:gd name="connsiteX85" fmla="*/ 10642 w 12754"/>
                <a:gd name="connsiteY85" fmla="*/ 10491 h 10760"/>
                <a:gd name="connsiteX86" fmla="*/ 10454 w 12754"/>
                <a:gd name="connsiteY86" fmla="*/ 10730 h 10760"/>
                <a:gd name="connsiteX87" fmla="*/ 10172 w 12754"/>
                <a:gd name="connsiteY87" fmla="*/ 10491 h 10760"/>
                <a:gd name="connsiteX88" fmla="*/ 8294 w 12754"/>
                <a:gd name="connsiteY88" fmla="*/ 10461 h 10760"/>
                <a:gd name="connsiteX89" fmla="*/ 7966 w 12754"/>
                <a:gd name="connsiteY89" fmla="*/ 10760 h 10760"/>
                <a:gd name="connsiteX90" fmla="*/ 7402 w 12754"/>
                <a:gd name="connsiteY90" fmla="*/ 10730 h 10760"/>
                <a:gd name="connsiteX0" fmla="*/ 7402 w 12754"/>
                <a:gd name="connsiteY0" fmla="*/ 10730 h 10760"/>
                <a:gd name="connsiteX1" fmla="*/ 7496 w 12754"/>
                <a:gd name="connsiteY1" fmla="*/ 9894 h 10760"/>
                <a:gd name="connsiteX2" fmla="*/ 7778 w 12754"/>
                <a:gd name="connsiteY2" fmla="*/ 9088 h 10760"/>
                <a:gd name="connsiteX3" fmla="*/ 6980 w 12754"/>
                <a:gd name="connsiteY3" fmla="*/ 8909 h 10760"/>
                <a:gd name="connsiteX4" fmla="*/ 6745 w 12754"/>
                <a:gd name="connsiteY4" fmla="*/ 8730 h 10760"/>
                <a:gd name="connsiteX5" fmla="*/ 6369 w 12754"/>
                <a:gd name="connsiteY5" fmla="*/ 8820 h 10760"/>
                <a:gd name="connsiteX6" fmla="*/ 6041 w 12754"/>
                <a:gd name="connsiteY6" fmla="*/ 8253 h 10760"/>
                <a:gd name="connsiteX7" fmla="*/ 5477 w 12754"/>
                <a:gd name="connsiteY7" fmla="*/ 7894 h 10760"/>
                <a:gd name="connsiteX8" fmla="*/ 5055 w 12754"/>
                <a:gd name="connsiteY8" fmla="*/ 7924 h 10760"/>
                <a:gd name="connsiteX9" fmla="*/ 5149 w 12754"/>
                <a:gd name="connsiteY9" fmla="*/ 8103 h 10760"/>
                <a:gd name="connsiteX10" fmla="*/ 4679 w 12754"/>
                <a:gd name="connsiteY10" fmla="*/ 8133 h 10760"/>
                <a:gd name="connsiteX11" fmla="*/ 4632 w 12754"/>
                <a:gd name="connsiteY11" fmla="*/ 7447 h 10760"/>
                <a:gd name="connsiteX12" fmla="*/ 3881 w 12754"/>
                <a:gd name="connsiteY12" fmla="*/ 7417 h 10760"/>
                <a:gd name="connsiteX13" fmla="*/ 3975 w 12754"/>
                <a:gd name="connsiteY13" fmla="*/ 7118 h 10760"/>
                <a:gd name="connsiteX14" fmla="*/ 3646 w 12754"/>
                <a:gd name="connsiteY14" fmla="*/ 7029 h 10760"/>
                <a:gd name="connsiteX15" fmla="*/ 3459 w 12754"/>
                <a:gd name="connsiteY15" fmla="*/ 6521 h 10760"/>
                <a:gd name="connsiteX16" fmla="*/ 3787 w 12754"/>
                <a:gd name="connsiteY16" fmla="*/ 6372 h 10760"/>
                <a:gd name="connsiteX17" fmla="*/ 4257 w 12754"/>
                <a:gd name="connsiteY17" fmla="*/ 5984 h 10760"/>
                <a:gd name="connsiteX18" fmla="*/ 3975 w 12754"/>
                <a:gd name="connsiteY18" fmla="*/ 5775 h 10760"/>
                <a:gd name="connsiteX19" fmla="*/ 4538 w 12754"/>
                <a:gd name="connsiteY19" fmla="*/ 5447 h 10760"/>
                <a:gd name="connsiteX20" fmla="*/ 3975 w 12754"/>
                <a:gd name="connsiteY20" fmla="*/ 5447 h 10760"/>
                <a:gd name="connsiteX21" fmla="*/ 3975 w 12754"/>
                <a:gd name="connsiteY21" fmla="*/ 5088 h 10760"/>
                <a:gd name="connsiteX22" fmla="*/ 4163 w 12754"/>
                <a:gd name="connsiteY22" fmla="*/ 4521 h 10760"/>
                <a:gd name="connsiteX23" fmla="*/ 472 w 12754"/>
                <a:gd name="connsiteY23" fmla="*/ 6422 h 10760"/>
                <a:gd name="connsiteX24" fmla="*/ 288 w 12754"/>
                <a:gd name="connsiteY24" fmla="*/ 6205 h 10760"/>
                <a:gd name="connsiteX25" fmla="*/ 51 w 12754"/>
                <a:gd name="connsiteY25" fmla="*/ 6058 h 10760"/>
                <a:gd name="connsiteX26" fmla="*/ 8 w 12754"/>
                <a:gd name="connsiteY26" fmla="*/ 5674 h 10760"/>
                <a:gd name="connsiteX27" fmla="*/ 11 w 12754"/>
                <a:gd name="connsiteY27" fmla="*/ 5040 h 10760"/>
                <a:gd name="connsiteX28" fmla="*/ 147 w 12754"/>
                <a:gd name="connsiteY28" fmla="*/ 4655 h 10760"/>
                <a:gd name="connsiteX29" fmla="*/ 1058 w 12754"/>
                <a:gd name="connsiteY29" fmla="*/ 4121 h 10760"/>
                <a:gd name="connsiteX30" fmla="*/ 1449 w 12754"/>
                <a:gd name="connsiteY30" fmla="*/ 3784 h 10760"/>
                <a:gd name="connsiteX31" fmla="*/ 1114 w 12754"/>
                <a:gd name="connsiteY31" fmla="*/ 3358 h 10760"/>
                <a:gd name="connsiteX32" fmla="*/ 1515 w 12754"/>
                <a:gd name="connsiteY32" fmla="*/ 2950 h 10760"/>
                <a:gd name="connsiteX33" fmla="*/ 1534 w 12754"/>
                <a:gd name="connsiteY33" fmla="*/ 2820 h 10760"/>
                <a:gd name="connsiteX34" fmla="*/ 1346 w 12754"/>
                <a:gd name="connsiteY34" fmla="*/ 2790 h 10760"/>
                <a:gd name="connsiteX35" fmla="*/ 1704 w 12754"/>
                <a:gd name="connsiteY35" fmla="*/ 1986 h 10760"/>
                <a:gd name="connsiteX36" fmla="*/ 2353 w 12754"/>
                <a:gd name="connsiteY36" fmla="*/ 1999 h 10760"/>
                <a:gd name="connsiteX37" fmla="*/ 3130 w 12754"/>
                <a:gd name="connsiteY37" fmla="*/ 2461 h 10760"/>
                <a:gd name="connsiteX38" fmla="*/ 2054 w 12754"/>
                <a:gd name="connsiteY38" fmla="*/ 2015 h 10760"/>
                <a:gd name="connsiteX39" fmla="*/ 2365 w 12754"/>
                <a:gd name="connsiteY39" fmla="*/ 2021 h 10760"/>
                <a:gd name="connsiteX40" fmla="*/ 2527 w 12754"/>
                <a:gd name="connsiteY40" fmla="*/ 2083 h 10760"/>
                <a:gd name="connsiteX41" fmla="*/ 3002 w 12754"/>
                <a:gd name="connsiteY41" fmla="*/ 2449 h 10760"/>
                <a:gd name="connsiteX42" fmla="*/ 3200 w 12754"/>
                <a:gd name="connsiteY42" fmla="*/ 2178 h 10760"/>
                <a:gd name="connsiteX43" fmla="*/ 3526 w 12754"/>
                <a:gd name="connsiteY43" fmla="*/ 1886 h 10760"/>
                <a:gd name="connsiteX44" fmla="*/ 3651 w 12754"/>
                <a:gd name="connsiteY44" fmla="*/ 1793 h 10760"/>
                <a:gd name="connsiteX45" fmla="*/ 4351 w 12754"/>
                <a:gd name="connsiteY45" fmla="*/ 1805 h 10760"/>
                <a:gd name="connsiteX46" fmla="*/ 4069 w 12754"/>
                <a:gd name="connsiteY46" fmla="*/ 1835 h 10760"/>
                <a:gd name="connsiteX47" fmla="*/ 3881 w 12754"/>
                <a:gd name="connsiteY47" fmla="*/ 1596 h 10760"/>
                <a:gd name="connsiteX48" fmla="*/ 3864 w 12754"/>
                <a:gd name="connsiteY48" fmla="*/ 1359 h 10760"/>
                <a:gd name="connsiteX49" fmla="*/ 3912 w 12754"/>
                <a:gd name="connsiteY49" fmla="*/ 1009 h 10760"/>
                <a:gd name="connsiteX50" fmla="*/ 3646 w 12754"/>
                <a:gd name="connsiteY50" fmla="*/ 1059 h 10760"/>
                <a:gd name="connsiteX51" fmla="*/ 3600 w 12754"/>
                <a:gd name="connsiteY51" fmla="*/ 879 h 10760"/>
                <a:gd name="connsiteX52" fmla="*/ 3715 w 12754"/>
                <a:gd name="connsiteY52" fmla="*/ 580 h 10760"/>
                <a:gd name="connsiteX53" fmla="*/ 3613 w 12754"/>
                <a:gd name="connsiteY53" fmla="*/ 0 h 10760"/>
                <a:gd name="connsiteX54" fmla="*/ 4911 w 12754"/>
                <a:gd name="connsiteY54" fmla="*/ 195 h 10760"/>
                <a:gd name="connsiteX55" fmla="*/ 5947 w 12754"/>
                <a:gd name="connsiteY55" fmla="*/ 1088 h 10760"/>
                <a:gd name="connsiteX56" fmla="*/ 6207 w 12754"/>
                <a:gd name="connsiteY56" fmla="*/ 1091 h 10760"/>
                <a:gd name="connsiteX57" fmla="*/ 6273 w 12754"/>
                <a:gd name="connsiteY57" fmla="*/ 1196 h 10760"/>
                <a:gd name="connsiteX58" fmla="*/ 6489 w 12754"/>
                <a:gd name="connsiteY58" fmla="*/ 1300 h 10760"/>
                <a:gd name="connsiteX59" fmla="*/ 6930 w 12754"/>
                <a:gd name="connsiteY59" fmla="*/ 1256 h 10760"/>
                <a:gd name="connsiteX60" fmla="*/ 6980 w 12754"/>
                <a:gd name="connsiteY60" fmla="*/ 1745 h 10760"/>
                <a:gd name="connsiteX61" fmla="*/ 7261 w 12754"/>
                <a:gd name="connsiteY61" fmla="*/ 1596 h 10760"/>
                <a:gd name="connsiteX62" fmla="*/ 7776 w 12754"/>
                <a:gd name="connsiteY62" fmla="*/ 1755 h 10760"/>
                <a:gd name="connsiteX63" fmla="*/ 8513 w 12754"/>
                <a:gd name="connsiteY63" fmla="*/ 1218 h 10760"/>
                <a:gd name="connsiteX64" fmla="*/ 8937 w 12754"/>
                <a:gd name="connsiteY64" fmla="*/ 983 h 10760"/>
                <a:gd name="connsiteX65" fmla="*/ 9955 w 12754"/>
                <a:gd name="connsiteY65" fmla="*/ 1065 h 10760"/>
                <a:gd name="connsiteX66" fmla="*/ 10332 w 12754"/>
                <a:gd name="connsiteY66" fmla="*/ 1177 h 10760"/>
                <a:gd name="connsiteX67" fmla="*/ 10658 w 12754"/>
                <a:gd name="connsiteY67" fmla="*/ 721 h 10760"/>
                <a:gd name="connsiteX68" fmla="*/ 10940 w 12754"/>
                <a:gd name="connsiteY68" fmla="*/ 1213 h 10760"/>
                <a:gd name="connsiteX69" fmla="*/ 10552 w 12754"/>
                <a:gd name="connsiteY69" fmla="*/ 1544 h 10760"/>
                <a:gd name="connsiteX70" fmla="*/ 11172 w 12754"/>
                <a:gd name="connsiteY70" fmla="*/ 1477 h 10760"/>
                <a:gd name="connsiteX71" fmla="*/ 11750 w 12754"/>
                <a:gd name="connsiteY71" fmla="*/ 1744 h 10760"/>
                <a:gd name="connsiteX72" fmla="*/ 12205 w 12754"/>
                <a:gd name="connsiteY72" fmla="*/ 4405 h 10760"/>
                <a:gd name="connsiteX73" fmla="*/ 12753 w 12754"/>
                <a:gd name="connsiteY73" fmla="*/ 5293 h 10760"/>
                <a:gd name="connsiteX74" fmla="*/ 12341 w 12754"/>
                <a:gd name="connsiteY74" fmla="*/ 5967 h 10760"/>
                <a:gd name="connsiteX75" fmla="*/ 10958 w 12754"/>
                <a:gd name="connsiteY75" fmla="*/ 6232 h 10760"/>
                <a:gd name="connsiteX76" fmla="*/ 9742 w 12754"/>
                <a:gd name="connsiteY76" fmla="*/ 6788 h 10760"/>
                <a:gd name="connsiteX77" fmla="*/ 9105 w 12754"/>
                <a:gd name="connsiteY77" fmla="*/ 6901 h 10760"/>
                <a:gd name="connsiteX78" fmla="*/ 8576 w 12754"/>
                <a:gd name="connsiteY78" fmla="*/ 7088 h 10760"/>
                <a:gd name="connsiteX79" fmla="*/ 9139 w 12754"/>
                <a:gd name="connsiteY79" fmla="*/ 7238 h 10760"/>
                <a:gd name="connsiteX80" fmla="*/ 9609 w 12754"/>
                <a:gd name="connsiteY80" fmla="*/ 7626 h 10760"/>
                <a:gd name="connsiteX81" fmla="*/ 9984 w 12754"/>
                <a:gd name="connsiteY81" fmla="*/ 8372 h 10760"/>
                <a:gd name="connsiteX82" fmla="*/ 10360 w 12754"/>
                <a:gd name="connsiteY82" fmla="*/ 8342 h 10760"/>
                <a:gd name="connsiteX83" fmla="*/ 11346 w 12754"/>
                <a:gd name="connsiteY83" fmla="*/ 9088 h 10760"/>
                <a:gd name="connsiteX84" fmla="*/ 10172 w 12754"/>
                <a:gd name="connsiteY84" fmla="*/ 9894 h 10760"/>
                <a:gd name="connsiteX85" fmla="*/ 10642 w 12754"/>
                <a:gd name="connsiteY85" fmla="*/ 10491 h 10760"/>
                <a:gd name="connsiteX86" fmla="*/ 10454 w 12754"/>
                <a:gd name="connsiteY86" fmla="*/ 10730 h 10760"/>
                <a:gd name="connsiteX87" fmla="*/ 10172 w 12754"/>
                <a:gd name="connsiteY87" fmla="*/ 10491 h 10760"/>
                <a:gd name="connsiteX88" fmla="*/ 8294 w 12754"/>
                <a:gd name="connsiteY88" fmla="*/ 10461 h 10760"/>
                <a:gd name="connsiteX89" fmla="*/ 7966 w 12754"/>
                <a:gd name="connsiteY89" fmla="*/ 10760 h 10760"/>
                <a:gd name="connsiteX90" fmla="*/ 7402 w 12754"/>
                <a:gd name="connsiteY90" fmla="*/ 10730 h 10760"/>
                <a:gd name="connsiteX0" fmla="*/ 7444 w 12796"/>
                <a:gd name="connsiteY0" fmla="*/ 10730 h 10760"/>
                <a:gd name="connsiteX1" fmla="*/ 7538 w 12796"/>
                <a:gd name="connsiteY1" fmla="*/ 9894 h 10760"/>
                <a:gd name="connsiteX2" fmla="*/ 7820 w 12796"/>
                <a:gd name="connsiteY2" fmla="*/ 9088 h 10760"/>
                <a:gd name="connsiteX3" fmla="*/ 7022 w 12796"/>
                <a:gd name="connsiteY3" fmla="*/ 8909 h 10760"/>
                <a:gd name="connsiteX4" fmla="*/ 6787 w 12796"/>
                <a:gd name="connsiteY4" fmla="*/ 8730 h 10760"/>
                <a:gd name="connsiteX5" fmla="*/ 6411 w 12796"/>
                <a:gd name="connsiteY5" fmla="*/ 8820 h 10760"/>
                <a:gd name="connsiteX6" fmla="*/ 6083 w 12796"/>
                <a:gd name="connsiteY6" fmla="*/ 8253 h 10760"/>
                <a:gd name="connsiteX7" fmla="*/ 5519 w 12796"/>
                <a:gd name="connsiteY7" fmla="*/ 7894 h 10760"/>
                <a:gd name="connsiteX8" fmla="*/ 5097 w 12796"/>
                <a:gd name="connsiteY8" fmla="*/ 7924 h 10760"/>
                <a:gd name="connsiteX9" fmla="*/ 5191 w 12796"/>
                <a:gd name="connsiteY9" fmla="*/ 8103 h 10760"/>
                <a:gd name="connsiteX10" fmla="*/ 4721 w 12796"/>
                <a:gd name="connsiteY10" fmla="*/ 8133 h 10760"/>
                <a:gd name="connsiteX11" fmla="*/ 4674 w 12796"/>
                <a:gd name="connsiteY11" fmla="*/ 7447 h 10760"/>
                <a:gd name="connsiteX12" fmla="*/ 3923 w 12796"/>
                <a:gd name="connsiteY12" fmla="*/ 7417 h 10760"/>
                <a:gd name="connsiteX13" fmla="*/ 4017 w 12796"/>
                <a:gd name="connsiteY13" fmla="*/ 7118 h 10760"/>
                <a:gd name="connsiteX14" fmla="*/ 3688 w 12796"/>
                <a:gd name="connsiteY14" fmla="*/ 7029 h 10760"/>
                <a:gd name="connsiteX15" fmla="*/ 3501 w 12796"/>
                <a:gd name="connsiteY15" fmla="*/ 6521 h 10760"/>
                <a:gd name="connsiteX16" fmla="*/ 3829 w 12796"/>
                <a:gd name="connsiteY16" fmla="*/ 6372 h 10760"/>
                <a:gd name="connsiteX17" fmla="*/ 4299 w 12796"/>
                <a:gd name="connsiteY17" fmla="*/ 5984 h 10760"/>
                <a:gd name="connsiteX18" fmla="*/ 4017 w 12796"/>
                <a:gd name="connsiteY18" fmla="*/ 5775 h 10760"/>
                <a:gd name="connsiteX19" fmla="*/ 4580 w 12796"/>
                <a:gd name="connsiteY19" fmla="*/ 5447 h 10760"/>
                <a:gd name="connsiteX20" fmla="*/ 4017 w 12796"/>
                <a:gd name="connsiteY20" fmla="*/ 5447 h 10760"/>
                <a:gd name="connsiteX21" fmla="*/ 4017 w 12796"/>
                <a:gd name="connsiteY21" fmla="*/ 5088 h 10760"/>
                <a:gd name="connsiteX22" fmla="*/ 5 w 12796"/>
                <a:gd name="connsiteY22" fmla="*/ 6827 h 10760"/>
                <a:gd name="connsiteX23" fmla="*/ 514 w 12796"/>
                <a:gd name="connsiteY23" fmla="*/ 6422 h 10760"/>
                <a:gd name="connsiteX24" fmla="*/ 330 w 12796"/>
                <a:gd name="connsiteY24" fmla="*/ 6205 h 10760"/>
                <a:gd name="connsiteX25" fmla="*/ 93 w 12796"/>
                <a:gd name="connsiteY25" fmla="*/ 6058 h 10760"/>
                <a:gd name="connsiteX26" fmla="*/ 50 w 12796"/>
                <a:gd name="connsiteY26" fmla="*/ 5674 h 10760"/>
                <a:gd name="connsiteX27" fmla="*/ 53 w 12796"/>
                <a:gd name="connsiteY27" fmla="*/ 5040 h 10760"/>
                <a:gd name="connsiteX28" fmla="*/ 189 w 12796"/>
                <a:gd name="connsiteY28" fmla="*/ 4655 h 10760"/>
                <a:gd name="connsiteX29" fmla="*/ 1100 w 12796"/>
                <a:gd name="connsiteY29" fmla="*/ 4121 h 10760"/>
                <a:gd name="connsiteX30" fmla="*/ 1491 w 12796"/>
                <a:gd name="connsiteY30" fmla="*/ 3784 h 10760"/>
                <a:gd name="connsiteX31" fmla="*/ 1156 w 12796"/>
                <a:gd name="connsiteY31" fmla="*/ 3358 h 10760"/>
                <a:gd name="connsiteX32" fmla="*/ 1557 w 12796"/>
                <a:gd name="connsiteY32" fmla="*/ 2950 h 10760"/>
                <a:gd name="connsiteX33" fmla="*/ 1576 w 12796"/>
                <a:gd name="connsiteY33" fmla="*/ 2820 h 10760"/>
                <a:gd name="connsiteX34" fmla="*/ 1388 w 12796"/>
                <a:gd name="connsiteY34" fmla="*/ 2790 h 10760"/>
                <a:gd name="connsiteX35" fmla="*/ 1746 w 12796"/>
                <a:gd name="connsiteY35" fmla="*/ 1986 h 10760"/>
                <a:gd name="connsiteX36" fmla="*/ 2395 w 12796"/>
                <a:gd name="connsiteY36" fmla="*/ 1999 h 10760"/>
                <a:gd name="connsiteX37" fmla="*/ 3172 w 12796"/>
                <a:gd name="connsiteY37" fmla="*/ 2461 h 10760"/>
                <a:gd name="connsiteX38" fmla="*/ 2096 w 12796"/>
                <a:gd name="connsiteY38" fmla="*/ 2015 h 10760"/>
                <a:gd name="connsiteX39" fmla="*/ 2407 w 12796"/>
                <a:gd name="connsiteY39" fmla="*/ 2021 h 10760"/>
                <a:gd name="connsiteX40" fmla="*/ 2569 w 12796"/>
                <a:gd name="connsiteY40" fmla="*/ 2083 h 10760"/>
                <a:gd name="connsiteX41" fmla="*/ 3044 w 12796"/>
                <a:gd name="connsiteY41" fmla="*/ 2449 h 10760"/>
                <a:gd name="connsiteX42" fmla="*/ 3242 w 12796"/>
                <a:gd name="connsiteY42" fmla="*/ 2178 h 10760"/>
                <a:gd name="connsiteX43" fmla="*/ 3568 w 12796"/>
                <a:gd name="connsiteY43" fmla="*/ 1886 h 10760"/>
                <a:gd name="connsiteX44" fmla="*/ 3693 w 12796"/>
                <a:gd name="connsiteY44" fmla="*/ 1793 h 10760"/>
                <a:gd name="connsiteX45" fmla="*/ 4393 w 12796"/>
                <a:gd name="connsiteY45" fmla="*/ 1805 h 10760"/>
                <a:gd name="connsiteX46" fmla="*/ 4111 w 12796"/>
                <a:gd name="connsiteY46" fmla="*/ 1835 h 10760"/>
                <a:gd name="connsiteX47" fmla="*/ 3923 w 12796"/>
                <a:gd name="connsiteY47" fmla="*/ 1596 h 10760"/>
                <a:gd name="connsiteX48" fmla="*/ 3906 w 12796"/>
                <a:gd name="connsiteY48" fmla="*/ 1359 h 10760"/>
                <a:gd name="connsiteX49" fmla="*/ 3954 w 12796"/>
                <a:gd name="connsiteY49" fmla="*/ 1009 h 10760"/>
                <a:gd name="connsiteX50" fmla="*/ 3688 w 12796"/>
                <a:gd name="connsiteY50" fmla="*/ 1059 h 10760"/>
                <a:gd name="connsiteX51" fmla="*/ 3642 w 12796"/>
                <a:gd name="connsiteY51" fmla="*/ 879 h 10760"/>
                <a:gd name="connsiteX52" fmla="*/ 3757 w 12796"/>
                <a:gd name="connsiteY52" fmla="*/ 580 h 10760"/>
                <a:gd name="connsiteX53" fmla="*/ 3655 w 12796"/>
                <a:gd name="connsiteY53" fmla="*/ 0 h 10760"/>
                <a:gd name="connsiteX54" fmla="*/ 4953 w 12796"/>
                <a:gd name="connsiteY54" fmla="*/ 195 h 10760"/>
                <a:gd name="connsiteX55" fmla="*/ 5989 w 12796"/>
                <a:gd name="connsiteY55" fmla="*/ 1088 h 10760"/>
                <a:gd name="connsiteX56" fmla="*/ 6249 w 12796"/>
                <a:gd name="connsiteY56" fmla="*/ 1091 h 10760"/>
                <a:gd name="connsiteX57" fmla="*/ 6315 w 12796"/>
                <a:gd name="connsiteY57" fmla="*/ 1196 h 10760"/>
                <a:gd name="connsiteX58" fmla="*/ 6531 w 12796"/>
                <a:gd name="connsiteY58" fmla="*/ 1300 h 10760"/>
                <a:gd name="connsiteX59" fmla="*/ 6972 w 12796"/>
                <a:gd name="connsiteY59" fmla="*/ 1256 h 10760"/>
                <a:gd name="connsiteX60" fmla="*/ 7022 w 12796"/>
                <a:gd name="connsiteY60" fmla="*/ 1745 h 10760"/>
                <a:gd name="connsiteX61" fmla="*/ 7303 w 12796"/>
                <a:gd name="connsiteY61" fmla="*/ 1596 h 10760"/>
                <a:gd name="connsiteX62" fmla="*/ 7818 w 12796"/>
                <a:gd name="connsiteY62" fmla="*/ 1755 h 10760"/>
                <a:gd name="connsiteX63" fmla="*/ 8555 w 12796"/>
                <a:gd name="connsiteY63" fmla="*/ 1218 h 10760"/>
                <a:gd name="connsiteX64" fmla="*/ 8979 w 12796"/>
                <a:gd name="connsiteY64" fmla="*/ 983 h 10760"/>
                <a:gd name="connsiteX65" fmla="*/ 9997 w 12796"/>
                <a:gd name="connsiteY65" fmla="*/ 1065 h 10760"/>
                <a:gd name="connsiteX66" fmla="*/ 10374 w 12796"/>
                <a:gd name="connsiteY66" fmla="*/ 1177 h 10760"/>
                <a:gd name="connsiteX67" fmla="*/ 10700 w 12796"/>
                <a:gd name="connsiteY67" fmla="*/ 721 h 10760"/>
                <a:gd name="connsiteX68" fmla="*/ 10982 w 12796"/>
                <a:gd name="connsiteY68" fmla="*/ 1213 h 10760"/>
                <a:gd name="connsiteX69" fmla="*/ 10594 w 12796"/>
                <a:gd name="connsiteY69" fmla="*/ 1544 h 10760"/>
                <a:gd name="connsiteX70" fmla="*/ 11214 w 12796"/>
                <a:gd name="connsiteY70" fmla="*/ 1477 h 10760"/>
                <a:gd name="connsiteX71" fmla="*/ 11792 w 12796"/>
                <a:gd name="connsiteY71" fmla="*/ 1744 h 10760"/>
                <a:gd name="connsiteX72" fmla="*/ 12247 w 12796"/>
                <a:gd name="connsiteY72" fmla="*/ 4405 h 10760"/>
                <a:gd name="connsiteX73" fmla="*/ 12795 w 12796"/>
                <a:gd name="connsiteY73" fmla="*/ 5293 h 10760"/>
                <a:gd name="connsiteX74" fmla="*/ 12383 w 12796"/>
                <a:gd name="connsiteY74" fmla="*/ 5967 h 10760"/>
                <a:gd name="connsiteX75" fmla="*/ 11000 w 12796"/>
                <a:gd name="connsiteY75" fmla="*/ 6232 h 10760"/>
                <a:gd name="connsiteX76" fmla="*/ 9784 w 12796"/>
                <a:gd name="connsiteY76" fmla="*/ 6788 h 10760"/>
                <a:gd name="connsiteX77" fmla="*/ 9147 w 12796"/>
                <a:gd name="connsiteY77" fmla="*/ 6901 h 10760"/>
                <a:gd name="connsiteX78" fmla="*/ 8618 w 12796"/>
                <a:gd name="connsiteY78" fmla="*/ 7088 h 10760"/>
                <a:gd name="connsiteX79" fmla="*/ 9181 w 12796"/>
                <a:gd name="connsiteY79" fmla="*/ 7238 h 10760"/>
                <a:gd name="connsiteX80" fmla="*/ 9651 w 12796"/>
                <a:gd name="connsiteY80" fmla="*/ 7626 h 10760"/>
                <a:gd name="connsiteX81" fmla="*/ 10026 w 12796"/>
                <a:gd name="connsiteY81" fmla="*/ 8372 h 10760"/>
                <a:gd name="connsiteX82" fmla="*/ 10402 w 12796"/>
                <a:gd name="connsiteY82" fmla="*/ 8342 h 10760"/>
                <a:gd name="connsiteX83" fmla="*/ 11388 w 12796"/>
                <a:gd name="connsiteY83" fmla="*/ 9088 h 10760"/>
                <a:gd name="connsiteX84" fmla="*/ 10214 w 12796"/>
                <a:gd name="connsiteY84" fmla="*/ 9894 h 10760"/>
                <a:gd name="connsiteX85" fmla="*/ 10684 w 12796"/>
                <a:gd name="connsiteY85" fmla="*/ 10491 h 10760"/>
                <a:gd name="connsiteX86" fmla="*/ 10496 w 12796"/>
                <a:gd name="connsiteY86" fmla="*/ 10730 h 10760"/>
                <a:gd name="connsiteX87" fmla="*/ 10214 w 12796"/>
                <a:gd name="connsiteY87" fmla="*/ 10491 h 10760"/>
                <a:gd name="connsiteX88" fmla="*/ 8336 w 12796"/>
                <a:gd name="connsiteY88" fmla="*/ 10461 h 10760"/>
                <a:gd name="connsiteX89" fmla="*/ 8008 w 12796"/>
                <a:gd name="connsiteY89" fmla="*/ 10760 h 10760"/>
                <a:gd name="connsiteX90" fmla="*/ 7444 w 12796"/>
                <a:gd name="connsiteY90" fmla="*/ 10730 h 10760"/>
                <a:gd name="connsiteX0" fmla="*/ 7791 w 13143"/>
                <a:gd name="connsiteY0" fmla="*/ 10730 h 10760"/>
                <a:gd name="connsiteX1" fmla="*/ 7885 w 13143"/>
                <a:gd name="connsiteY1" fmla="*/ 9894 h 10760"/>
                <a:gd name="connsiteX2" fmla="*/ 8167 w 13143"/>
                <a:gd name="connsiteY2" fmla="*/ 9088 h 10760"/>
                <a:gd name="connsiteX3" fmla="*/ 7369 w 13143"/>
                <a:gd name="connsiteY3" fmla="*/ 8909 h 10760"/>
                <a:gd name="connsiteX4" fmla="*/ 7134 w 13143"/>
                <a:gd name="connsiteY4" fmla="*/ 8730 h 10760"/>
                <a:gd name="connsiteX5" fmla="*/ 6758 w 13143"/>
                <a:gd name="connsiteY5" fmla="*/ 8820 h 10760"/>
                <a:gd name="connsiteX6" fmla="*/ 6430 w 13143"/>
                <a:gd name="connsiteY6" fmla="*/ 8253 h 10760"/>
                <a:gd name="connsiteX7" fmla="*/ 5866 w 13143"/>
                <a:gd name="connsiteY7" fmla="*/ 7894 h 10760"/>
                <a:gd name="connsiteX8" fmla="*/ 5444 w 13143"/>
                <a:gd name="connsiteY8" fmla="*/ 7924 h 10760"/>
                <a:gd name="connsiteX9" fmla="*/ 5538 w 13143"/>
                <a:gd name="connsiteY9" fmla="*/ 8103 h 10760"/>
                <a:gd name="connsiteX10" fmla="*/ 5068 w 13143"/>
                <a:gd name="connsiteY10" fmla="*/ 8133 h 10760"/>
                <a:gd name="connsiteX11" fmla="*/ 5021 w 13143"/>
                <a:gd name="connsiteY11" fmla="*/ 7447 h 10760"/>
                <a:gd name="connsiteX12" fmla="*/ 4270 w 13143"/>
                <a:gd name="connsiteY12" fmla="*/ 7417 h 10760"/>
                <a:gd name="connsiteX13" fmla="*/ 4364 w 13143"/>
                <a:gd name="connsiteY13" fmla="*/ 7118 h 10760"/>
                <a:gd name="connsiteX14" fmla="*/ 4035 w 13143"/>
                <a:gd name="connsiteY14" fmla="*/ 7029 h 10760"/>
                <a:gd name="connsiteX15" fmla="*/ 3848 w 13143"/>
                <a:gd name="connsiteY15" fmla="*/ 6521 h 10760"/>
                <a:gd name="connsiteX16" fmla="*/ 4176 w 13143"/>
                <a:gd name="connsiteY16" fmla="*/ 6372 h 10760"/>
                <a:gd name="connsiteX17" fmla="*/ 4646 w 13143"/>
                <a:gd name="connsiteY17" fmla="*/ 5984 h 10760"/>
                <a:gd name="connsiteX18" fmla="*/ 4364 w 13143"/>
                <a:gd name="connsiteY18" fmla="*/ 5775 h 10760"/>
                <a:gd name="connsiteX19" fmla="*/ 4927 w 13143"/>
                <a:gd name="connsiteY19" fmla="*/ 5447 h 10760"/>
                <a:gd name="connsiteX20" fmla="*/ 4364 w 13143"/>
                <a:gd name="connsiteY20" fmla="*/ 5447 h 10760"/>
                <a:gd name="connsiteX21" fmla="*/ 0 w 13143"/>
                <a:gd name="connsiteY21" fmla="*/ 6881 h 10760"/>
                <a:gd name="connsiteX22" fmla="*/ 352 w 13143"/>
                <a:gd name="connsiteY22" fmla="*/ 6827 h 10760"/>
                <a:gd name="connsiteX23" fmla="*/ 861 w 13143"/>
                <a:gd name="connsiteY23" fmla="*/ 6422 h 10760"/>
                <a:gd name="connsiteX24" fmla="*/ 677 w 13143"/>
                <a:gd name="connsiteY24" fmla="*/ 6205 h 10760"/>
                <a:gd name="connsiteX25" fmla="*/ 440 w 13143"/>
                <a:gd name="connsiteY25" fmla="*/ 6058 h 10760"/>
                <a:gd name="connsiteX26" fmla="*/ 397 w 13143"/>
                <a:gd name="connsiteY26" fmla="*/ 5674 h 10760"/>
                <a:gd name="connsiteX27" fmla="*/ 400 w 13143"/>
                <a:gd name="connsiteY27" fmla="*/ 5040 h 10760"/>
                <a:gd name="connsiteX28" fmla="*/ 536 w 13143"/>
                <a:gd name="connsiteY28" fmla="*/ 4655 h 10760"/>
                <a:gd name="connsiteX29" fmla="*/ 1447 w 13143"/>
                <a:gd name="connsiteY29" fmla="*/ 4121 h 10760"/>
                <a:gd name="connsiteX30" fmla="*/ 1838 w 13143"/>
                <a:gd name="connsiteY30" fmla="*/ 3784 h 10760"/>
                <a:gd name="connsiteX31" fmla="*/ 1503 w 13143"/>
                <a:gd name="connsiteY31" fmla="*/ 3358 h 10760"/>
                <a:gd name="connsiteX32" fmla="*/ 1904 w 13143"/>
                <a:gd name="connsiteY32" fmla="*/ 2950 h 10760"/>
                <a:gd name="connsiteX33" fmla="*/ 1923 w 13143"/>
                <a:gd name="connsiteY33" fmla="*/ 2820 h 10760"/>
                <a:gd name="connsiteX34" fmla="*/ 1735 w 13143"/>
                <a:gd name="connsiteY34" fmla="*/ 2790 h 10760"/>
                <a:gd name="connsiteX35" fmla="*/ 2093 w 13143"/>
                <a:gd name="connsiteY35" fmla="*/ 1986 h 10760"/>
                <a:gd name="connsiteX36" fmla="*/ 2742 w 13143"/>
                <a:gd name="connsiteY36" fmla="*/ 1999 h 10760"/>
                <a:gd name="connsiteX37" fmla="*/ 3519 w 13143"/>
                <a:gd name="connsiteY37" fmla="*/ 2461 h 10760"/>
                <a:gd name="connsiteX38" fmla="*/ 2443 w 13143"/>
                <a:gd name="connsiteY38" fmla="*/ 2015 h 10760"/>
                <a:gd name="connsiteX39" fmla="*/ 2754 w 13143"/>
                <a:gd name="connsiteY39" fmla="*/ 2021 h 10760"/>
                <a:gd name="connsiteX40" fmla="*/ 2916 w 13143"/>
                <a:gd name="connsiteY40" fmla="*/ 2083 h 10760"/>
                <a:gd name="connsiteX41" fmla="*/ 3391 w 13143"/>
                <a:gd name="connsiteY41" fmla="*/ 2449 h 10760"/>
                <a:gd name="connsiteX42" fmla="*/ 3589 w 13143"/>
                <a:gd name="connsiteY42" fmla="*/ 2178 h 10760"/>
                <a:gd name="connsiteX43" fmla="*/ 3915 w 13143"/>
                <a:gd name="connsiteY43" fmla="*/ 1886 h 10760"/>
                <a:gd name="connsiteX44" fmla="*/ 4040 w 13143"/>
                <a:gd name="connsiteY44" fmla="*/ 1793 h 10760"/>
                <a:gd name="connsiteX45" fmla="*/ 4740 w 13143"/>
                <a:gd name="connsiteY45" fmla="*/ 1805 h 10760"/>
                <a:gd name="connsiteX46" fmla="*/ 4458 w 13143"/>
                <a:gd name="connsiteY46" fmla="*/ 1835 h 10760"/>
                <a:gd name="connsiteX47" fmla="*/ 4270 w 13143"/>
                <a:gd name="connsiteY47" fmla="*/ 1596 h 10760"/>
                <a:gd name="connsiteX48" fmla="*/ 4253 w 13143"/>
                <a:gd name="connsiteY48" fmla="*/ 1359 h 10760"/>
                <a:gd name="connsiteX49" fmla="*/ 4301 w 13143"/>
                <a:gd name="connsiteY49" fmla="*/ 1009 h 10760"/>
                <a:gd name="connsiteX50" fmla="*/ 4035 w 13143"/>
                <a:gd name="connsiteY50" fmla="*/ 1059 h 10760"/>
                <a:gd name="connsiteX51" fmla="*/ 3989 w 13143"/>
                <a:gd name="connsiteY51" fmla="*/ 879 h 10760"/>
                <a:gd name="connsiteX52" fmla="*/ 4104 w 13143"/>
                <a:gd name="connsiteY52" fmla="*/ 580 h 10760"/>
                <a:gd name="connsiteX53" fmla="*/ 4002 w 13143"/>
                <a:gd name="connsiteY53" fmla="*/ 0 h 10760"/>
                <a:gd name="connsiteX54" fmla="*/ 5300 w 13143"/>
                <a:gd name="connsiteY54" fmla="*/ 195 h 10760"/>
                <a:gd name="connsiteX55" fmla="*/ 6336 w 13143"/>
                <a:gd name="connsiteY55" fmla="*/ 1088 h 10760"/>
                <a:gd name="connsiteX56" fmla="*/ 6596 w 13143"/>
                <a:gd name="connsiteY56" fmla="*/ 1091 h 10760"/>
                <a:gd name="connsiteX57" fmla="*/ 6662 w 13143"/>
                <a:gd name="connsiteY57" fmla="*/ 1196 h 10760"/>
                <a:gd name="connsiteX58" fmla="*/ 6878 w 13143"/>
                <a:gd name="connsiteY58" fmla="*/ 1300 h 10760"/>
                <a:gd name="connsiteX59" fmla="*/ 7319 w 13143"/>
                <a:gd name="connsiteY59" fmla="*/ 1256 h 10760"/>
                <a:gd name="connsiteX60" fmla="*/ 7369 w 13143"/>
                <a:gd name="connsiteY60" fmla="*/ 1745 h 10760"/>
                <a:gd name="connsiteX61" fmla="*/ 7650 w 13143"/>
                <a:gd name="connsiteY61" fmla="*/ 1596 h 10760"/>
                <a:gd name="connsiteX62" fmla="*/ 8165 w 13143"/>
                <a:gd name="connsiteY62" fmla="*/ 1755 h 10760"/>
                <a:gd name="connsiteX63" fmla="*/ 8902 w 13143"/>
                <a:gd name="connsiteY63" fmla="*/ 1218 h 10760"/>
                <a:gd name="connsiteX64" fmla="*/ 9326 w 13143"/>
                <a:gd name="connsiteY64" fmla="*/ 983 h 10760"/>
                <a:gd name="connsiteX65" fmla="*/ 10344 w 13143"/>
                <a:gd name="connsiteY65" fmla="*/ 1065 h 10760"/>
                <a:gd name="connsiteX66" fmla="*/ 10721 w 13143"/>
                <a:gd name="connsiteY66" fmla="*/ 1177 h 10760"/>
                <a:gd name="connsiteX67" fmla="*/ 11047 w 13143"/>
                <a:gd name="connsiteY67" fmla="*/ 721 h 10760"/>
                <a:gd name="connsiteX68" fmla="*/ 11329 w 13143"/>
                <a:gd name="connsiteY68" fmla="*/ 1213 h 10760"/>
                <a:gd name="connsiteX69" fmla="*/ 10941 w 13143"/>
                <a:gd name="connsiteY69" fmla="*/ 1544 h 10760"/>
                <a:gd name="connsiteX70" fmla="*/ 11561 w 13143"/>
                <a:gd name="connsiteY70" fmla="*/ 1477 h 10760"/>
                <a:gd name="connsiteX71" fmla="*/ 12139 w 13143"/>
                <a:gd name="connsiteY71" fmla="*/ 1744 h 10760"/>
                <a:gd name="connsiteX72" fmla="*/ 12594 w 13143"/>
                <a:gd name="connsiteY72" fmla="*/ 4405 h 10760"/>
                <a:gd name="connsiteX73" fmla="*/ 13142 w 13143"/>
                <a:gd name="connsiteY73" fmla="*/ 5293 h 10760"/>
                <a:gd name="connsiteX74" fmla="*/ 12730 w 13143"/>
                <a:gd name="connsiteY74" fmla="*/ 5967 h 10760"/>
                <a:gd name="connsiteX75" fmla="*/ 11347 w 13143"/>
                <a:gd name="connsiteY75" fmla="*/ 6232 h 10760"/>
                <a:gd name="connsiteX76" fmla="*/ 10131 w 13143"/>
                <a:gd name="connsiteY76" fmla="*/ 6788 h 10760"/>
                <a:gd name="connsiteX77" fmla="*/ 9494 w 13143"/>
                <a:gd name="connsiteY77" fmla="*/ 6901 h 10760"/>
                <a:gd name="connsiteX78" fmla="*/ 8965 w 13143"/>
                <a:gd name="connsiteY78" fmla="*/ 7088 h 10760"/>
                <a:gd name="connsiteX79" fmla="*/ 9528 w 13143"/>
                <a:gd name="connsiteY79" fmla="*/ 7238 h 10760"/>
                <a:gd name="connsiteX80" fmla="*/ 9998 w 13143"/>
                <a:gd name="connsiteY80" fmla="*/ 7626 h 10760"/>
                <a:gd name="connsiteX81" fmla="*/ 10373 w 13143"/>
                <a:gd name="connsiteY81" fmla="*/ 8372 h 10760"/>
                <a:gd name="connsiteX82" fmla="*/ 10749 w 13143"/>
                <a:gd name="connsiteY82" fmla="*/ 8342 h 10760"/>
                <a:gd name="connsiteX83" fmla="*/ 11735 w 13143"/>
                <a:gd name="connsiteY83" fmla="*/ 9088 h 10760"/>
                <a:gd name="connsiteX84" fmla="*/ 10561 w 13143"/>
                <a:gd name="connsiteY84" fmla="*/ 9894 h 10760"/>
                <a:gd name="connsiteX85" fmla="*/ 11031 w 13143"/>
                <a:gd name="connsiteY85" fmla="*/ 10491 h 10760"/>
                <a:gd name="connsiteX86" fmla="*/ 10843 w 13143"/>
                <a:gd name="connsiteY86" fmla="*/ 10730 h 10760"/>
                <a:gd name="connsiteX87" fmla="*/ 10561 w 13143"/>
                <a:gd name="connsiteY87" fmla="*/ 10491 h 10760"/>
                <a:gd name="connsiteX88" fmla="*/ 8683 w 13143"/>
                <a:gd name="connsiteY88" fmla="*/ 10461 h 10760"/>
                <a:gd name="connsiteX89" fmla="*/ 8355 w 13143"/>
                <a:gd name="connsiteY89" fmla="*/ 10760 h 10760"/>
                <a:gd name="connsiteX90" fmla="*/ 7791 w 13143"/>
                <a:gd name="connsiteY90" fmla="*/ 10730 h 10760"/>
                <a:gd name="connsiteX0" fmla="*/ 7791 w 13143"/>
                <a:gd name="connsiteY0" fmla="*/ 10730 h 10760"/>
                <a:gd name="connsiteX1" fmla="*/ 7885 w 13143"/>
                <a:gd name="connsiteY1" fmla="*/ 9894 h 10760"/>
                <a:gd name="connsiteX2" fmla="*/ 8167 w 13143"/>
                <a:gd name="connsiteY2" fmla="*/ 9088 h 10760"/>
                <a:gd name="connsiteX3" fmla="*/ 7369 w 13143"/>
                <a:gd name="connsiteY3" fmla="*/ 8909 h 10760"/>
                <a:gd name="connsiteX4" fmla="*/ 7134 w 13143"/>
                <a:gd name="connsiteY4" fmla="*/ 8730 h 10760"/>
                <a:gd name="connsiteX5" fmla="*/ 6758 w 13143"/>
                <a:gd name="connsiteY5" fmla="*/ 8820 h 10760"/>
                <a:gd name="connsiteX6" fmla="*/ 6430 w 13143"/>
                <a:gd name="connsiteY6" fmla="*/ 8253 h 10760"/>
                <a:gd name="connsiteX7" fmla="*/ 5866 w 13143"/>
                <a:gd name="connsiteY7" fmla="*/ 7894 h 10760"/>
                <a:gd name="connsiteX8" fmla="*/ 5444 w 13143"/>
                <a:gd name="connsiteY8" fmla="*/ 7924 h 10760"/>
                <a:gd name="connsiteX9" fmla="*/ 5538 w 13143"/>
                <a:gd name="connsiteY9" fmla="*/ 8103 h 10760"/>
                <a:gd name="connsiteX10" fmla="*/ 5068 w 13143"/>
                <a:gd name="connsiteY10" fmla="*/ 8133 h 10760"/>
                <a:gd name="connsiteX11" fmla="*/ 5021 w 13143"/>
                <a:gd name="connsiteY11" fmla="*/ 7447 h 10760"/>
                <a:gd name="connsiteX12" fmla="*/ 4270 w 13143"/>
                <a:gd name="connsiteY12" fmla="*/ 7417 h 10760"/>
                <a:gd name="connsiteX13" fmla="*/ 4364 w 13143"/>
                <a:gd name="connsiteY13" fmla="*/ 7118 h 10760"/>
                <a:gd name="connsiteX14" fmla="*/ 4035 w 13143"/>
                <a:gd name="connsiteY14" fmla="*/ 7029 h 10760"/>
                <a:gd name="connsiteX15" fmla="*/ 3848 w 13143"/>
                <a:gd name="connsiteY15" fmla="*/ 6521 h 10760"/>
                <a:gd name="connsiteX16" fmla="*/ 4176 w 13143"/>
                <a:gd name="connsiteY16" fmla="*/ 6372 h 10760"/>
                <a:gd name="connsiteX17" fmla="*/ 4646 w 13143"/>
                <a:gd name="connsiteY17" fmla="*/ 5984 h 10760"/>
                <a:gd name="connsiteX18" fmla="*/ 4364 w 13143"/>
                <a:gd name="connsiteY18" fmla="*/ 5775 h 10760"/>
                <a:gd name="connsiteX19" fmla="*/ 4927 w 13143"/>
                <a:gd name="connsiteY19" fmla="*/ 5447 h 10760"/>
                <a:gd name="connsiteX20" fmla="*/ 673 w 13143"/>
                <a:gd name="connsiteY20" fmla="*/ 7682 h 10760"/>
                <a:gd name="connsiteX21" fmla="*/ 0 w 13143"/>
                <a:gd name="connsiteY21" fmla="*/ 6881 h 10760"/>
                <a:gd name="connsiteX22" fmla="*/ 352 w 13143"/>
                <a:gd name="connsiteY22" fmla="*/ 6827 h 10760"/>
                <a:gd name="connsiteX23" fmla="*/ 861 w 13143"/>
                <a:gd name="connsiteY23" fmla="*/ 6422 h 10760"/>
                <a:gd name="connsiteX24" fmla="*/ 677 w 13143"/>
                <a:gd name="connsiteY24" fmla="*/ 6205 h 10760"/>
                <a:gd name="connsiteX25" fmla="*/ 440 w 13143"/>
                <a:gd name="connsiteY25" fmla="*/ 6058 h 10760"/>
                <a:gd name="connsiteX26" fmla="*/ 397 w 13143"/>
                <a:gd name="connsiteY26" fmla="*/ 5674 h 10760"/>
                <a:gd name="connsiteX27" fmla="*/ 400 w 13143"/>
                <a:gd name="connsiteY27" fmla="*/ 5040 h 10760"/>
                <a:gd name="connsiteX28" fmla="*/ 536 w 13143"/>
                <a:gd name="connsiteY28" fmla="*/ 4655 h 10760"/>
                <a:gd name="connsiteX29" fmla="*/ 1447 w 13143"/>
                <a:gd name="connsiteY29" fmla="*/ 4121 h 10760"/>
                <a:gd name="connsiteX30" fmla="*/ 1838 w 13143"/>
                <a:gd name="connsiteY30" fmla="*/ 3784 h 10760"/>
                <a:gd name="connsiteX31" fmla="*/ 1503 w 13143"/>
                <a:gd name="connsiteY31" fmla="*/ 3358 h 10760"/>
                <a:gd name="connsiteX32" fmla="*/ 1904 w 13143"/>
                <a:gd name="connsiteY32" fmla="*/ 2950 h 10760"/>
                <a:gd name="connsiteX33" fmla="*/ 1923 w 13143"/>
                <a:gd name="connsiteY33" fmla="*/ 2820 h 10760"/>
                <a:gd name="connsiteX34" fmla="*/ 1735 w 13143"/>
                <a:gd name="connsiteY34" fmla="*/ 2790 h 10760"/>
                <a:gd name="connsiteX35" fmla="*/ 2093 w 13143"/>
                <a:gd name="connsiteY35" fmla="*/ 1986 h 10760"/>
                <a:gd name="connsiteX36" fmla="*/ 2742 w 13143"/>
                <a:gd name="connsiteY36" fmla="*/ 1999 h 10760"/>
                <a:gd name="connsiteX37" fmla="*/ 3519 w 13143"/>
                <a:gd name="connsiteY37" fmla="*/ 2461 h 10760"/>
                <a:gd name="connsiteX38" fmla="*/ 2443 w 13143"/>
                <a:gd name="connsiteY38" fmla="*/ 2015 h 10760"/>
                <a:gd name="connsiteX39" fmla="*/ 2754 w 13143"/>
                <a:gd name="connsiteY39" fmla="*/ 2021 h 10760"/>
                <a:gd name="connsiteX40" fmla="*/ 2916 w 13143"/>
                <a:gd name="connsiteY40" fmla="*/ 2083 h 10760"/>
                <a:gd name="connsiteX41" fmla="*/ 3391 w 13143"/>
                <a:gd name="connsiteY41" fmla="*/ 2449 h 10760"/>
                <a:gd name="connsiteX42" fmla="*/ 3589 w 13143"/>
                <a:gd name="connsiteY42" fmla="*/ 2178 h 10760"/>
                <a:gd name="connsiteX43" fmla="*/ 3915 w 13143"/>
                <a:gd name="connsiteY43" fmla="*/ 1886 h 10760"/>
                <a:gd name="connsiteX44" fmla="*/ 4040 w 13143"/>
                <a:gd name="connsiteY44" fmla="*/ 1793 h 10760"/>
                <a:gd name="connsiteX45" fmla="*/ 4740 w 13143"/>
                <a:gd name="connsiteY45" fmla="*/ 1805 h 10760"/>
                <a:gd name="connsiteX46" fmla="*/ 4458 w 13143"/>
                <a:gd name="connsiteY46" fmla="*/ 1835 h 10760"/>
                <a:gd name="connsiteX47" fmla="*/ 4270 w 13143"/>
                <a:gd name="connsiteY47" fmla="*/ 1596 h 10760"/>
                <a:gd name="connsiteX48" fmla="*/ 4253 w 13143"/>
                <a:gd name="connsiteY48" fmla="*/ 1359 h 10760"/>
                <a:gd name="connsiteX49" fmla="*/ 4301 w 13143"/>
                <a:gd name="connsiteY49" fmla="*/ 1009 h 10760"/>
                <a:gd name="connsiteX50" fmla="*/ 4035 w 13143"/>
                <a:gd name="connsiteY50" fmla="*/ 1059 h 10760"/>
                <a:gd name="connsiteX51" fmla="*/ 3989 w 13143"/>
                <a:gd name="connsiteY51" fmla="*/ 879 h 10760"/>
                <a:gd name="connsiteX52" fmla="*/ 4104 w 13143"/>
                <a:gd name="connsiteY52" fmla="*/ 580 h 10760"/>
                <a:gd name="connsiteX53" fmla="*/ 4002 w 13143"/>
                <a:gd name="connsiteY53" fmla="*/ 0 h 10760"/>
                <a:gd name="connsiteX54" fmla="*/ 5300 w 13143"/>
                <a:gd name="connsiteY54" fmla="*/ 195 h 10760"/>
                <a:gd name="connsiteX55" fmla="*/ 6336 w 13143"/>
                <a:gd name="connsiteY55" fmla="*/ 1088 h 10760"/>
                <a:gd name="connsiteX56" fmla="*/ 6596 w 13143"/>
                <a:gd name="connsiteY56" fmla="*/ 1091 h 10760"/>
                <a:gd name="connsiteX57" fmla="*/ 6662 w 13143"/>
                <a:gd name="connsiteY57" fmla="*/ 1196 h 10760"/>
                <a:gd name="connsiteX58" fmla="*/ 6878 w 13143"/>
                <a:gd name="connsiteY58" fmla="*/ 1300 h 10760"/>
                <a:gd name="connsiteX59" fmla="*/ 7319 w 13143"/>
                <a:gd name="connsiteY59" fmla="*/ 1256 h 10760"/>
                <a:gd name="connsiteX60" fmla="*/ 7369 w 13143"/>
                <a:gd name="connsiteY60" fmla="*/ 1745 h 10760"/>
                <a:gd name="connsiteX61" fmla="*/ 7650 w 13143"/>
                <a:gd name="connsiteY61" fmla="*/ 1596 h 10760"/>
                <a:gd name="connsiteX62" fmla="*/ 8165 w 13143"/>
                <a:gd name="connsiteY62" fmla="*/ 1755 h 10760"/>
                <a:gd name="connsiteX63" fmla="*/ 8902 w 13143"/>
                <a:gd name="connsiteY63" fmla="*/ 1218 h 10760"/>
                <a:gd name="connsiteX64" fmla="*/ 9326 w 13143"/>
                <a:gd name="connsiteY64" fmla="*/ 983 h 10760"/>
                <a:gd name="connsiteX65" fmla="*/ 10344 w 13143"/>
                <a:gd name="connsiteY65" fmla="*/ 1065 h 10760"/>
                <a:gd name="connsiteX66" fmla="*/ 10721 w 13143"/>
                <a:gd name="connsiteY66" fmla="*/ 1177 h 10760"/>
                <a:gd name="connsiteX67" fmla="*/ 11047 w 13143"/>
                <a:gd name="connsiteY67" fmla="*/ 721 h 10760"/>
                <a:gd name="connsiteX68" fmla="*/ 11329 w 13143"/>
                <a:gd name="connsiteY68" fmla="*/ 1213 h 10760"/>
                <a:gd name="connsiteX69" fmla="*/ 10941 w 13143"/>
                <a:gd name="connsiteY69" fmla="*/ 1544 h 10760"/>
                <a:gd name="connsiteX70" fmla="*/ 11561 w 13143"/>
                <a:gd name="connsiteY70" fmla="*/ 1477 h 10760"/>
                <a:gd name="connsiteX71" fmla="*/ 12139 w 13143"/>
                <a:gd name="connsiteY71" fmla="*/ 1744 h 10760"/>
                <a:gd name="connsiteX72" fmla="*/ 12594 w 13143"/>
                <a:gd name="connsiteY72" fmla="*/ 4405 h 10760"/>
                <a:gd name="connsiteX73" fmla="*/ 13142 w 13143"/>
                <a:gd name="connsiteY73" fmla="*/ 5293 h 10760"/>
                <a:gd name="connsiteX74" fmla="*/ 12730 w 13143"/>
                <a:gd name="connsiteY74" fmla="*/ 5967 h 10760"/>
                <a:gd name="connsiteX75" fmla="*/ 11347 w 13143"/>
                <a:gd name="connsiteY75" fmla="*/ 6232 h 10760"/>
                <a:gd name="connsiteX76" fmla="*/ 10131 w 13143"/>
                <a:gd name="connsiteY76" fmla="*/ 6788 h 10760"/>
                <a:gd name="connsiteX77" fmla="*/ 9494 w 13143"/>
                <a:gd name="connsiteY77" fmla="*/ 6901 h 10760"/>
                <a:gd name="connsiteX78" fmla="*/ 8965 w 13143"/>
                <a:gd name="connsiteY78" fmla="*/ 7088 h 10760"/>
                <a:gd name="connsiteX79" fmla="*/ 9528 w 13143"/>
                <a:gd name="connsiteY79" fmla="*/ 7238 h 10760"/>
                <a:gd name="connsiteX80" fmla="*/ 9998 w 13143"/>
                <a:gd name="connsiteY80" fmla="*/ 7626 h 10760"/>
                <a:gd name="connsiteX81" fmla="*/ 10373 w 13143"/>
                <a:gd name="connsiteY81" fmla="*/ 8372 h 10760"/>
                <a:gd name="connsiteX82" fmla="*/ 10749 w 13143"/>
                <a:gd name="connsiteY82" fmla="*/ 8342 h 10760"/>
                <a:gd name="connsiteX83" fmla="*/ 11735 w 13143"/>
                <a:gd name="connsiteY83" fmla="*/ 9088 h 10760"/>
                <a:gd name="connsiteX84" fmla="*/ 10561 w 13143"/>
                <a:gd name="connsiteY84" fmla="*/ 9894 h 10760"/>
                <a:gd name="connsiteX85" fmla="*/ 11031 w 13143"/>
                <a:gd name="connsiteY85" fmla="*/ 10491 h 10760"/>
                <a:gd name="connsiteX86" fmla="*/ 10843 w 13143"/>
                <a:gd name="connsiteY86" fmla="*/ 10730 h 10760"/>
                <a:gd name="connsiteX87" fmla="*/ 10561 w 13143"/>
                <a:gd name="connsiteY87" fmla="*/ 10491 h 10760"/>
                <a:gd name="connsiteX88" fmla="*/ 8683 w 13143"/>
                <a:gd name="connsiteY88" fmla="*/ 10461 h 10760"/>
                <a:gd name="connsiteX89" fmla="*/ 8355 w 13143"/>
                <a:gd name="connsiteY89" fmla="*/ 10760 h 10760"/>
                <a:gd name="connsiteX90" fmla="*/ 7791 w 13143"/>
                <a:gd name="connsiteY90" fmla="*/ 10730 h 10760"/>
                <a:gd name="connsiteX0" fmla="*/ 7791 w 13143"/>
                <a:gd name="connsiteY0" fmla="*/ 10730 h 10760"/>
                <a:gd name="connsiteX1" fmla="*/ 7885 w 13143"/>
                <a:gd name="connsiteY1" fmla="*/ 9894 h 10760"/>
                <a:gd name="connsiteX2" fmla="*/ 8167 w 13143"/>
                <a:gd name="connsiteY2" fmla="*/ 9088 h 10760"/>
                <a:gd name="connsiteX3" fmla="*/ 7369 w 13143"/>
                <a:gd name="connsiteY3" fmla="*/ 8909 h 10760"/>
                <a:gd name="connsiteX4" fmla="*/ 7134 w 13143"/>
                <a:gd name="connsiteY4" fmla="*/ 8730 h 10760"/>
                <a:gd name="connsiteX5" fmla="*/ 6758 w 13143"/>
                <a:gd name="connsiteY5" fmla="*/ 8820 h 10760"/>
                <a:gd name="connsiteX6" fmla="*/ 6430 w 13143"/>
                <a:gd name="connsiteY6" fmla="*/ 8253 h 10760"/>
                <a:gd name="connsiteX7" fmla="*/ 5866 w 13143"/>
                <a:gd name="connsiteY7" fmla="*/ 7894 h 10760"/>
                <a:gd name="connsiteX8" fmla="*/ 5444 w 13143"/>
                <a:gd name="connsiteY8" fmla="*/ 7924 h 10760"/>
                <a:gd name="connsiteX9" fmla="*/ 5538 w 13143"/>
                <a:gd name="connsiteY9" fmla="*/ 8103 h 10760"/>
                <a:gd name="connsiteX10" fmla="*/ 5068 w 13143"/>
                <a:gd name="connsiteY10" fmla="*/ 8133 h 10760"/>
                <a:gd name="connsiteX11" fmla="*/ 5021 w 13143"/>
                <a:gd name="connsiteY11" fmla="*/ 7447 h 10760"/>
                <a:gd name="connsiteX12" fmla="*/ 4270 w 13143"/>
                <a:gd name="connsiteY12" fmla="*/ 7417 h 10760"/>
                <a:gd name="connsiteX13" fmla="*/ 4364 w 13143"/>
                <a:gd name="connsiteY13" fmla="*/ 7118 h 10760"/>
                <a:gd name="connsiteX14" fmla="*/ 4035 w 13143"/>
                <a:gd name="connsiteY14" fmla="*/ 7029 h 10760"/>
                <a:gd name="connsiteX15" fmla="*/ 3848 w 13143"/>
                <a:gd name="connsiteY15" fmla="*/ 6521 h 10760"/>
                <a:gd name="connsiteX16" fmla="*/ 4176 w 13143"/>
                <a:gd name="connsiteY16" fmla="*/ 6372 h 10760"/>
                <a:gd name="connsiteX17" fmla="*/ 4646 w 13143"/>
                <a:gd name="connsiteY17" fmla="*/ 5984 h 10760"/>
                <a:gd name="connsiteX18" fmla="*/ 4364 w 13143"/>
                <a:gd name="connsiteY18" fmla="*/ 5775 h 10760"/>
                <a:gd name="connsiteX19" fmla="*/ 4927 w 13143"/>
                <a:gd name="connsiteY19" fmla="*/ 5447 h 10760"/>
                <a:gd name="connsiteX20" fmla="*/ 756 w 13143"/>
                <a:gd name="connsiteY20" fmla="*/ 7605 h 10760"/>
                <a:gd name="connsiteX21" fmla="*/ 0 w 13143"/>
                <a:gd name="connsiteY21" fmla="*/ 6881 h 10760"/>
                <a:gd name="connsiteX22" fmla="*/ 352 w 13143"/>
                <a:gd name="connsiteY22" fmla="*/ 6827 h 10760"/>
                <a:gd name="connsiteX23" fmla="*/ 861 w 13143"/>
                <a:gd name="connsiteY23" fmla="*/ 6422 h 10760"/>
                <a:gd name="connsiteX24" fmla="*/ 677 w 13143"/>
                <a:gd name="connsiteY24" fmla="*/ 6205 h 10760"/>
                <a:gd name="connsiteX25" fmla="*/ 440 w 13143"/>
                <a:gd name="connsiteY25" fmla="*/ 6058 h 10760"/>
                <a:gd name="connsiteX26" fmla="*/ 397 w 13143"/>
                <a:gd name="connsiteY26" fmla="*/ 5674 h 10760"/>
                <a:gd name="connsiteX27" fmla="*/ 400 w 13143"/>
                <a:gd name="connsiteY27" fmla="*/ 5040 h 10760"/>
                <a:gd name="connsiteX28" fmla="*/ 536 w 13143"/>
                <a:gd name="connsiteY28" fmla="*/ 4655 h 10760"/>
                <a:gd name="connsiteX29" fmla="*/ 1447 w 13143"/>
                <a:gd name="connsiteY29" fmla="*/ 4121 h 10760"/>
                <a:gd name="connsiteX30" fmla="*/ 1838 w 13143"/>
                <a:gd name="connsiteY30" fmla="*/ 3784 h 10760"/>
                <a:gd name="connsiteX31" fmla="*/ 1503 w 13143"/>
                <a:gd name="connsiteY31" fmla="*/ 3358 h 10760"/>
                <a:gd name="connsiteX32" fmla="*/ 1904 w 13143"/>
                <a:gd name="connsiteY32" fmla="*/ 2950 h 10760"/>
                <a:gd name="connsiteX33" fmla="*/ 1923 w 13143"/>
                <a:gd name="connsiteY33" fmla="*/ 2820 h 10760"/>
                <a:gd name="connsiteX34" fmla="*/ 1735 w 13143"/>
                <a:gd name="connsiteY34" fmla="*/ 2790 h 10760"/>
                <a:gd name="connsiteX35" fmla="*/ 2093 w 13143"/>
                <a:gd name="connsiteY35" fmla="*/ 1986 h 10760"/>
                <a:gd name="connsiteX36" fmla="*/ 2742 w 13143"/>
                <a:gd name="connsiteY36" fmla="*/ 1999 h 10760"/>
                <a:gd name="connsiteX37" fmla="*/ 3519 w 13143"/>
                <a:gd name="connsiteY37" fmla="*/ 2461 h 10760"/>
                <a:gd name="connsiteX38" fmla="*/ 2443 w 13143"/>
                <a:gd name="connsiteY38" fmla="*/ 2015 h 10760"/>
                <a:gd name="connsiteX39" fmla="*/ 2754 w 13143"/>
                <a:gd name="connsiteY39" fmla="*/ 2021 h 10760"/>
                <a:gd name="connsiteX40" fmla="*/ 2916 w 13143"/>
                <a:gd name="connsiteY40" fmla="*/ 2083 h 10760"/>
                <a:gd name="connsiteX41" fmla="*/ 3391 w 13143"/>
                <a:gd name="connsiteY41" fmla="*/ 2449 h 10760"/>
                <a:gd name="connsiteX42" fmla="*/ 3589 w 13143"/>
                <a:gd name="connsiteY42" fmla="*/ 2178 h 10760"/>
                <a:gd name="connsiteX43" fmla="*/ 3915 w 13143"/>
                <a:gd name="connsiteY43" fmla="*/ 1886 h 10760"/>
                <a:gd name="connsiteX44" fmla="*/ 4040 w 13143"/>
                <a:gd name="connsiteY44" fmla="*/ 1793 h 10760"/>
                <a:gd name="connsiteX45" fmla="*/ 4740 w 13143"/>
                <a:gd name="connsiteY45" fmla="*/ 1805 h 10760"/>
                <a:gd name="connsiteX46" fmla="*/ 4458 w 13143"/>
                <a:gd name="connsiteY46" fmla="*/ 1835 h 10760"/>
                <a:gd name="connsiteX47" fmla="*/ 4270 w 13143"/>
                <a:gd name="connsiteY47" fmla="*/ 1596 h 10760"/>
                <a:gd name="connsiteX48" fmla="*/ 4253 w 13143"/>
                <a:gd name="connsiteY48" fmla="*/ 1359 h 10760"/>
                <a:gd name="connsiteX49" fmla="*/ 4301 w 13143"/>
                <a:gd name="connsiteY49" fmla="*/ 1009 h 10760"/>
                <a:gd name="connsiteX50" fmla="*/ 4035 w 13143"/>
                <a:gd name="connsiteY50" fmla="*/ 1059 h 10760"/>
                <a:gd name="connsiteX51" fmla="*/ 3989 w 13143"/>
                <a:gd name="connsiteY51" fmla="*/ 879 h 10760"/>
                <a:gd name="connsiteX52" fmla="*/ 4104 w 13143"/>
                <a:gd name="connsiteY52" fmla="*/ 580 h 10760"/>
                <a:gd name="connsiteX53" fmla="*/ 4002 w 13143"/>
                <a:gd name="connsiteY53" fmla="*/ 0 h 10760"/>
                <a:gd name="connsiteX54" fmla="*/ 5300 w 13143"/>
                <a:gd name="connsiteY54" fmla="*/ 195 h 10760"/>
                <a:gd name="connsiteX55" fmla="*/ 6336 w 13143"/>
                <a:gd name="connsiteY55" fmla="*/ 1088 h 10760"/>
                <a:gd name="connsiteX56" fmla="*/ 6596 w 13143"/>
                <a:gd name="connsiteY56" fmla="*/ 1091 h 10760"/>
                <a:gd name="connsiteX57" fmla="*/ 6662 w 13143"/>
                <a:gd name="connsiteY57" fmla="*/ 1196 h 10760"/>
                <a:gd name="connsiteX58" fmla="*/ 6878 w 13143"/>
                <a:gd name="connsiteY58" fmla="*/ 1300 h 10760"/>
                <a:gd name="connsiteX59" fmla="*/ 7319 w 13143"/>
                <a:gd name="connsiteY59" fmla="*/ 1256 h 10760"/>
                <a:gd name="connsiteX60" fmla="*/ 7369 w 13143"/>
                <a:gd name="connsiteY60" fmla="*/ 1745 h 10760"/>
                <a:gd name="connsiteX61" fmla="*/ 7650 w 13143"/>
                <a:gd name="connsiteY61" fmla="*/ 1596 h 10760"/>
                <a:gd name="connsiteX62" fmla="*/ 8165 w 13143"/>
                <a:gd name="connsiteY62" fmla="*/ 1755 h 10760"/>
                <a:gd name="connsiteX63" fmla="*/ 8902 w 13143"/>
                <a:gd name="connsiteY63" fmla="*/ 1218 h 10760"/>
                <a:gd name="connsiteX64" fmla="*/ 9326 w 13143"/>
                <a:gd name="connsiteY64" fmla="*/ 983 h 10760"/>
                <a:gd name="connsiteX65" fmla="*/ 10344 w 13143"/>
                <a:gd name="connsiteY65" fmla="*/ 1065 h 10760"/>
                <a:gd name="connsiteX66" fmla="*/ 10721 w 13143"/>
                <a:gd name="connsiteY66" fmla="*/ 1177 h 10760"/>
                <a:gd name="connsiteX67" fmla="*/ 11047 w 13143"/>
                <a:gd name="connsiteY67" fmla="*/ 721 h 10760"/>
                <a:gd name="connsiteX68" fmla="*/ 11329 w 13143"/>
                <a:gd name="connsiteY68" fmla="*/ 1213 h 10760"/>
                <a:gd name="connsiteX69" fmla="*/ 10941 w 13143"/>
                <a:gd name="connsiteY69" fmla="*/ 1544 h 10760"/>
                <a:gd name="connsiteX70" fmla="*/ 11561 w 13143"/>
                <a:gd name="connsiteY70" fmla="*/ 1477 h 10760"/>
                <a:gd name="connsiteX71" fmla="*/ 12139 w 13143"/>
                <a:gd name="connsiteY71" fmla="*/ 1744 h 10760"/>
                <a:gd name="connsiteX72" fmla="*/ 12594 w 13143"/>
                <a:gd name="connsiteY72" fmla="*/ 4405 h 10760"/>
                <a:gd name="connsiteX73" fmla="*/ 13142 w 13143"/>
                <a:gd name="connsiteY73" fmla="*/ 5293 h 10760"/>
                <a:gd name="connsiteX74" fmla="*/ 12730 w 13143"/>
                <a:gd name="connsiteY74" fmla="*/ 5967 h 10760"/>
                <a:gd name="connsiteX75" fmla="*/ 11347 w 13143"/>
                <a:gd name="connsiteY75" fmla="*/ 6232 h 10760"/>
                <a:gd name="connsiteX76" fmla="*/ 10131 w 13143"/>
                <a:gd name="connsiteY76" fmla="*/ 6788 h 10760"/>
                <a:gd name="connsiteX77" fmla="*/ 9494 w 13143"/>
                <a:gd name="connsiteY77" fmla="*/ 6901 h 10760"/>
                <a:gd name="connsiteX78" fmla="*/ 8965 w 13143"/>
                <a:gd name="connsiteY78" fmla="*/ 7088 h 10760"/>
                <a:gd name="connsiteX79" fmla="*/ 9528 w 13143"/>
                <a:gd name="connsiteY79" fmla="*/ 7238 h 10760"/>
                <a:gd name="connsiteX80" fmla="*/ 9998 w 13143"/>
                <a:gd name="connsiteY80" fmla="*/ 7626 h 10760"/>
                <a:gd name="connsiteX81" fmla="*/ 10373 w 13143"/>
                <a:gd name="connsiteY81" fmla="*/ 8372 h 10760"/>
                <a:gd name="connsiteX82" fmla="*/ 10749 w 13143"/>
                <a:gd name="connsiteY82" fmla="*/ 8342 h 10760"/>
                <a:gd name="connsiteX83" fmla="*/ 11735 w 13143"/>
                <a:gd name="connsiteY83" fmla="*/ 9088 h 10760"/>
                <a:gd name="connsiteX84" fmla="*/ 10561 w 13143"/>
                <a:gd name="connsiteY84" fmla="*/ 9894 h 10760"/>
                <a:gd name="connsiteX85" fmla="*/ 11031 w 13143"/>
                <a:gd name="connsiteY85" fmla="*/ 10491 h 10760"/>
                <a:gd name="connsiteX86" fmla="*/ 10843 w 13143"/>
                <a:gd name="connsiteY86" fmla="*/ 10730 h 10760"/>
                <a:gd name="connsiteX87" fmla="*/ 10561 w 13143"/>
                <a:gd name="connsiteY87" fmla="*/ 10491 h 10760"/>
                <a:gd name="connsiteX88" fmla="*/ 8683 w 13143"/>
                <a:gd name="connsiteY88" fmla="*/ 10461 h 10760"/>
                <a:gd name="connsiteX89" fmla="*/ 8355 w 13143"/>
                <a:gd name="connsiteY89" fmla="*/ 10760 h 10760"/>
                <a:gd name="connsiteX90" fmla="*/ 7791 w 13143"/>
                <a:gd name="connsiteY90" fmla="*/ 10730 h 10760"/>
                <a:gd name="connsiteX0" fmla="*/ 7791 w 13143"/>
                <a:gd name="connsiteY0" fmla="*/ 10730 h 10760"/>
                <a:gd name="connsiteX1" fmla="*/ 7885 w 13143"/>
                <a:gd name="connsiteY1" fmla="*/ 9894 h 10760"/>
                <a:gd name="connsiteX2" fmla="*/ 8167 w 13143"/>
                <a:gd name="connsiteY2" fmla="*/ 9088 h 10760"/>
                <a:gd name="connsiteX3" fmla="*/ 7369 w 13143"/>
                <a:gd name="connsiteY3" fmla="*/ 8909 h 10760"/>
                <a:gd name="connsiteX4" fmla="*/ 7134 w 13143"/>
                <a:gd name="connsiteY4" fmla="*/ 8730 h 10760"/>
                <a:gd name="connsiteX5" fmla="*/ 6758 w 13143"/>
                <a:gd name="connsiteY5" fmla="*/ 8820 h 10760"/>
                <a:gd name="connsiteX6" fmla="*/ 6430 w 13143"/>
                <a:gd name="connsiteY6" fmla="*/ 8253 h 10760"/>
                <a:gd name="connsiteX7" fmla="*/ 5866 w 13143"/>
                <a:gd name="connsiteY7" fmla="*/ 7894 h 10760"/>
                <a:gd name="connsiteX8" fmla="*/ 5444 w 13143"/>
                <a:gd name="connsiteY8" fmla="*/ 7924 h 10760"/>
                <a:gd name="connsiteX9" fmla="*/ 5538 w 13143"/>
                <a:gd name="connsiteY9" fmla="*/ 8103 h 10760"/>
                <a:gd name="connsiteX10" fmla="*/ 5068 w 13143"/>
                <a:gd name="connsiteY10" fmla="*/ 8133 h 10760"/>
                <a:gd name="connsiteX11" fmla="*/ 5021 w 13143"/>
                <a:gd name="connsiteY11" fmla="*/ 7447 h 10760"/>
                <a:gd name="connsiteX12" fmla="*/ 4270 w 13143"/>
                <a:gd name="connsiteY12" fmla="*/ 7417 h 10760"/>
                <a:gd name="connsiteX13" fmla="*/ 4364 w 13143"/>
                <a:gd name="connsiteY13" fmla="*/ 7118 h 10760"/>
                <a:gd name="connsiteX14" fmla="*/ 4035 w 13143"/>
                <a:gd name="connsiteY14" fmla="*/ 7029 h 10760"/>
                <a:gd name="connsiteX15" fmla="*/ 3848 w 13143"/>
                <a:gd name="connsiteY15" fmla="*/ 6521 h 10760"/>
                <a:gd name="connsiteX16" fmla="*/ 4176 w 13143"/>
                <a:gd name="connsiteY16" fmla="*/ 6372 h 10760"/>
                <a:gd name="connsiteX17" fmla="*/ 4646 w 13143"/>
                <a:gd name="connsiteY17" fmla="*/ 5984 h 10760"/>
                <a:gd name="connsiteX18" fmla="*/ 4364 w 13143"/>
                <a:gd name="connsiteY18" fmla="*/ 5775 h 10760"/>
                <a:gd name="connsiteX19" fmla="*/ 4927 w 13143"/>
                <a:gd name="connsiteY19" fmla="*/ 5447 h 10760"/>
                <a:gd name="connsiteX20" fmla="*/ 692 w 13143"/>
                <a:gd name="connsiteY20" fmla="*/ 7611 h 10760"/>
                <a:gd name="connsiteX21" fmla="*/ 0 w 13143"/>
                <a:gd name="connsiteY21" fmla="*/ 6881 h 10760"/>
                <a:gd name="connsiteX22" fmla="*/ 352 w 13143"/>
                <a:gd name="connsiteY22" fmla="*/ 6827 h 10760"/>
                <a:gd name="connsiteX23" fmla="*/ 861 w 13143"/>
                <a:gd name="connsiteY23" fmla="*/ 6422 h 10760"/>
                <a:gd name="connsiteX24" fmla="*/ 677 w 13143"/>
                <a:gd name="connsiteY24" fmla="*/ 6205 h 10760"/>
                <a:gd name="connsiteX25" fmla="*/ 440 w 13143"/>
                <a:gd name="connsiteY25" fmla="*/ 6058 h 10760"/>
                <a:gd name="connsiteX26" fmla="*/ 397 w 13143"/>
                <a:gd name="connsiteY26" fmla="*/ 5674 h 10760"/>
                <a:gd name="connsiteX27" fmla="*/ 400 w 13143"/>
                <a:gd name="connsiteY27" fmla="*/ 5040 h 10760"/>
                <a:gd name="connsiteX28" fmla="*/ 536 w 13143"/>
                <a:gd name="connsiteY28" fmla="*/ 4655 h 10760"/>
                <a:gd name="connsiteX29" fmla="*/ 1447 w 13143"/>
                <a:gd name="connsiteY29" fmla="*/ 4121 h 10760"/>
                <a:gd name="connsiteX30" fmla="*/ 1838 w 13143"/>
                <a:gd name="connsiteY30" fmla="*/ 3784 h 10760"/>
                <a:gd name="connsiteX31" fmla="*/ 1503 w 13143"/>
                <a:gd name="connsiteY31" fmla="*/ 3358 h 10760"/>
                <a:gd name="connsiteX32" fmla="*/ 1904 w 13143"/>
                <a:gd name="connsiteY32" fmla="*/ 2950 h 10760"/>
                <a:gd name="connsiteX33" fmla="*/ 1923 w 13143"/>
                <a:gd name="connsiteY33" fmla="*/ 2820 h 10760"/>
                <a:gd name="connsiteX34" fmla="*/ 1735 w 13143"/>
                <a:gd name="connsiteY34" fmla="*/ 2790 h 10760"/>
                <a:gd name="connsiteX35" fmla="*/ 2093 w 13143"/>
                <a:gd name="connsiteY35" fmla="*/ 1986 h 10760"/>
                <a:gd name="connsiteX36" fmla="*/ 2742 w 13143"/>
                <a:gd name="connsiteY36" fmla="*/ 1999 h 10760"/>
                <a:gd name="connsiteX37" fmla="*/ 3519 w 13143"/>
                <a:gd name="connsiteY37" fmla="*/ 2461 h 10760"/>
                <a:gd name="connsiteX38" fmla="*/ 2443 w 13143"/>
                <a:gd name="connsiteY38" fmla="*/ 2015 h 10760"/>
                <a:gd name="connsiteX39" fmla="*/ 2754 w 13143"/>
                <a:gd name="connsiteY39" fmla="*/ 2021 h 10760"/>
                <a:gd name="connsiteX40" fmla="*/ 2916 w 13143"/>
                <a:gd name="connsiteY40" fmla="*/ 2083 h 10760"/>
                <a:gd name="connsiteX41" fmla="*/ 3391 w 13143"/>
                <a:gd name="connsiteY41" fmla="*/ 2449 h 10760"/>
                <a:gd name="connsiteX42" fmla="*/ 3589 w 13143"/>
                <a:gd name="connsiteY42" fmla="*/ 2178 h 10760"/>
                <a:gd name="connsiteX43" fmla="*/ 3915 w 13143"/>
                <a:gd name="connsiteY43" fmla="*/ 1886 h 10760"/>
                <a:gd name="connsiteX44" fmla="*/ 4040 w 13143"/>
                <a:gd name="connsiteY44" fmla="*/ 1793 h 10760"/>
                <a:gd name="connsiteX45" fmla="*/ 4740 w 13143"/>
                <a:gd name="connsiteY45" fmla="*/ 1805 h 10760"/>
                <a:gd name="connsiteX46" fmla="*/ 4458 w 13143"/>
                <a:gd name="connsiteY46" fmla="*/ 1835 h 10760"/>
                <a:gd name="connsiteX47" fmla="*/ 4270 w 13143"/>
                <a:gd name="connsiteY47" fmla="*/ 1596 h 10760"/>
                <a:gd name="connsiteX48" fmla="*/ 4253 w 13143"/>
                <a:gd name="connsiteY48" fmla="*/ 1359 h 10760"/>
                <a:gd name="connsiteX49" fmla="*/ 4301 w 13143"/>
                <a:gd name="connsiteY49" fmla="*/ 1009 h 10760"/>
                <a:gd name="connsiteX50" fmla="*/ 4035 w 13143"/>
                <a:gd name="connsiteY50" fmla="*/ 1059 h 10760"/>
                <a:gd name="connsiteX51" fmla="*/ 3989 w 13143"/>
                <a:gd name="connsiteY51" fmla="*/ 879 h 10760"/>
                <a:gd name="connsiteX52" fmla="*/ 4104 w 13143"/>
                <a:gd name="connsiteY52" fmla="*/ 580 h 10760"/>
                <a:gd name="connsiteX53" fmla="*/ 4002 w 13143"/>
                <a:gd name="connsiteY53" fmla="*/ 0 h 10760"/>
                <a:gd name="connsiteX54" fmla="*/ 5300 w 13143"/>
                <a:gd name="connsiteY54" fmla="*/ 195 h 10760"/>
                <a:gd name="connsiteX55" fmla="*/ 6336 w 13143"/>
                <a:gd name="connsiteY55" fmla="*/ 1088 h 10760"/>
                <a:gd name="connsiteX56" fmla="*/ 6596 w 13143"/>
                <a:gd name="connsiteY56" fmla="*/ 1091 h 10760"/>
                <a:gd name="connsiteX57" fmla="*/ 6662 w 13143"/>
                <a:gd name="connsiteY57" fmla="*/ 1196 h 10760"/>
                <a:gd name="connsiteX58" fmla="*/ 6878 w 13143"/>
                <a:gd name="connsiteY58" fmla="*/ 1300 h 10760"/>
                <a:gd name="connsiteX59" fmla="*/ 7319 w 13143"/>
                <a:gd name="connsiteY59" fmla="*/ 1256 h 10760"/>
                <a:gd name="connsiteX60" fmla="*/ 7369 w 13143"/>
                <a:gd name="connsiteY60" fmla="*/ 1745 h 10760"/>
                <a:gd name="connsiteX61" fmla="*/ 7650 w 13143"/>
                <a:gd name="connsiteY61" fmla="*/ 1596 h 10760"/>
                <a:gd name="connsiteX62" fmla="*/ 8165 w 13143"/>
                <a:gd name="connsiteY62" fmla="*/ 1755 h 10760"/>
                <a:gd name="connsiteX63" fmla="*/ 8902 w 13143"/>
                <a:gd name="connsiteY63" fmla="*/ 1218 h 10760"/>
                <a:gd name="connsiteX64" fmla="*/ 9326 w 13143"/>
                <a:gd name="connsiteY64" fmla="*/ 983 h 10760"/>
                <a:gd name="connsiteX65" fmla="*/ 10344 w 13143"/>
                <a:gd name="connsiteY65" fmla="*/ 1065 h 10760"/>
                <a:gd name="connsiteX66" fmla="*/ 10721 w 13143"/>
                <a:gd name="connsiteY66" fmla="*/ 1177 h 10760"/>
                <a:gd name="connsiteX67" fmla="*/ 11047 w 13143"/>
                <a:gd name="connsiteY67" fmla="*/ 721 h 10760"/>
                <a:gd name="connsiteX68" fmla="*/ 11329 w 13143"/>
                <a:gd name="connsiteY68" fmla="*/ 1213 h 10760"/>
                <a:gd name="connsiteX69" fmla="*/ 10941 w 13143"/>
                <a:gd name="connsiteY69" fmla="*/ 1544 h 10760"/>
                <a:gd name="connsiteX70" fmla="*/ 11561 w 13143"/>
                <a:gd name="connsiteY70" fmla="*/ 1477 h 10760"/>
                <a:gd name="connsiteX71" fmla="*/ 12139 w 13143"/>
                <a:gd name="connsiteY71" fmla="*/ 1744 h 10760"/>
                <a:gd name="connsiteX72" fmla="*/ 12594 w 13143"/>
                <a:gd name="connsiteY72" fmla="*/ 4405 h 10760"/>
                <a:gd name="connsiteX73" fmla="*/ 13142 w 13143"/>
                <a:gd name="connsiteY73" fmla="*/ 5293 h 10760"/>
                <a:gd name="connsiteX74" fmla="*/ 12730 w 13143"/>
                <a:gd name="connsiteY74" fmla="*/ 5967 h 10760"/>
                <a:gd name="connsiteX75" fmla="*/ 11347 w 13143"/>
                <a:gd name="connsiteY75" fmla="*/ 6232 h 10760"/>
                <a:gd name="connsiteX76" fmla="*/ 10131 w 13143"/>
                <a:gd name="connsiteY76" fmla="*/ 6788 h 10760"/>
                <a:gd name="connsiteX77" fmla="*/ 9494 w 13143"/>
                <a:gd name="connsiteY77" fmla="*/ 6901 h 10760"/>
                <a:gd name="connsiteX78" fmla="*/ 8965 w 13143"/>
                <a:gd name="connsiteY78" fmla="*/ 7088 h 10760"/>
                <a:gd name="connsiteX79" fmla="*/ 9528 w 13143"/>
                <a:gd name="connsiteY79" fmla="*/ 7238 h 10760"/>
                <a:gd name="connsiteX80" fmla="*/ 9998 w 13143"/>
                <a:gd name="connsiteY80" fmla="*/ 7626 h 10760"/>
                <a:gd name="connsiteX81" fmla="*/ 10373 w 13143"/>
                <a:gd name="connsiteY81" fmla="*/ 8372 h 10760"/>
                <a:gd name="connsiteX82" fmla="*/ 10749 w 13143"/>
                <a:gd name="connsiteY82" fmla="*/ 8342 h 10760"/>
                <a:gd name="connsiteX83" fmla="*/ 11735 w 13143"/>
                <a:gd name="connsiteY83" fmla="*/ 9088 h 10760"/>
                <a:gd name="connsiteX84" fmla="*/ 10561 w 13143"/>
                <a:gd name="connsiteY84" fmla="*/ 9894 h 10760"/>
                <a:gd name="connsiteX85" fmla="*/ 11031 w 13143"/>
                <a:gd name="connsiteY85" fmla="*/ 10491 h 10760"/>
                <a:gd name="connsiteX86" fmla="*/ 10843 w 13143"/>
                <a:gd name="connsiteY86" fmla="*/ 10730 h 10760"/>
                <a:gd name="connsiteX87" fmla="*/ 10561 w 13143"/>
                <a:gd name="connsiteY87" fmla="*/ 10491 h 10760"/>
                <a:gd name="connsiteX88" fmla="*/ 8683 w 13143"/>
                <a:gd name="connsiteY88" fmla="*/ 10461 h 10760"/>
                <a:gd name="connsiteX89" fmla="*/ 8355 w 13143"/>
                <a:gd name="connsiteY89" fmla="*/ 10760 h 10760"/>
                <a:gd name="connsiteX90" fmla="*/ 7791 w 13143"/>
                <a:gd name="connsiteY90"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3752 w 13047"/>
                <a:gd name="connsiteY15" fmla="*/ 6521 h 10760"/>
                <a:gd name="connsiteX16" fmla="*/ 4080 w 13047"/>
                <a:gd name="connsiteY16" fmla="*/ 6372 h 10760"/>
                <a:gd name="connsiteX17" fmla="*/ 4550 w 13047"/>
                <a:gd name="connsiteY17" fmla="*/ 5984 h 10760"/>
                <a:gd name="connsiteX18" fmla="*/ 4268 w 13047"/>
                <a:gd name="connsiteY18" fmla="*/ 5775 h 10760"/>
                <a:gd name="connsiteX19" fmla="*/ 4831 w 13047"/>
                <a:gd name="connsiteY19" fmla="*/ 5447 h 10760"/>
                <a:gd name="connsiteX20" fmla="*/ 596 w 13047"/>
                <a:gd name="connsiteY20" fmla="*/ 7611 h 10760"/>
                <a:gd name="connsiteX21" fmla="*/ 0 w 13047"/>
                <a:gd name="connsiteY21" fmla="*/ 6872 h 10760"/>
                <a:gd name="connsiteX22" fmla="*/ 256 w 13047"/>
                <a:gd name="connsiteY22" fmla="*/ 6827 h 10760"/>
                <a:gd name="connsiteX23" fmla="*/ 765 w 13047"/>
                <a:gd name="connsiteY23" fmla="*/ 6422 h 10760"/>
                <a:gd name="connsiteX24" fmla="*/ 581 w 13047"/>
                <a:gd name="connsiteY24" fmla="*/ 6205 h 10760"/>
                <a:gd name="connsiteX25" fmla="*/ 344 w 13047"/>
                <a:gd name="connsiteY25" fmla="*/ 6058 h 10760"/>
                <a:gd name="connsiteX26" fmla="*/ 301 w 13047"/>
                <a:gd name="connsiteY26" fmla="*/ 5674 h 10760"/>
                <a:gd name="connsiteX27" fmla="*/ 304 w 13047"/>
                <a:gd name="connsiteY27" fmla="*/ 5040 h 10760"/>
                <a:gd name="connsiteX28" fmla="*/ 440 w 13047"/>
                <a:gd name="connsiteY28" fmla="*/ 4655 h 10760"/>
                <a:gd name="connsiteX29" fmla="*/ 1351 w 13047"/>
                <a:gd name="connsiteY29" fmla="*/ 4121 h 10760"/>
                <a:gd name="connsiteX30" fmla="*/ 1742 w 13047"/>
                <a:gd name="connsiteY30" fmla="*/ 3784 h 10760"/>
                <a:gd name="connsiteX31" fmla="*/ 1407 w 13047"/>
                <a:gd name="connsiteY31" fmla="*/ 3358 h 10760"/>
                <a:gd name="connsiteX32" fmla="*/ 1808 w 13047"/>
                <a:gd name="connsiteY32" fmla="*/ 2950 h 10760"/>
                <a:gd name="connsiteX33" fmla="*/ 1827 w 13047"/>
                <a:gd name="connsiteY33" fmla="*/ 2820 h 10760"/>
                <a:gd name="connsiteX34" fmla="*/ 1639 w 13047"/>
                <a:gd name="connsiteY34" fmla="*/ 2790 h 10760"/>
                <a:gd name="connsiteX35" fmla="*/ 1997 w 13047"/>
                <a:gd name="connsiteY35" fmla="*/ 1986 h 10760"/>
                <a:gd name="connsiteX36" fmla="*/ 2646 w 13047"/>
                <a:gd name="connsiteY36" fmla="*/ 1999 h 10760"/>
                <a:gd name="connsiteX37" fmla="*/ 3423 w 13047"/>
                <a:gd name="connsiteY37" fmla="*/ 2461 h 10760"/>
                <a:gd name="connsiteX38" fmla="*/ 2347 w 13047"/>
                <a:gd name="connsiteY38" fmla="*/ 2015 h 10760"/>
                <a:gd name="connsiteX39" fmla="*/ 2658 w 13047"/>
                <a:gd name="connsiteY39" fmla="*/ 2021 h 10760"/>
                <a:gd name="connsiteX40" fmla="*/ 2820 w 13047"/>
                <a:gd name="connsiteY40" fmla="*/ 2083 h 10760"/>
                <a:gd name="connsiteX41" fmla="*/ 3295 w 13047"/>
                <a:gd name="connsiteY41" fmla="*/ 2449 h 10760"/>
                <a:gd name="connsiteX42" fmla="*/ 3493 w 13047"/>
                <a:gd name="connsiteY42" fmla="*/ 2178 h 10760"/>
                <a:gd name="connsiteX43" fmla="*/ 3819 w 13047"/>
                <a:gd name="connsiteY43" fmla="*/ 1886 h 10760"/>
                <a:gd name="connsiteX44" fmla="*/ 3944 w 13047"/>
                <a:gd name="connsiteY44" fmla="*/ 1793 h 10760"/>
                <a:gd name="connsiteX45" fmla="*/ 4644 w 13047"/>
                <a:gd name="connsiteY45" fmla="*/ 1805 h 10760"/>
                <a:gd name="connsiteX46" fmla="*/ 4362 w 13047"/>
                <a:gd name="connsiteY46" fmla="*/ 1835 h 10760"/>
                <a:gd name="connsiteX47" fmla="*/ 4174 w 13047"/>
                <a:gd name="connsiteY47" fmla="*/ 1596 h 10760"/>
                <a:gd name="connsiteX48" fmla="*/ 4157 w 13047"/>
                <a:gd name="connsiteY48" fmla="*/ 1359 h 10760"/>
                <a:gd name="connsiteX49" fmla="*/ 4205 w 13047"/>
                <a:gd name="connsiteY49" fmla="*/ 1009 h 10760"/>
                <a:gd name="connsiteX50" fmla="*/ 3939 w 13047"/>
                <a:gd name="connsiteY50" fmla="*/ 1059 h 10760"/>
                <a:gd name="connsiteX51" fmla="*/ 3893 w 13047"/>
                <a:gd name="connsiteY51" fmla="*/ 879 h 10760"/>
                <a:gd name="connsiteX52" fmla="*/ 4008 w 13047"/>
                <a:gd name="connsiteY52" fmla="*/ 580 h 10760"/>
                <a:gd name="connsiteX53" fmla="*/ 3906 w 13047"/>
                <a:gd name="connsiteY53" fmla="*/ 0 h 10760"/>
                <a:gd name="connsiteX54" fmla="*/ 5204 w 13047"/>
                <a:gd name="connsiteY54" fmla="*/ 195 h 10760"/>
                <a:gd name="connsiteX55" fmla="*/ 6240 w 13047"/>
                <a:gd name="connsiteY55" fmla="*/ 1088 h 10760"/>
                <a:gd name="connsiteX56" fmla="*/ 6500 w 13047"/>
                <a:gd name="connsiteY56" fmla="*/ 1091 h 10760"/>
                <a:gd name="connsiteX57" fmla="*/ 6566 w 13047"/>
                <a:gd name="connsiteY57" fmla="*/ 1196 h 10760"/>
                <a:gd name="connsiteX58" fmla="*/ 6782 w 13047"/>
                <a:gd name="connsiteY58" fmla="*/ 1300 h 10760"/>
                <a:gd name="connsiteX59" fmla="*/ 7223 w 13047"/>
                <a:gd name="connsiteY59" fmla="*/ 1256 h 10760"/>
                <a:gd name="connsiteX60" fmla="*/ 7273 w 13047"/>
                <a:gd name="connsiteY60" fmla="*/ 1745 h 10760"/>
                <a:gd name="connsiteX61" fmla="*/ 7554 w 13047"/>
                <a:gd name="connsiteY61" fmla="*/ 1596 h 10760"/>
                <a:gd name="connsiteX62" fmla="*/ 8069 w 13047"/>
                <a:gd name="connsiteY62" fmla="*/ 1755 h 10760"/>
                <a:gd name="connsiteX63" fmla="*/ 8806 w 13047"/>
                <a:gd name="connsiteY63" fmla="*/ 1218 h 10760"/>
                <a:gd name="connsiteX64" fmla="*/ 9230 w 13047"/>
                <a:gd name="connsiteY64" fmla="*/ 983 h 10760"/>
                <a:gd name="connsiteX65" fmla="*/ 10248 w 13047"/>
                <a:gd name="connsiteY65" fmla="*/ 1065 h 10760"/>
                <a:gd name="connsiteX66" fmla="*/ 10625 w 13047"/>
                <a:gd name="connsiteY66" fmla="*/ 1177 h 10760"/>
                <a:gd name="connsiteX67" fmla="*/ 10951 w 13047"/>
                <a:gd name="connsiteY67" fmla="*/ 721 h 10760"/>
                <a:gd name="connsiteX68" fmla="*/ 11233 w 13047"/>
                <a:gd name="connsiteY68" fmla="*/ 1213 h 10760"/>
                <a:gd name="connsiteX69" fmla="*/ 10845 w 13047"/>
                <a:gd name="connsiteY69" fmla="*/ 1544 h 10760"/>
                <a:gd name="connsiteX70" fmla="*/ 11465 w 13047"/>
                <a:gd name="connsiteY70" fmla="*/ 1477 h 10760"/>
                <a:gd name="connsiteX71" fmla="*/ 12043 w 13047"/>
                <a:gd name="connsiteY71" fmla="*/ 1744 h 10760"/>
                <a:gd name="connsiteX72" fmla="*/ 12498 w 13047"/>
                <a:gd name="connsiteY72" fmla="*/ 4405 h 10760"/>
                <a:gd name="connsiteX73" fmla="*/ 13046 w 13047"/>
                <a:gd name="connsiteY73" fmla="*/ 5293 h 10760"/>
                <a:gd name="connsiteX74" fmla="*/ 12634 w 13047"/>
                <a:gd name="connsiteY74" fmla="*/ 5967 h 10760"/>
                <a:gd name="connsiteX75" fmla="*/ 11251 w 13047"/>
                <a:gd name="connsiteY75" fmla="*/ 6232 h 10760"/>
                <a:gd name="connsiteX76" fmla="*/ 10035 w 13047"/>
                <a:gd name="connsiteY76" fmla="*/ 6788 h 10760"/>
                <a:gd name="connsiteX77" fmla="*/ 9398 w 13047"/>
                <a:gd name="connsiteY77" fmla="*/ 6901 h 10760"/>
                <a:gd name="connsiteX78" fmla="*/ 8869 w 13047"/>
                <a:gd name="connsiteY78" fmla="*/ 7088 h 10760"/>
                <a:gd name="connsiteX79" fmla="*/ 9432 w 13047"/>
                <a:gd name="connsiteY79" fmla="*/ 7238 h 10760"/>
                <a:gd name="connsiteX80" fmla="*/ 9902 w 13047"/>
                <a:gd name="connsiteY80" fmla="*/ 7626 h 10760"/>
                <a:gd name="connsiteX81" fmla="*/ 10277 w 13047"/>
                <a:gd name="connsiteY81" fmla="*/ 8372 h 10760"/>
                <a:gd name="connsiteX82" fmla="*/ 10653 w 13047"/>
                <a:gd name="connsiteY82" fmla="*/ 8342 h 10760"/>
                <a:gd name="connsiteX83" fmla="*/ 11639 w 13047"/>
                <a:gd name="connsiteY83" fmla="*/ 9088 h 10760"/>
                <a:gd name="connsiteX84" fmla="*/ 10465 w 13047"/>
                <a:gd name="connsiteY84" fmla="*/ 9894 h 10760"/>
                <a:gd name="connsiteX85" fmla="*/ 10935 w 13047"/>
                <a:gd name="connsiteY85" fmla="*/ 10491 h 10760"/>
                <a:gd name="connsiteX86" fmla="*/ 10747 w 13047"/>
                <a:gd name="connsiteY86" fmla="*/ 10730 h 10760"/>
                <a:gd name="connsiteX87" fmla="*/ 10465 w 13047"/>
                <a:gd name="connsiteY87" fmla="*/ 10491 h 10760"/>
                <a:gd name="connsiteX88" fmla="*/ 8587 w 13047"/>
                <a:gd name="connsiteY88" fmla="*/ 10461 h 10760"/>
                <a:gd name="connsiteX89" fmla="*/ 8259 w 13047"/>
                <a:gd name="connsiteY89" fmla="*/ 10760 h 10760"/>
                <a:gd name="connsiteX90" fmla="*/ 7695 w 13047"/>
                <a:gd name="connsiteY90"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3752 w 13047"/>
                <a:gd name="connsiteY15" fmla="*/ 6521 h 10760"/>
                <a:gd name="connsiteX16" fmla="*/ 4080 w 13047"/>
                <a:gd name="connsiteY16" fmla="*/ 6372 h 10760"/>
                <a:gd name="connsiteX17" fmla="*/ 4550 w 13047"/>
                <a:gd name="connsiteY17" fmla="*/ 5984 h 10760"/>
                <a:gd name="connsiteX18" fmla="*/ 4268 w 13047"/>
                <a:gd name="connsiteY18" fmla="*/ 5775 h 10760"/>
                <a:gd name="connsiteX19" fmla="*/ 747 w 13047"/>
                <a:gd name="connsiteY19" fmla="*/ 8018 h 10760"/>
                <a:gd name="connsiteX20" fmla="*/ 596 w 13047"/>
                <a:gd name="connsiteY20" fmla="*/ 7611 h 10760"/>
                <a:gd name="connsiteX21" fmla="*/ 0 w 13047"/>
                <a:gd name="connsiteY21" fmla="*/ 6872 h 10760"/>
                <a:gd name="connsiteX22" fmla="*/ 256 w 13047"/>
                <a:gd name="connsiteY22" fmla="*/ 6827 h 10760"/>
                <a:gd name="connsiteX23" fmla="*/ 765 w 13047"/>
                <a:gd name="connsiteY23" fmla="*/ 6422 h 10760"/>
                <a:gd name="connsiteX24" fmla="*/ 581 w 13047"/>
                <a:gd name="connsiteY24" fmla="*/ 6205 h 10760"/>
                <a:gd name="connsiteX25" fmla="*/ 344 w 13047"/>
                <a:gd name="connsiteY25" fmla="*/ 6058 h 10760"/>
                <a:gd name="connsiteX26" fmla="*/ 301 w 13047"/>
                <a:gd name="connsiteY26" fmla="*/ 5674 h 10760"/>
                <a:gd name="connsiteX27" fmla="*/ 304 w 13047"/>
                <a:gd name="connsiteY27" fmla="*/ 5040 h 10760"/>
                <a:gd name="connsiteX28" fmla="*/ 440 w 13047"/>
                <a:gd name="connsiteY28" fmla="*/ 4655 h 10760"/>
                <a:gd name="connsiteX29" fmla="*/ 1351 w 13047"/>
                <a:gd name="connsiteY29" fmla="*/ 4121 h 10760"/>
                <a:gd name="connsiteX30" fmla="*/ 1742 w 13047"/>
                <a:gd name="connsiteY30" fmla="*/ 3784 h 10760"/>
                <a:gd name="connsiteX31" fmla="*/ 1407 w 13047"/>
                <a:gd name="connsiteY31" fmla="*/ 3358 h 10760"/>
                <a:gd name="connsiteX32" fmla="*/ 1808 w 13047"/>
                <a:gd name="connsiteY32" fmla="*/ 2950 h 10760"/>
                <a:gd name="connsiteX33" fmla="*/ 1827 w 13047"/>
                <a:gd name="connsiteY33" fmla="*/ 2820 h 10760"/>
                <a:gd name="connsiteX34" fmla="*/ 1639 w 13047"/>
                <a:gd name="connsiteY34" fmla="*/ 2790 h 10760"/>
                <a:gd name="connsiteX35" fmla="*/ 1997 w 13047"/>
                <a:gd name="connsiteY35" fmla="*/ 1986 h 10760"/>
                <a:gd name="connsiteX36" fmla="*/ 2646 w 13047"/>
                <a:gd name="connsiteY36" fmla="*/ 1999 h 10760"/>
                <a:gd name="connsiteX37" fmla="*/ 3423 w 13047"/>
                <a:gd name="connsiteY37" fmla="*/ 2461 h 10760"/>
                <a:gd name="connsiteX38" fmla="*/ 2347 w 13047"/>
                <a:gd name="connsiteY38" fmla="*/ 2015 h 10760"/>
                <a:gd name="connsiteX39" fmla="*/ 2658 w 13047"/>
                <a:gd name="connsiteY39" fmla="*/ 2021 h 10760"/>
                <a:gd name="connsiteX40" fmla="*/ 2820 w 13047"/>
                <a:gd name="connsiteY40" fmla="*/ 2083 h 10760"/>
                <a:gd name="connsiteX41" fmla="*/ 3295 w 13047"/>
                <a:gd name="connsiteY41" fmla="*/ 2449 h 10760"/>
                <a:gd name="connsiteX42" fmla="*/ 3493 w 13047"/>
                <a:gd name="connsiteY42" fmla="*/ 2178 h 10760"/>
                <a:gd name="connsiteX43" fmla="*/ 3819 w 13047"/>
                <a:gd name="connsiteY43" fmla="*/ 1886 h 10760"/>
                <a:gd name="connsiteX44" fmla="*/ 3944 w 13047"/>
                <a:gd name="connsiteY44" fmla="*/ 1793 h 10760"/>
                <a:gd name="connsiteX45" fmla="*/ 4644 w 13047"/>
                <a:gd name="connsiteY45" fmla="*/ 1805 h 10760"/>
                <a:gd name="connsiteX46" fmla="*/ 4362 w 13047"/>
                <a:gd name="connsiteY46" fmla="*/ 1835 h 10760"/>
                <a:gd name="connsiteX47" fmla="*/ 4174 w 13047"/>
                <a:gd name="connsiteY47" fmla="*/ 1596 h 10760"/>
                <a:gd name="connsiteX48" fmla="*/ 4157 w 13047"/>
                <a:gd name="connsiteY48" fmla="*/ 1359 h 10760"/>
                <a:gd name="connsiteX49" fmla="*/ 4205 w 13047"/>
                <a:gd name="connsiteY49" fmla="*/ 1009 h 10760"/>
                <a:gd name="connsiteX50" fmla="*/ 3939 w 13047"/>
                <a:gd name="connsiteY50" fmla="*/ 1059 h 10760"/>
                <a:gd name="connsiteX51" fmla="*/ 3893 w 13047"/>
                <a:gd name="connsiteY51" fmla="*/ 879 h 10760"/>
                <a:gd name="connsiteX52" fmla="*/ 4008 w 13047"/>
                <a:gd name="connsiteY52" fmla="*/ 580 h 10760"/>
                <a:gd name="connsiteX53" fmla="*/ 3906 w 13047"/>
                <a:gd name="connsiteY53" fmla="*/ 0 h 10760"/>
                <a:gd name="connsiteX54" fmla="*/ 5204 w 13047"/>
                <a:gd name="connsiteY54" fmla="*/ 195 h 10760"/>
                <a:gd name="connsiteX55" fmla="*/ 6240 w 13047"/>
                <a:gd name="connsiteY55" fmla="*/ 1088 h 10760"/>
                <a:gd name="connsiteX56" fmla="*/ 6500 w 13047"/>
                <a:gd name="connsiteY56" fmla="*/ 1091 h 10760"/>
                <a:gd name="connsiteX57" fmla="*/ 6566 w 13047"/>
                <a:gd name="connsiteY57" fmla="*/ 1196 h 10760"/>
                <a:gd name="connsiteX58" fmla="*/ 6782 w 13047"/>
                <a:gd name="connsiteY58" fmla="*/ 1300 h 10760"/>
                <a:gd name="connsiteX59" fmla="*/ 7223 w 13047"/>
                <a:gd name="connsiteY59" fmla="*/ 1256 h 10760"/>
                <a:gd name="connsiteX60" fmla="*/ 7273 w 13047"/>
                <a:gd name="connsiteY60" fmla="*/ 1745 h 10760"/>
                <a:gd name="connsiteX61" fmla="*/ 7554 w 13047"/>
                <a:gd name="connsiteY61" fmla="*/ 1596 h 10760"/>
                <a:gd name="connsiteX62" fmla="*/ 8069 w 13047"/>
                <a:gd name="connsiteY62" fmla="*/ 1755 h 10760"/>
                <a:gd name="connsiteX63" fmla="*/ 8806 w 13047"/>
                <a:gd name="connsiteY63" fmla="*/ 1218 h 10760"/>
                <a:gd name="connsiteX64" fmla="*/ 9230 w 13047"/>
                <a:gd name="connsiteY64" fmla="*/ 983 h 10760"/>
                <a:gd name="connsiteX65" fmla="*/ 10248 w 13047"/>
                <a:gd name="connsiteY65" fmla="*/ 1065 h 10760"/>
                <a:gd name="connsiteX66" fmla="*/ 10625 w 13047"/>
                <a:gd name="connsiteY66" fmla="*/ 1177 h 10760"/>
                <a:gd name="connsiteX67" fmla="*/ 10951 w 13047"/>
                <a:gd name="connsiteY67" fmla="*/ 721 h 10760"/>
                <a:gd name="connsiteX68" fmla="*/ 11233 w 13047"/>
                <a:gd name="connsiteY68" fmla="*/ 1213 h 10760"/>
                <a:gd name="connsiteX69" fmla="*/ 10845 w 13047"/>
                <a:gd name="connsiteY69" fmla="*/ 1544 h 10760"/>
                <a:gd name="connsiteX70" fmla="*/ 11465 w 13047"/>
                <a:gd name="connsiteY70" fmla="*/ 1477 h 10760"/>
                <a:gd name="connsiteX71" fmla="*/ 12043 w 13047"/>
                <a:gd name="connsiteY71" fmla="*/ 1744 h 10760"/>
                <a:gd name="connsiteX72" fmla="*/ 12498 w 13047"/>
                <a:gd name="connsiteY72" fmla="*/ 4405 h 10760"/>
                <a:gd name="connsiteX73" fmla="*/ 13046 w 13047"/>
                <a:gd name="connsiteY73" fmla="*/ 5293 h 10760"/>
                <a:gd name="connsiteX74" fmla="*/ 12634 w 13047"/>
                <a:gd name="connsiteY74" fmla="*/ 5967 h 10760"/>
                <a:gd name="connsiteX75" fmla="*/ 11251 w 13047"/>
                <a:gd name="connsiteY75" fmla="*/ 6232 h 10760"/>
                <a:gd name="connsiteX76" fmla="*/ 10035 w 13047"/>
                <a:gd name="connsiteY76" fmla="*/ 6788 h 10760"/>
                <a:gd name="connsiteX77" fmla="*/ 9398 w 13047"/>
                <a:gd name="connsiteY77" fmla="*/ 6901 h 10760"/>
                <a:gd name="connsiteX78" fmla="*/ 8869 w 13047"/>
                <a:gd name="connsiteY78" fmla="*/ 7088 h 10760"/>
                <a:gd name="connsiteX79" fmla="*/ 9432 w 13047"/>
                <a:gd name="connsiteY79" fmla="*/ 7238 h 10760"/>
                <a:gd name="connsiteX80" fmla="*/ 9902 w 13047"/>
                <a:gd name="connsiteY80" fmla="*/ 7626 h 10760"/>
                <a:gd name="connsiteX81" fmla="*/ 10277 w 13047"/>
                <a:gd name="connsiteY81" fmla="*/ 8372 h 10760"/>
                <a:gd name="connsiteX82" fmla="*/ 10653 w 13047"/>
                <a:gd name="connsiteY82" fmla="*/ 8342 h 10760"/>
                <a:gd name="connsiteX83" fmla="*/ 11639 w 13047"/>
                <a:gd name="connsiteY83" fmla="*/ 9088 h 10760"/>
                <a:gd name="connsiteX84" fmla="*/ 10465 w 13047"/>
                <a:gd name="connsiteY84" fmla="*/ 9894 h 10760"/>
                <a:gd name="connsiteX85" fmla="*/ 10935 w 13047"/>
                <a:gd name="connsiteY85" fmla="*/ 10491 h 10760"/>
                <a:gd name="connsiteX86" fmla="*/ 10747 w 13047"/>
                <a:gd name="connsiteY86" fmla="*/ 10730 h 10760"/>
                <a:gd name="connsiteX87" fmla="*/ 10465 w 13047"/>
                <a:gd name="connsiteY87" fmla="*/ 10491 h 10760"/>
                <a:gd name="connsiteX88" fmla="*/ 8587 w 13047"/>
                <a:gd name="connsiteY88" fmla="*/ 10461 h 10760"/>
                <a:gd name="connsiteX89" fmla="*/ 8259 w 13047"/>
                <a:gd name="connsiteY89" fmla="*/ 10760 h 10760"/>
                <a:gd name="connsiteX90" fmla="*/ 7695 w 13047"/>
                <a:gd name="connsiteY90"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3752 w 13047"/>
                <a:gd name="connsiteY15" fmla="*/ 6521 h 10760"/>
                <a:gd name="connsiteX16" fmla="*/ 4080 w 13047"/>
                <a:gd name="connsiteY16" fmla="*/ 6372 h 10760"/>
                <a:gd name="connsiteX17" fmla="*/ 4550 w 13047"/>
                <a:gd name="connsiteY17" fmla="*/ 5984 h 10760"/>
                <a:gd name="connsiteX18" fmla="*/ 2519 w 13047"/>
                <a:gd name="connsiteY18" fmla="*/ 8079 h 10760"/>
                <a:gd name="connsiteX19" fmla="*/ 747 w 13047"/>
                <a:gd name="connsiteY19" fmla="*/ 8018 h 10760"/>
                <a:gd name="connsiteX20" fmla="*/ 596 w 13047"/>
                <a:gd name="connsiteY20" fmla="*/ 7611 h 10760"/>
                <a:gd name="connsiteX21" fmla="*/ 0 w 13047"/>
                <a:gd name="connsiteY21" fmla="*/ 6872 h 10760"/>
                <a:gd name="connsiteX22" fmla="*/ 256 w 13047"/>
                <a:gd name="connsiteY22" fmla="*/ 6827 h 10760"/>
                <a:gd name="connsiteX23" fmla="*/ 765 w 13047"/>
                <a:gd name="connsiteY23" fmla="*/ 6422 h 10760"/>
                <a:gd name="connsiteX24" fmla="*/ 581 w 13047"/>
                <a:gd name="connsiteY24" fmla="*/ 6205 h 10760"/>
                <a:gd name="connsiteX25" fmla="*/ 344 w 13047"/>
                <a:gd name="connsiteY25" fmla="*/ 6058 h 10760"/>
                <a:gd name="connsiteX26" fmla="*/ 301 w 13047"/>
                <a:gd name="connsiteY26" fmla="*/ 5674 h 10760"/>
                <a:gd name="connsiteX27" fmla="*/ 304 w 13047"/>
                <a:gd name="connsiteY27" fmla="*/ 5040 h 10760"/>
                <a:gd name="connsiteX28" fmla="*/ 440 w 13047"/>
                <a:gd name="connsiteY28" fmla="*/ 4655 h 10760"/>
                <a:gd name="connsiteX29" fmla="*/ 1351 w 13047"/>
                <a:gd name="connsiteY29" fmla="*/ 4121 h 10760"/>
                <a:gd name="connsiteX30" fmla="*/ 1742 w 13047"/>
                <a:gd name="connsiteY30" fmla="*/ 3784 h 10760"/>
                <a:gd name="connsiteX31" fmla="*/ 1407 w 13047"/>
                <a:gd name="connsiteY31" fmla="*/ 3358 h 10760"/>
                <a:gd name="connsiteX32" fmla="*/ 1808 w 13047"/>
                <a:gd name="connsiteY32" fmla="*/ 2950 h 10760"/>
                <a:gd name="connsiteX33" fmla="*/ 1827 w 13047"/>
                <a:gd name="connsiteY33" fmla="*/ 2820 h 10760"/>
                <a:gd name="connsiteX34" fmla="*/ 1639 w 13047"/>
                <a:gd name="connsiteY34" fmla="*/ 2790 h 10760"/>
                <a:gd name="connsiteX35" fmla="*/ 1997 w 13047"/>
                <a:gd name="connsiteY35" fmla="*/ 1986 h 10760"/>
                <a:gd name="connsiteX36" fmla="*/ 2646 w 13047"/>
                <a:gd name="connsiteY36" fmla="*/ 1999 h 10760"/>
                <a:gd name="connsiteX37" fmla="*/ 3423 w 13047"/>
                <a:gd name="connsiteY37" fmla="*/ 2461 h 10760"/>
                <a:gd name="connsiteX38" fmla="*/ 2347 w 13047"/>
                <a:gd name="connsiteY38" fmla="*/ 2015 h 10760"/>
                <a:gd name="connsiteX39" fmla="*/ 2658 w 13047"/>
                <a:gd name="connsiteY39" fmla="*/ 2021 h 10760"/>
                <a:gd name="connsiteX40" fmla="*/ 2820 w 13047"/>
                <a:gd name="connsiteY40" fmla="*/ 2083 h 10760"/>
                <a:gd name="connsiteX41" fmla="*/ 3295 w 13047"/>
                <a:gd name="connsiteY41" fmla="*/ 2449 h 10760"/>
                <a:gd name="connsiteX42" fmla="*/ 3493 w 13047"/>
                <a:gd name="connsiteY42" fmla="*/ 2178 h 10760"/>
                <a:gd name="connsiteX43" fmla="*/ 3819 w 13047"/>
                <a:gd name="connsiteY43" fmla="*/ 1886 h 10760"/>
                <a:gd name="connsiteX44" fmla="*/ 3944 w 13047"/>
                <a:gd name="connsiteY44" fmla="*/ 1793 h 10760"/>
                <a:gd name="connsiteX45" fmla="*/ 4644 w 13047"/>
                <a:gd name="connsiteY45" fmla="*/ 1805 h 10760"/>
                <a:gd name="connsiteX46" fmla="*/ 4362 w 13047"/>
                <a:gd name="connsiteY46" fmla="*/ 1835 h 10760"/>
                <a:gd name="connsiteX47" fmla="*/ 4174 w 13047"/>
                <a:gd name="connsiteY47" fmla="*/ 1596 h 10760"/>
                <a:gd name="connsiteX48" fmla="*/ 4157 w 13047"/>
                <a:gd name="connsiteY48" fmla="*/ 1359 h 10760"/>
                <a:gd name="connsiteX49" fmla="*/ 4205 w 13047"/>
                <a:gd name="connsiteY49" fmla="*/ 1009 h 10760"/>
                <a:gd name="connsiteX50" fmla="*/ 3939 w 13047"/>
                <a:gd name="connsiteY50" fmla="*/ 1059 h 10760"/>
                <a:gd name="connsiteX51" fmla="*/ 3893 w 13047"/>
                <a:gd name="connsiteY51" fmla="*/ 879 h 10760"/>
                <a:gd name="connsiteX52" fmla="*/ 4008 w 13047"/>
                <a:gd name="connsiteY52" fmla="*/ 580 h 10760"/>
                <a:gd name="connsiteX53" fmla="*/ 3906 w 13047"/>
                <a:gd name="connsiteY53" fmla="*/ 0 h 10760"/>
                <a:gd name="connsiteX54" fmla="*/ 5204 w 13047"/>
                <a:gd name="connsiteY54" fmla="*/ 195 h 10760"/>
                <a:gd name="connsiteX55" fmla="*/ 6240 w 13047"/>
                <a:gd name="connsiteY55" fmla="*/ 1088 h 10760"/>
                <a:gd name="connsiteX56" fmla="*/ 6500 w 13047"/>
                <a:gd name="connsiteY56" fmla="*/ 1091 h 10760"/>
                <a:gd name="connsiteX57" fmla="*/ 6566 w 13047"/>
                <a:gd name="connsiteY57" fmla="*/ 1196 h 10760"/>
                <a:gd name="connsiteX58" fmla="*/ 6782 w 13047"/>
                <a:gd name="connsiteY58" fmla="*/ 1300 h 10760"/>
                <a:gd name="connsiteX59" fmla="*/ 7223 w 13047"/>
                <a:gd name="connsiteY59" fmla="*/ 1256 h 10760"/>
                <a:gd name="connsiteX60" fmla="*/ 7273 w 13047"/>
                <a:gd name="connsiteY60" fmla="*/ 1745 h 10760"/>
                <a:gd name="connsiteX61" fmla="*/ 7554 w 13047"/>
                <a:gd name="connsiteY61" fmla="*/ 1596 h 10760"/>
                <a:gd name="connsiteX62" fmla="*/ 8069 w 13047"/>
                <a:gd name="connsiteY62" fmla="*/ 1755 h 10760"/>
                <a:gd name="connsiteX63" fmla="*/ 8806 w 13047"/>
                <a:gd name="connsiteY63" fmla="*/ 1218 h 10760"/>
                <a:gd name="connsiteX64" fmla="*/ 9230 w 13047"/>
                <a:gd name="connsiteY64" fmla="*/ 983 h 10760"/>
                <a:gd name="connsiteX65" fmla="*/ 10248 w 13047"/>
                <a:gd name="connsiteY65" fmla="*/ 1065 h 10760"/>
                <a:gd name="connsiteX66" fmla="*/ 10625 w 13047"/>
                <a:gd name="connsiteY66" fmla="*/ 1177 h 10760"/>
                <a:gd name="connsiteX67" fmla="*/ 10951 w 13047"/>
                <a:gd name="connsiteY67" fmla="*/ 721 h 10760"/>
                <a:gd name="connsiteX68" fmla="*/ 11233 w 13047"/>
                <a:gd name="connsiteY68" fmla="*/ 1213 h 10760"/>
                <a:gd name="connsiteX69" fmla="*/ 10845 w 13047"/>
                <a:gd name="connsiteY69" fmla="*/ 1544 h 10760"/>
                <a:gd name="connsiteX70" fmla="*/ 11465 w 13047"/>
                <a:gd name="connsiteY70" fmla="*/ 1477 h 10760"/>
                <a:gd name="connsiteX71" fmla="*/ 12043 w 13047"/>
                <a:gd name="connsiteY71" fmla="*/ 1744 h 10760"/>
                <a:gd name="connsiteX72" fmla="*/ 12498 w 13047"/>
                <a:gd name="connsiteY72" fmla="*/ 4405 h 10760"/>
                <a:gd name="connsiteX73" fmla="*/ 13046 w 13047"/>
                <a:gd name="connsiteY73" fmla="*/ 5293 h 10760"/>
                <a:gd name="connsiteX74" fmla="*/ 12634 w 13047"/>
                <a:gd name="connsiteY74" fmla="*/ 5967 h 10760"/>
                <a:gd name="connsiteX75" fmla="*/ 11251 w 13047"/>
                <a:gd name="connsiteY75" fmla="*/ 6232 h 10760"/>
                <a:gd name="connsiteX76" fmla="*/ 10035 w 13047"/>
                <a:gd name="connsiteY76" fmla="*/ 6788 h 10760"/>
                <a:gd name="connsiteX77" fmla="*/ 9398 w 13047"/>
                <a:gd name="connsiteY77" fmla="*/ 6901 h 10760"/>
                <a:gd name="connsiteX78" fmla="*/ 8869 w 13047"/>
                <a:gd name="connsiteY78" fmla="*/ 7088 h 10760"/>
                <a:gd name="connsiteX79" fmla="*/ 9432 w 13047"/>
                <a:gd name="connsiteY79" fmla="*/ 7238 h 10760"/>
                <a:gd name="connsiteX80" fmla="*/ 9902 w 13047"/>
                <a:gd name="connsiteY80" fmla="*/ 7626 h 10760"/>
                <a:gd name="connsiteX81" fmla="*/ 10277 w 13047"/>
                <a:gd name="connsiteY81" fmla="*/ 8372 h 10760"/>
                <a:gd name="connsiteX82" fmla="*/ 10653 w 13047"/>
                <a:gd name="connsiteY82" fmla="*/ 8342 h 10760"/>
                <a:gd name="connsiteX83" fmla="*/ 11639 w 13047"/>
                <a:gd name="connsiteY83" fmla="*/ 9088 h 10760"/>
                <a:gd name="connsiteX84" fmla="*/ 10465 w 13047"/>
                <a:gd name="connsiteY84" fmla="*/ 9894 h 10760"/>
                <a:gd name="connsiteX85" fmla="*/ 10935 w 13047"/>
                <a:gd name="connsiteY85" fmla="*/ 10491 h 10760"/>
                <a:gd name="connsiteX86" fmla="*/ 10747 w 13047"/>
                <a:gd name="connsiteY86" fmla="*/ 10730 h 10760"/>
                <a:gd name="connsiteX87" fmla="*/ 10465 w 13047"/>
                <a:gd name="connsiteY87" fmla="*/ 10491 h 10760"/>
                <a:gd name="connsiteX88" fmla="*/ 8587 w 13047"/>
                <a:gd name="connsiteY88" fmla="*/ 10461 h 10760"/>
                <a:gd name="connsiteX89" fmla="*/ 8259 w 13047"/>
                <a:gd name="connsiteY89" fmla="*/ 10760 h 10760"/>
                <a:gd name="connsiteX90" fmla="*/ 7695 w 13047"/>
                <a:gd name="connsiteY90"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3752 w 13047"/>
                <a:gd name="connsiteY15" fmla="*/ 6521 h 10760"/>
                <a:gd name="connsiteX16" fmla="*/ 4517 w 13047"/>
                <a:gd name="connsiteY16" fmla="*/ 8998 h 10760"/>
                <a:gd name="connsiteX17" fmla="*/ 4550 w 13047"/>
                <a:gd name="connsiteY17" fmla="*/ 5984 h 10760"/>
                <a:gd name="connsiteX18" fmla="*/ 2519 w 13047"/>
                <a:gd name="connsiteY18" fmla="*/ 8079 h 10760"/>
                <a:gd name="connsiteX19" fmla="*/ 747 w 13047"/>
                <a:gd name="connsiteY19" fmla="*/ 8018 h 10760"/>
                <a:gd name="connsiteX20" fmla="*/ 596 w 13047"/>
                <a:gd name="connsiteY20" fmla="*/ 7611 h 10760"/>
                <a:gd name="connsiteX21" fmla="*/ 0 w 13047"/>
                <a:gd name="connsiteY21" fmla="*/ 6872 h 10760"/>
                <a:gd name="connsiteX22" fmla="*/ 256 w 13047"/>
                <a:gd name="connsiteY22" fmla="*/ 6827 h 10760"/>
                <a:gd name="connsiteX23" fmla="*/ 765 w 13047"/>
                <a:gd name="connsiteY23" fmla="*/ 6422 h 10760"/>
                <a:gd name="connsiteX24" fmla="*/ 581 w 13047"/>
                <a:gd name="connsiteY24" fmla="*/ 6205 h 10760"/>
                <a:gd name="connsiteX25" fmla="*/ 344 w 13047"/>
                <a:gd name="connsiteY25" fmla="*/ 6058 h 10760"/>
                <a:gd name="connsiteX26" fmla="*/ 301 w 13047"/>
                <a:gd name="connsiteY26" fmla="*/ 5674 h 10760"/>
                <a:gd name="connsiteX27" fmla="*/ 304 w 13047"/>
                <a:gd name="connsiteY27" fmla="*/ 5040 h 10760"/>
                <a:gd name="connsiteX28" fmla="*/ 440 w 13047"/>
                <a:gd name="connsiteY28" fmla="*/ 4655 h 10760"/>
                <a:gd name="connsiteX29" fmla="*/ 1351 w 13047"/>
                <a:gd name="connsiteY29" fmla="*/ 4121 h 10760"/>
                <a:gd name="connsiteX30" fmla="*/ 1742 w 13047"/>
                <a:gd name="connsiteY30" fmla="*/ 3784 h 10760"/>
                <a:gd name="connsiteX31" fmla="*/ 1407 w 13047"/>
                <a:gd name="connsiteY31" fmla="*/ 3358 h 10760"/>
                <a:gd name="connsiteX32" fmla="*/ 1808 w 13047"/>
                <a:gd name="connsiteY32" fmla="*/ 2950 h 10760"/>
                <a:gd name="connsiteX33" fmla="*/ 1827 w 13047"/>
                <a:gd name="connsiteY33" fmla="*/ 2820 h 10760"/>
                <a:gd name="connsiteX34" fmla="*/ 1639 w 13047"/>
                <a:gd name="connsiteY34" fmla="*/ 2790 h 10760"/>
                <a:gd name="connsiteX35" fmla="*/ 1997 w 13047"/>
                <a:gd name="connsiteY35" fmla="*/ 1986 h 10760"/>
                <a:gd name="connsiteX36" fmla="*/ 2646 w 13047"/>
                <a:gd name="connsiteY36" fmla="*/ 1999 h 10760"/>
                <a:gd name="connsiteX37" fmla="*/ 3423 w 13047"/>
                <a:gd name="connsiteY37" fmla="*/ 2461 h 10760"/>
                <a:gd name="connsiteX38" fmla="*/ 2347 w 13047"/>
                <a:gd name="connsiteY38" fmla="*/ 2015 h 10760"/>
                <a:gd name="connsiteX39" fmla="*/ 2658 w 13047"/>
                <a:gd name="connsiteY39" fmla="*/ 2021 h 10760"/>
                <a:gd name="connsiteX40" fmla="*/ 2820 w 13047"/>
                <a:gd name="connsiteY40" fmla="*/ 2083 h 10760"/>
                <a:gd name="connsiteX41" fmla="*/ 3295 w 13047"/>
                <a:gd name="connsiteY41" fmla="*/ 2449 h 10760"/>
                <a:gd name="connsiteX42" fmla="*/ 3493 w 13047"/>
                <a:gd name="connsiteY42" fmla="*/ 2178 h 10760"/>
                <a:gd name="connsiteX43" fmla="*/ 3819 w 13047"/>
                <a:gd name="connsiteY43" fmla="*/ 1886 h 10760"/>
                <a:gd name="connsiteX44" fmla="*/ 3944 w 13047"/>
                <a:gd name="connsiteY44" fmla="*/ 1793 h 10760"/>
                <a:gd name="connsiteX45" fmla="*/ 4644 w 13047"/>
                <a:gd name="connsiteY45" fmla="*/ 1805 h 10760"/>
                <a:gd name="connsiteX46" fmla="*/ 4362 w 13047"/>
                <a:gd name="connsiteY46" fmla="*/ 1835 h 10760"/>
                <a:gd name="connsiteX47" fmla="*/ 4174 w 13047"/>
                <a:gd name="connsiteY47" fmla="*/ 1596 h 10760"/>
                <a:gd name="connsiteX48" fmla="*/ 4157 w 13047"/>
                <a:gd name="connsiteY48" fmla="*/ 1359 h 10760"/>
                <a:gd name="connsiteX49" fmla="*/ 4205 w 13047"/>
                <a:gd name="connsiteY49" fmla="*/ 1009 h 10760"/>
                <a:gd name="connsiteX50" fmla="*/ 3939 w 13047"/>
                <a:gd name="connsiteY50" fmla="*/ 1059 h 10760"/>
                <a:gd name="connsiteX51" fmla="*/ 3893 w 13047"/>
                <a:gd name="connsiteY51" fmla="*/ 879 h 10760"/>
                <a:gd name="connsiteX52" fmla="*/ 4008 w 13047"/>
                <a:gd name="connsiteY52" fmla="*/ 580 h 10760"/>
                <a:gd name="connsiteX53" fmla="*/ 3906 w 13047"/>
                <a:gd name="connsiteY53" fmla="*/ 0 h 10760"/>
                <a:gd name="connsiteX54" fmla="*/ 5204 w 13047"/>
                <a:gd name="connsiteY54" fmla="*/ 195 h 10760"/>
                <a:gd name="connsiteX55" fmla="*/ 6240 w 13047"/>
                <a:gd name="connsiteY55" fmla="*/ 1088 h 10760"/>
                <a:gd name="connsiteX56" fmla="*/ 6500 w 13047"/>
                <a:gd name="connsiteY56" fmla="*/ 1091 h 10760"/>
                <a:gd name="connsiteX57" fmla="*/ 6566 w 13047"/>
                <a:gd name="connsiteY57" fmla="*/ 1196 h 10760"/>
                <a:gd name="connsiteX58" fmla="*/ 6782 w 13047"/>
                <a:gd name="connsiteY58" fmla="*/ 1300 h 10760"/>
                <a:gd name="connsiteX59" fmla="*/ 7223 w 13047"/>
                <a:gd name="connsiteY59" fmla="*/ 1256 h 10760"/>
                <a:gd name="connsiteX60" fmla="*/ 7273 w 13047"/>
                <a:gd name="connsiteY60" fmla="*/ 1745 h 10760"/>
                <a:gd name="connsiteX61" fmla="*/ 7554 w 13047"/>
                <a:gd name="connsiteY61" fmla="*/ 1596 h 10760"/>
                <a:gd name="connsiteX62" fmla="*/ 8069 w 13047"/>
                <a:gd name="connsiteY62" fmla="*/ 1755 h 10760"/>
                <a:gd name="connsiteX63" fmla="*/ 8806 w 13047"/>
                <a:gd name="connsiteY63" fmla="*/ 1218 h 10760"/>
                <a:gd name="connsiteX64" fmla="*/ 9230 w 13047"/>
                <a:gd name="connsiteY64" fmla="*/ 983 h 10760"/>
                <a:gd name="connsiteX65" fmla="*/ 10248 w 13047"/>
                <a:gd name="connsiteY65" fmla="*/ 1065 h 10760"/>
                <a:gd name="connsiteX66" fmla="*/ 10625 w 13047"/>
                <a:gd name="connsiteY66" fmla="*/ 1177 h 10760"/>
                <a:gd name="connsiteX67" fmla="*/ 10951 w 13047"/>
                <a:gd name="connsiteY67" fmla="*/ 721 h 10760"/>
                <a:gd name="connsiteX68" fmla="*/ 11233 w 13047"/>
                <a:gd name="connsiteY68" fmla="*/ 1213 h 10760"/>
                <a:gd name="connsiteX69" fmla="*/ 10845 w 13047"/>
                <a:gd name="connsiteY69" fmla="*/ 1544 h 10760"/>
                <a:gd name="connsiteX70" fmla="*/ 11465 w 13047"/>
                <a:gd name="connsiteY70" fmla="*/ 1477 h 10760"/>
                <a:gd name="connsiteX71" fmla="*/ 12043 w 13047"/>
                <a:gd name="connsiteY71" fmla="*/ 1744 h 10760"/>
                <a:gd name="connsiteX72" fmla="*/ 12498 w 13047"/>
                <a:gd name="connsiteY72" fmla="*/ 4405 h 10760"/>
                <a:gd name="connsiteX73" fmla="*/ 13046 w 13047"/>
                <a:gd name="connsiteY73" fmla="*/ 5293 h 10760"/>
                <a:gd name="connsiteX74" fmla="*/ 12634 w 13047"/>
                <a:gd name="connsiteY74" fmla="*/ 5967 h 10760"/>
                <a:gd name="connsiteX75" fmla="*/ 11251 w 13047"/>
                <a:gd name="connsiteY75" fmla="*/ 6232 h 10760"/>
                <a:gd name="connsiteX76" fmla="*/ 10035 w 13047"/>
                <a:gd name="connsiteY76" fmla="*/ 6788 h 10760"/>
                <a:gd name="connsiteX77" fmla="*/ 9398 w 13047"/>
                <a:gd name="connsiteY77" fmla="*/ 6901 h 10760"/>
                <a:gd name="connsiteX78" fmla="*/ 8869 w 13047"/>
                <a:gd name="connsiteY78" fmla="*/ 7088 h 10760"/>
                <a:gd name="connsiteX79" fmla="*/ 9432 w 13047"/>
                <a:gd name="connsiteY79" fmla="*/ 7238 h 10760"/>
                <a:gd name="connsiteX80" fmla="*/ 9902 w 13047"/>
                <a:gd name="connsiteY80" fmla="*/ 7626 h 10760"/>
                <a:gd name="connsiteX81" fmla="*/ 10277 w 13047"/>
                <a:gd name="connsiteY81" fmla="*/ 8372 h 10760"/>
                <a:gd name="connsiteX82" fmla="*/ 10653 w 13047"/>
                <a:gd name="connsiteY82" fmla="*/ 8342 h 10760"/>
                <a:gd name="connsiteX83" fmla="*/ 11639 w 13047"/>
                <a:gd name="connsiteY83" fmla="*/ 9088 h 10760"/>
                <a:gd name="connsiteX84" fmla="*/ 10465 w 13047"/>
                <a:gd name="connsiteY84" fmla="*/ 9894 h 10760"/>
                <a:gd name="connsiteX85" fmla="*/ 10935 w 13047"/>
                <a:gd name="connsiteY85" fmla="*/ 10491 h 10760"/>
                <a:gd name="connsiteX86" fmla="*/ 10747 w 13047"/>
                <a:gd name="connsiteY86" fmla="*/ 10730 h 10760"/>
                <a:gd name="connsiteX87" fmla="*/ 10465 w 13047"/>
                <a:gd name="connsiteY87" fmla="*/ 10491 h 10760"/>
                <a:gd name="connsiteX88" fmla="*/ 8587 w 13047"/>
                <a:gd name="connsiteY88" fmla="*/ 10461 h 10760"/>
                <a:gd name="connsiteX89" fmla="*/ 8259 w 13047"/>
                <a:gd name="connsiteY89" fmla="*/ 10760 h 10760"/>
                <a:gd name="connsiteX90" fmla="*/ 7695 w 13047"/>
                <a:gd name="connsiteY90"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3604 w 13047"/>
                <a:gd name="connsiteY15" fmla="*/ 8650 h 10760"/>
                <a:gd name="connsiteX16" fmla="*/ 4517 w 13047"/>
                <a:gd name="connsiteY16" fmla="*/ 8998 h 10760"/>
                <a:gd name="connsiteX17" fmla="*/ 4550 w 13047"/>
                <a:gd name="connsiteY17" fmla="*/ 5984 h 10760"/>
                <a:gd name="connsiteX18" fmla="*/ 2519 w 13047"/>
                <a:gd name="connsiteY18" fmla="*/ 8079 h 10760"/>
                <a:gd name="connsiteX19" fmla="*/ 747 w 13047"/>
                <a:gd name="connsiteY19" fmla="*/ 8018 h 10760"/>
                <a:gd name="connsiteX20" fmla="*/ 596 w 13047"/>
                <a:gd name="connsiteY20" fmla="*/ 7611 h 10760"/>
                <a:gd name="connsiteX21" fmla="*/ 0 w 13047"/>
                <a:gd name="connsiteY21" fmla="*/ 6872 h 10760"/>
                <a:gd name="connsiteX22" fmla="*/ 256 w 13047"/>
                <a:gd name="connsiteY22" fmla="*/ 6827 h 10760"/>
                <a:gd name="connsiteX23" fmla="*/ 765 w 13047"/>
                <a:gd name="connsiteY23" fmla="*/ 6422 h 10760"/>
                <a:gd name="connsiteX24" fmla="*/ 581 w 13047"/>
                <a:gd name="connsiteY24" fmla="*/ 6205 h 10760"/>
                <a:gd name="connsiteX25" fmla="*/ 344 w 13047"/>
                <a:gd name="connsiteY25" fmla="*/ 6058 h 10760"/>
                <a:gd name="connsiteX26" fmla="*/ 301 w 13047"/>
                <a:gd name="connsiteY26" fmla="*/ 5674 h 10760"/>
                <a:gd name="connsiteX27" fmla="*/ 304 w 13047"/>
                <a:gd name="connsiteY27" fmla="*/ 5040 h 10760"/>
                <a:gd name="connsiteX28" fmla="*/ 440 w 13047"/>
                <a:gd name="connsiteY28" fmla="*/ 4655 h 10760"/>
                <a:gd name="connsiteX29" fmla="*/ 1351 w 13047"/>
                <a:gd name="connsiteY29" fmla="*/ 4121 h 10760"/>
                <a:gd name="connsiteX30" fmla="*/ 1742 w 13047"/>
                <a:gd name="connsiteY30" fmla="*/ 3784 h 10760"/>
                <a:gd name="connsiteX31" fmla="*/ 1407 w 13047"/>
                <a:gd name="connsiteY31" fmla="*/ 3358 h 10760"/>
                <a:gd name="connsiteX32" fmla="*/ 1808 w 13047"/>
                <a:gd name="connsiteY32" fmla="*/ 2950 h 10760"/>
                <a:gd name="connsiteX33" fmla="*/ 1827 w 13047"/>
                <a:gd name="connsiteY33" fmla="*/ 2820 h 10760"/>
                <a:gd name="connsiteX34" fmla="*/ 1639 w 13047"/>
                <a:gd name="connsiteY34" fmla="*/ 2790 h 10760"/>
                <a:gd name="connsiteX35" fmla="*/ 1997 w 13047"/>
                <a:gd name="connsiteY35" fmla="*/ 1986 h 10760"/>
                <a:gd name="connsiteX36" fmla="*/ 2646 w 13047"/>
                <a:gd name="connsiteY36" fmla="*/ 1999 h 10760"/>
                <a:gd name="connsiteX37" fmla="*/ 3423 w 13047"/>
                <a:gd name="connsiteY37" fmla="*/ 2461 h 10760"/>
                <a:gd name="connsiteX38" fmla="*/ 2347 w 13047"/>
                <a:gd name="connsiteY38" fmla="*/ 2015 h 10760"/>
                <a:gd name="connsiteX39" fmla="*/ 2658 w 13047"/>
                <a:gd name="connsiteY39" fmla="*/ 2021 h 10760"/>
                <a:gd name="connsiteX40" fmla="*/ 2820 w 13047"/>
                <a:gd name="connsiteY40" fmla="*/ 2083 h 10760"/>
                <a:gd name="connsiteX41" fmla="*/ 3295 w 13047"/>
                <a:gd name="connsiteY41" fmla="*/ 2449 h 10760"/>
                <a:gd name="connsiteX42" fmla="*/ 3493 w 13047"/>
                <a:gd name="connsiteY42" fmla="*/ 2178 h 10760"/>
                <a:gd name="connsiteX43" fmla="*/ 3819 w 13047"/>
                <a:gd name="connsiteY43" fmla="*/ 1886 h 10760"/>
                <a:gd name="connsiteX44" fmla="*/ 3944 w 13047"/>
                <a:gd name="connsiteY44" fmla="*/ 1793 h 10760"/>
                <a:gd name="connsiteX45" fmla="*/ 4644 w 13047"/>
                <a:gd name="connsiteY45" fmla="*/ 1805 h 10760"/>
                <a:gd name="connsiteX46" fmla="*/ 4362 w 13047"/>
                <a:gd name="connsiteY46" fmla="*/ 1835 h 10760"/>
                <a:gd name="connsiteX47" fmla="*/ 4174 w 13047"/>
                <a:gd name="connsiteY47" fmla="*/ 1596 h 10760"/>
                <a:gd name="connsiteX48" fmla="*/ 4157 w 13047"/>
                <a:gd name="connsiteY48" fmla="*/ 1359 h 10760"/>
                <a:gd name="connsiteX49" fmla="*/ 4205 w 13047"/>
                <a:gd name="connsiteY49" fmla="*/ 1009 h 10760"/>
                <a:gd name="connsiteX50" fmla="*/ 3939 w 13047"/>
                <a:gd name="connsiteY50" fmla="*/ 1059 h 10760"/>
                <a:gd name="connsiteX51" fmla="*/ 3893 w 13047"/>
                <a:gd name="connsiteY51" fmla="*/ 879 h 10760"/>
                <a:gd name="connsiteX52" fmla="*/ 4008 w 13047"/>
                <a:gd name="connsiteY52" fmla="*/ 580 h 10760"/>
                <a:gd name="connsiteX53" fmla="*/ 3906 w 13047"/>
                <a:gd name="connsiteY53" fmla="*/ 0 h 10760"/>
                <a:gd name="connsiteX54" fmla="*/ 5204 w 13047"/>
                <a:gd name="connsiteY54" fmla="*/ 195 h 10760"/>
                <a:gd name="connsiteX55" fmla="*/ 6240 w 13047"/>
                <a:gd name="connsiteY55" fmla="*/ 1088 h 10760"/>
                <a:gd name="connsiteX56" fmla="*/ 6500 w 13047"/>
                <a:gd name="connsiteY56" fmla="*/ 1091 h 10760"/>
                <a:gd name="connsiteX57" fmla="*/ 6566 w 13047"/>
                <a:gd name="connsiteY57" fmla="*/ 1196 h 10760"/>
                <a:gd name="connsiteX58" fmla="*/ 6782 w 13047"/>
                <a:gd name="connsiteY58" fmla="*/ 1300 h 10760"/>
                <a:gd name="connsiteX59" fmla="*/ 7223 w 13047"/>
                <a:gd name="connsiteY59" fmla="*/ 1256 h 10760"/>
                <a:gd name="connsiteX60" fmla="*/ 7273 w 13047"/>
                <a:gd name="connsiteY60" fmla="*/ 1745 h 10760"/>
                <a:gd name="connsiteX61" fmla="*/ 7554 w 13047"/>
                <a:gd name="connsiteY61" fmla="*/ 1596 h 10760"/>
                <a:gd name="connsiteX62" fmla="*/ 8069 w 13047"/>
                <a:gd name="connsiteY62" fmla="*/ 1755 h 10760"/>
                <a:gd name="connsiteX63" fmla="*/ 8806 w 13047"/>
                <a:gd name="connsiteY63" fmla="*/ 1218 h 10760"/>
                <a:gd name="connsiteX64" fmla="*/ 9230 w 13047"/>
                <a:gd name="connsiteY64" fmla="*/ 983 h 10760"/>
                <a:gd name="connsiteX65" fmla="*/ 10248 w 13047"/>
                <a:gd name="connsiteY65" fmla="*/ 1065 h 10760"/>
                <a:gd name="connsiteX66" fmla="*/ 10625 w 13047"/>
                <a:gd name="connsiteY66" fmla="*/ 1177 h 10760"/>
                <a:gd name="connsiteX67" fmla="*/ 10951 w 13047"/>
                <a:gd name="connsiteY67" fmla="*/ 721 h 10760"/>
                <a:gd name="connsiteX68" fmla="*/ 11233 w 13047"/>
                <a:gd name="connsiteY68" fmla="*/ 1213 h 10760"/>
                <a:gd name="connsiteX69" fmla="*/ 10845 w 13047"/>
                <a:gd name="connsiteY69" fmla="*/ 1544 h 10760"/>
                <a:gd name="connsiteX70" fmla="*/ 11465 w 13047"/>
                <a:gd name="connsiteY70" fmla="*/ 1477 h 10760"/>
                <a:gd name="connsiteX71" fmla="*/ 12043 w 13047"/>
                <a:gd name="connsiteY71" fmla="*/ 1744 h 10760"/>
                <a:gd name="connsiteX72" fmla="*/ 12498 w 13047"/>
                <a:gd name="connsiteY72" fmla="*/ 4405 h 10760"/>
                <a:gd name="connsiteX73" fmla="*/ 13046 w 13047"/>
                <a:gd name="connsiteY73" fmla="*/ 5293 h 10760"/>
                <a:gd name="connsiteX74" fmla="*/ 12634 w 13047"/>
                <a:gd name="connsiteY74" fmla="*/ 5967 h 10760"/>
                <a:gd name="connsiteX75" fmla="*/ 11251 w 13047"/>
                <a:gd name="connsiteY75" fmla="*/ 6232 h 10760"/>
                <a:gd name="connsiteX76" fmla="*/ 10035 w 13047"/>
                <a:gd name="connsiteY76" fmla="*/ 6788 h 10760"/>
                <a:gd name="connsiteX77" fmla="*/ 9398 w 13047"/>
                <a:gd name="connsiteY77" fmla="*/ 6901 h 10760"/>
                <a:gd name="connsiteX78" fmla="*/ 8869 w 13047"/>
                <a:gd name="connsiteY78" fmla="*/ 7088 h 10760"/>
                <a:gd name="connsiteX79" fmla="*/ 9432 w 13047"/>
                <a:gd name="connsiteY79" fmla="*/ 7238 h 10760"/>
                <a:gd name="connsiteX80" fmla="*/ 9902 w 13047"/>
                <a:gd name="connsiteY80" fmla="*/ 7626 h 10760"/>
                <a:gd name="connsiteX81" fmla="*/ 10277 w 13047"/>
                <a:gd name="connsiteY81" fmla="*/ 8372 h 10760"/>
                <a:gd name="connsiteX82" fmla="*/ 10653 w 13047"/>
                <a:gd name="connsiteY82" fmla="*/ 8342 h 10760"/>
                <a:gd name="connsiteX83" fmla="*/ 11639 w 13047"/>
                <a:gd name="connsiteY83" fmla="*/ 9088 h 10760"/>
                <a:gd name="connsiteX84" fmla="*/ 10465 w 13047"/>
                <a:gd name="connsiteY84" fmla="*/ 9894 h 10760"/>
                <a:gd name="connsiteX85" fmla="*/ 10935 w 13047"/>
                <a:gd name="connsiteY85" fmla="*/ 10491 h 10760"/>
                <a:gd name="connsiteX86" fmla="*/ 10747 w 13047"/>
                <a:gd name="connsiteY86" fmla="*/ 10730 h 10760"/>
                <a:gd name="connsiteX87" fmla="*/ 10465 w 13047"/>
                <a:gd name="connsiteY87" fmla="*/ 10491 h 10760"/>
                <a:gd name="connsiteX88" fmla="*/ 8587 w 13047"/>
                <a:gd name="connsiteY88" fmla="*/ 10461 h 10760"/>
                <a:gd name="connsiteX89" fmla="*/ 8259 w 13047"/>
                <a:gd name="connsiteY89" fmla="*/ 10760 h 10760"/>
                <a:gd name="connsiteX90" fmla="*/ 7695 w 13047"/>
                <a:gd name="connsiteY90"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3604 w 13047"/>
                <a:gd name="connsiteY15" fmla="*/ 8650 h 10760"/>
                <a:gd name="connsiteX16" fmla="*/ 4517 w 13047"/>
                <a:gd name="connsiteY16" fmla="*/ 8998 h 10760"/>
                <a:gd name="connsiteX17" fmla="*/ 3323 w 13047"/>
                <a:gd name="connsiteY17" fmla="*/ 8284 h 10760"/>
                <a:gd name="connsiteX18" fmla="*/ 2519 w 13047"/>
                <a:gd name="connsiteY18" fmla="*/ 8079 h 10760"/>
                <a:gd name="connsiteX19" fmla="*/ 747 w 13047"/>
                <a:gd name="connsiteY19" fmla="*/ 8018 h 10760"/>
                <a:gd name="connsiteX20" fmla="*/ 596 w 13047"/>
                <a:gd name="connsiteY20" fmla="*/ 7611 h 10760"/>
                <a:gd name="connsiteX21" fmla="*/ 0 w 13047"/>
                <a:gd name="connsiteY21" fmla="*/ 6872 h 10760"/>
                <a:gd name="connsiteX22" fmla="*/ 256 w 13047"/>
                <a:gd name="connsiteY22" fmla="*/ 6827 h 10760"/>
                <a:gd name="connsiteX23" fmla="*/ 765 w 13047"/>
                <a:gd name="connsiteY23" fmla="*/ 6422 h 10760"/>
                <a:gd name="connsiteX24" fmla="*/ 581 w 13047"/>
                <a:gd name="connsiteY24" fmla="*/ 6205 h 10760"/>
                <a:gd name="connsiteX25" fmla="*/ 344 w 13047"/>
                <a:gd name="connsiteY25" fmla="*/ 6058 h 10760"/>
                <a:gd name="connsiteX26" fmla="*/ 301 w 13047"/>
                <a:gd name="connsiteY26" fmla="*/ 5674 h 10760"/>
                <a:gd name="connsiteX27" fmla="*/ 304 w 13047"/>
                <a:gd name="connsiteY27" fmla="*/ 5040 h 10760"/>
                <a:gd name="connsiteX28" fmla="*/ 440 w 13047"/>
                <a:gd name="connsiteY28" fmla="*/ 4655 h 10760"/>
                <a:gd name="connsiteX29" fmla="*/ 1351 w 13047"/>
                <a:gd name="connsiteY29" fmla="*/ 4121 h 10760"/>
                <a:gd name="connsiteX30" fmla="*/ 1742 w 13047"/>
                <a:gd name="connsiteY30" fmla="*/ 3784 h 10760"/>
                <a:gd name="connsiteX31" fmla="*/ 1407 w 13047"/>
                <a:gd name="connsiteY31" fmla="*/ 3358 h 10760"/>
                <a:gd name="connsiteX32" fmla="*/ 1808 w 13047"/>
                <a:gd name="connsiteY32" fmla="*/ 2950 h 10760"/>
                <a:gd name="connsiteX33" fmla="*/ 1827 w 13047"/>
                <a:gd name="connsiteY33" fmla="*/ 2820 h 10760"/>
                <a:gd name="connsiteX34" fmla="*/ 1639 w 13047"/>
                <a:gd name="connsiteY34" fmla="*/ 2790 h 10760"/>
                <a:gd name="connsiteX35" fmla="*/ 1997 w 13047"/>
                <a:gd name="connsiteY35" fmla="*/ 1986 h 10760"/>
                <a:gd name="connsiteX36" fmla="*/ 2646 w 13047"/>
                <a:gd name="connsiteY36" fmla="*/ 1999 h 10760"/>
                <a:gd name="connsiteX37" fmla="*/ 3423 w 13047"/>
                <a:gd name="connsiteY37" fmla="*/ 2461 h 10760"/>
                <a:gd name="connsiteX38" fmla="*/ 2347 w 13047"/>
                <a:gd name="connsiteY38" fmla="*/ 2015 h 10760"/>
                <a:gd name="connsiteX39" fmla="*/ 2658 w 13047"/>
                <a:gd name="connsiteY39" fmla="*/ 2021 h 10760"/>
                <a:gd name="connsiteX40" fmla="*/ 2820 w 13047"/>
                <a:gd name="connsiteY40" fmla="*/ 2083 h 10760"/>
                <a:gd name="connsiteX41" fmla="*/ 3295 w 13047"/>
                <a:gd name="connsiteY41" fmla="*/ 2449 h 10760"/>
                <a:gd name="connsiteX42" fmla="*/ 3493 w 13047"/>
                <a:gd name="connsiteY42" fmla="*/ 2178 h 10760"/>
                <a:gd name="connsiteX43" fmla="*/ 3819 w 13047"/>
                <a:gd name="connsiteY43" fmla="*/ 1886 h 10760"/>
                <a:gd name="connsiteX44" fmla="*/ 3944 w 13047"/>
                <a:gd name="connsiteY44" fmla="*/ 1793 h 10760"/>
                <a:gd name="connsiteX45" fmla="*/ 4644 w 13047"/>
                <a:gd name="connsiteY45" fmla="*/ 1805 h 10760"/>
                <a:gd name="connsiteX46" fmla="*/ 4362 w 13047"/>
                <a:gd name="connsiteY46" fmla="*/ 1835 h 10760"/>
                <a:gd name="connsiteX47" fmla="*/ 4174 w 13047"/>
                <a:gd name="connsiteY47" fmla="*/ 1596 h 10760"/>
                <a:gd name="connsiteX48" fmla="*/ 4157 w 13047"/>
                <a:gd name="connsiteY48" fmla="*/ 1359 h 10760"/>
                <a:gd name="connsiteX49" fmla="*/ 4205 w 13047"/>
                <a:gd name="connsiteY49" fmla="*/ 1009 h 10760"/>
                <a:gd name="connsiteX50" fmla="*/ 3939 w 13047"/>
                <a:gd name="connsiteY50" fmla="*/ 1059 h 10760"/>
                <a:gd name="connsiteX51" fmla="*/ 3893 w 13047"/>
                <a:gd name="connsiteY51" fmla="*/ 879 h 10760"/>
                <a:gd name="connsiteX52" fmla="*/ 4008 w 13047"/>
                <a:gd name="connsiteY52" fmla="*/ 580 h 10760"/>
                <a:gd name="connsiteX53" fmla="*/ 3906 w 13047"/>
                <a:gd name="connsiteY53" fmla="*/ 0 h 10760"/>
                <a:gd name="connsiteX54" fmla="*/ 5204 w 13047"/>
                <a:gd name="connsiteY54" fmla="*/ 195 h 10760"/>
                <a:gd name="connsiteX55" fmla="*/ 6240 w 13047"/>
                <a:gd name="connsiteY55" fmla="*/ 1088 h 10760"/>
                <a:gd name="connsiteX56" fmla="*/ 6500 w 13047"/>
                <a:gd name="connsiteY56" fmla="*/ 1091 h 10760"/>
                <a:gd name="connsiteX57" fmla="*/ 6566 w 13047"/>
                <a:gd name="connsiteY57" fmla="*/ 1196 h 10760"/>
                <a:gd name="connsiteX58" fmla="*/ 6782 w 13047"/>
                <a:gd name="connsiteY58" fmla="*/ 1300 h 10760"/>
                <a:gd name="connsiteX59" fmla="*/ 7223 w 13047"/>
                <a:gd name="connsiteY59" fmla="*/ 1256 h 10760"/>
                <a:gd name="connsiteX60" fmla="*/ 7273 w 13047"/>
                <a:gd name="connsiteY60" fmla="*/ 1745 h 10760"/>
                <a:gd name="connsiteX61" fmla="*/ 7554 w 13047"/>
                <a:gd name="connsiteY61" fmla="*/ 1596 h 10760"/>
                <a:gd name="connsiteX62" fmla="*/ 8069 w 13047"/>
                <a:gd name="connsiteY62" fmla="*/ 1755 h 10760"/>
                <a:gd name="connsiteX63" fmla="*/ 8806 w 13047"/>
                <a:gd name="connsiteY63" fmla="*/ 1218 h 10760"/>
                <a:gd name="connsiteX64" fmla="*/ 9230 w 13047"/>
                <a:gd name="connsiteY64" fmla="*/ 983 h 10760"/>
                <a:gd name="connsiteX65" fmla="*/ 10248 w 13047"/>
                <a:gd name="connsiteY65" fmla="*/ 1065 h 10760"/>
                <a:gd name="connsiteX66" fmla="*/ 10625 w 13047"/>
                <a:gd name="connsiteY66" fmla="*/ 1177 h 10760"/>
                <a:gd name="connsiteX67" fmla="*/ 10951 w 13047"/>
                <a:gd name="connsiteY67" fmla="*/ 721 h 10760"/>
                <a:gd name="connsiteX68" fmla="*/ 11233 w 13047"/>
                <a:gd name="connsiteY68" fmla="*/ 1213 h 10760"/>
                <a:gd name="connsiteX69" fmla="*/ 10845 w 13047"/>
                <a:gd name="connsiteY69" fmla="*/ 1544 h 10760"/>
                <a:gd name="connsiteX70" fmla="*/ 11465 w 13047"/>
                <a:gd name="connsiteY70" fmla="*/ 1477 h 10760"/>
                <a:gd name="connsiteX71" fmla="*/ 12043 w 13047"/>
                <a:gd name="connsiteY71" fmla="*/ 1744 h 10760"/>
                <a:gd name="connsiteX72" fmla="*/ 12498 w 13047"/>
                <a:gd name="connsiteY72" fmla="*/ 4405 h 10760"/>
                <a:gd name="connsiteX73" fmla="*/ 13046 w 13047"/>
                <a:gd name="connsiteY73" fmla="*/ 5293 h 10760"/>
                <a:gd name="connsiteX74" fmla="*/ 12634 w 13047"/>
                <a:gd name="connsiteY74" fmla="*/ 5967 h 10760"/>
                <a:gd name="connsiteX75" fmla="*/ 11251 w 13047"/>
                <a:gd name="connsiteY75" fmla="*/ 6232 h 10760"/>
                <a:gd name="connsiteX76" fmla="*/ 10035 w 13047"/>
                <a:gd name="connsiteY76" fmla="*/ 6788 h 10760"/>
                <a:gd name="connsiteX77" fmla="*/ 9398 w 13047"/>
                <a:gd name="connsiteY77" fmla="*/ 6901 h 10760"/>
                <a:gd name="connsiteX78" fmla="*/ 8869 w 13047"/>
                <a:gd name="connsiteY78" fmla="*/ 7088 h 10760"/>
                <a:gd name="connsiteX79" fmla="*/ 9432 w 13047"/>
                <a:gd name="connsiteY79" fmla="*/ 7238 h 10760"/>
                <a:gd name="connsiteX80" fmla="*/ 9902 w 13047"/>
                <a:gd name="connsiteY80" fmla="*/ 7626 h 10760"/>
                <a:gd name="connsiteX81" fmla="*/ 10277 w 13047"/>
                <a:gd name="connsiteY81" fmla="*/ 8372 h 10760"/>
                <a:gd name="connsiteX82" fmla="*/ 10653 w 13047"/>
                <a:gd name="connsiteY82" fmla="*/ 8342 h 10760"/>
                <a:gd name="connsiteX83" fmla="*/ 11639 w 13047"/>
                <a:gd name="connsiteY83" fmla="*/ 9088 h 10760"/>
                <a:gd name="connsiteX84" fmla="*/ 10465 w 13047"/>
                <a:gd name="connsiteY84" fmla="*/ 9894 h 10760"/>
                <a:gd name="connsiteX85" fmla="*/ 10935 w 13047"/>
                <a:gd name="connsiteY85" fmla="*/ 10491 h 10760"/>
                <a:gd name="connsiteX86" fmla="*/ 10747 w 13047"/>
                <a:gd name="connsiteY86" fmla="*/ 10730 h 10760"/>
                <a:gd name="connsiteX87" fmla="*/ 10465 w 13047"/>
                <a:gd name="connsiteY87" fmla="*/ 10491 h 10760"/>
                <a:gd name="connsiteX88" fmla="*/ 8587 w 13047"/>
                <a:gd name="connsiteY88" fmla="*/ 10461 h 10760"/>
                <a:gd name="connsiteX89" fmla="*/ 8259 w 13047"/>
                <a:gd name="connsiteY89" fmla="*/ 10760 h 10760"/>
                <a:gd name="connsiteX90" fmla="*/ 7695 w 13047"/>
                <a:gd name="connsiteY90"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4517 w 13047"/>
                <a:gd name="connsiteY15" fmla="*/ 8998 h 10760"/>
                <a:gd name="connsiteX16" fmla="*/ 3323 w 13047"/>
                <a:gd name="connsiteY16" fmla="*/ 8284 h 10760"/>
                <a:gd name="connsiteX17" fmla="*/ 2519 w 13047"/>
                <a:gd name="connsiteY17" fmla="*/ 8079 h 10760"/>
                <a:gd name="connsiteX18" fmla="*/ 747 w 13047"/>
                <a:gd name="connsiteY18" fmla="*/ 8018 h 10760"/>
                <a:gd name="connsiteX19" fmla="*/ 596 w 13047"/>
                <a:gd name="connsiteY19" fmla="*/ 7611 h 10760"/>
                <a:gd name="connsiteX20" fmla="*/ 0 w 13047"/>
                <a:gd name="connsiteY20" fmla="*/ 6872 h 10760"/>
                <a:gd name="connsiteX21" fmla="*/ 256 w 13047"/>
                <a:gd name="connsiteY21" fmla="*/ 6827 h 10760"/>
                <a:gd name="connsiteX22" fmla="*/ 765 w 13047"/>
                <a:gd name="connsiteY22" fmla="*/ 6422 h 10760"/>
                <a:gd name="connsiteX23" fmla="*/ 581 w 13047"/>
                <a:gd name="connsiteY23" fmla="*/ 6205 h 10760"/>
                <a:gd name="connsiteX24" fmla="*/ 344 w 13047"/>
                <a:gd name="connsiteY24" fmla="*/ 6058 h 10760"/>
                <a:gd name="connsiteX25" fmla="*/ 301 w 13047"/>
                <a:gd name="connsiteY25" fmla="*/ 5674 h 10760"/>
                <a:gd name="connsiteX26" fmla="*/ 304 w 13047"/>
                <a:gd name="connsiteY26" fmla="*/ 5040 h 10760"/>
                <a:gd name="connsiteX27" fmla="*/ 440 w 13047"/>
                <a:gd name="connsiteY27" fmla="*/ 4655 h 10760"/>
                <a:gd name="connsiteX28" fmla="*/ 1351 w 13047"/>
                <a:gd name="connsiteY28" fmla="*/ 4121 h 10760"/>
                <a:gd name="connsiteX29" fmla="*/ 1742 w 13047"/>
                <a:gd name="connsiteY29" fmla="*/ 3784 h 10760"/>
                <a:gd name="connsiteX30" fmla="*/ 1407 w 13047"/>
                <a:gd name="connsiteY30" fmla="*/ 3358 h 10760"/>
                <a:gd name="connsiteX31" fmla="*/ 1808 w 13047"/>
                <a:gd name="connsiteY31" fmla="*/ 2950 h 10760"/>
                <a:gd name="connsiteX32" fmla="*/ 1827 w 13047"/>
                <a:gd name="connsiteY32" fmla="*/ 2820 h 10760"/>
                <a:gd name="connsiteX33" fmla="*/ 1639 w 13047"/>
                <a:gd name="connsiteY33" fmla="*/ 2790 h 10760"/>
                <a:gd name="connsiteX34" fmla="*/ 1997 w 13047"/>
                <a:gd name="connsiteY34" fmla="*/ 1986 h 10760"/>
                <a:gd name="connsiteX35" fmla="*/ 2646 w 13047"/>
                <a:gd name="connsiteY35" fmla="*/ 1999 h 10760"/>
                <a:gd name="connsiteX36" fmla="*/ 3423 w 13047"/>
                <a:gd name="connsiteY36" fmla="*/ 2461 h 10760"/>
                <a:gd name="connsiteX37" fmla="*/ 2347 w 13047"/>
                <a:gd name="connsiteY37" fmla="*/ 2015 h 10760"/>
                <a:gd name="connsiteX38" fmla="*/ 2658 w 13047"/>
                <a:gd name="connsiteY38" fmla="*/ 2021 h 10760"/>
                <a:gd name="connsiteX39" fmla="*/ 2820 w 13047"/>
                <a:gd name="connsiteY39" fmla="*/ 2083 h 10760"/>
                <a:gd name="connsiteX40" fmla="*/ 3295 w 13047"/>
                <a:gd name="connsiteY40" fmla="*/ 2449 h 10760"/>
                <a:gd name="connsiteX41" fmla="*/ 3493 w 13047"/>
                <a:gd name="connsiteY41" fmla="*/ 2178 h 10760"/>
                <a:gd name="connsiteX42" fmla="*/ 3819 w 13047"/>
                <a:gd name="connsiteY42" fmla="*/ 1886 h 10760"/>
                <a:gd name="connsiteX43" fmla="*/ 3944 w 13047"/>
                <a:gd name="connsiteY43" fmla="*/ 1793 h 10760"/>
                <a:gd name="connsiteX44" fmla="*/ 4644 w 13047"/>
                <a:gd name="connsiteY44" fmla="*/ 1805 h 10760"/>
                <a:gd name="connsiteX45" fmla="*/ 4362 w 13047"/>
                <a:gd name="connsiteY45" fmla="*/ 1835 h 10760"/>
                <a:gd name="connsiteX46" fmla="*/ 4174 w 13047"/>
                <a:gd name="connsiteY46" fmla="*/ 1596 h 10760"/>
                <a:gd name="connsiteX47" fmla="*/ 4157 w 13047"/>
                <a:gd name="connsiteY47" fmla="*/ 1359 h 10760"/>
                <a:gd name="connsiteX48" fmla="*/ 4205 w 13047"/>
                <a:gd name="connsiteY48" fmla="*/ 1009 h 10760"/>
                <a:gd name="connsiteX49" fmla="*/ 3939 w 13047"/>
                <a:gd name="connsiteY49" fmla="*/ 1059 h 10760"/>
                <a:gd name="connsiteX50" fmla="*/ 3893 w 13047"/>
                <a:gd name="connsiteY50" fmla="*/ 879 h 10760"/>
                <a:gd name="connsiteX51" fmla="*/ 4008 w 13047"/>
                <a:gd name="connsiteY51" fmla="*/ 580 h 10760"/>
                <a:gd name="connsiteX52" fmla="*/ 3906 w 13047"/>
                <a:gd name="connsiteY52" fmla="*/ 0 h 10760"/>
                <a:gd name="connsiteX53" fmla="*/ 5204 w 13047"/>
                <a:gd name="connsiteY53" fmla="*/ 195 h 10760"/>
                <a:gd name="connsiteX54" fmla="*/ 6240 w 13047"/>
                <a:gd name="connsiteY54" fmla="*/ 1088 h 10760"/>
                <a:gd name="connsiteX55" fmla="*/ 6500 w 13047"/>
                <a:gd name="connsiteY55" fmla="*/ 1091 h 10760"/>
                <a:gd name="connsiteX56" fmla="*/ 6566 w 13047"/>
                <a:gd name="connsiteY56" fmla="*/ 1196 h 10760"/>
                <a:gd name="connsiteX57" fmla="*/ 6782 w 13047"/>
                <a:gd name="connsiteY57" fmla="*/ 1300 h 10760"/>
                <a:gd name="connsiteX58" fmla="*/ 7223 w 13047"/>
                <a:gd name="connsiteY58" fmla="*/ 1256 h 10760"/>
                <a:gd name="connsiteX59" fmla="*/ 7273 w 13047"/>
                <a:gd name="connsiteY59" fmla="*/ 1745 h 10760"/>
                <a:gd name="connsiteX60" fmla="*/ 7554 w 13047"/>
                <a:gd name="connsiteY60" fmla="*/ 1596 h 10760"/>
                <a:gd name="connsiteX61" fmla="*/ 8069 w 13047"/>
                <a:gd name="connsiteY61" fmla="*/ 1755 h 10760"/>
                <a:gd name="connsiteX62" fmla="*/ 8806 w 13047"/>
                <a:gd name="connsiteY62" fmla="*/ 1218 h 10760"/>
                <a:gd name="connsiteX63" fmla="*/ 9230 w 13047"/>
                <a:gd name="connsiteY63" fmla="*/ 983 h 10760"/>
                <a:gd name="connsiteX64" fmla="*/ 10248 w 13047"/>
                <a:gd name="connsiteY64" fmla="*/ 1065 h 10760"/>
                <a:gd name="connsiteX65" fmla="*/ 10625 w 13047"/>
                <a:gd name="connsiteY65" fmla="*/ 1177 h 10760"/>
                <a:gd name="connsiteX66" fmla="*/ 10951 w 13047"/>
                <a:gd name="connsiteY66" fmla="*/ 721 h 10760"/>
                <a:gd name="connsiteX67" fmla="*/ 11233 w 13047"/>
                <a:gd name="connsiteY67" fmla="*/ 1213 h 10760"/>
                <a:gd name="connsiteX68" fmla="*/ 10845 w 13047"/>
                <a:gd name="connsiteY68" fmla="*/ 1544 h 10760"/>
                <a:gd name="connsiteX69" fmla="*/ 11465 w 13047"/>
                <a:gd name="connsiteY69" fmla="*/ 1477 h 10760"/>
                <a:gd name="connsiteX70" fmla="*/ 12043 w 13047"/>
                <a:gd name="connsiteY70" fmla="*/ 1744 h 10760"/>
                <a:gd name="connsiteX71" fmla="*/ 12498 w 13047"/>
                <a:gd name="connsiteY71" fmla="*/ 4405 h 10760"/>
                <a:gd name="connsiteX72" fmla="*/ 13046 w 13047"/>
                <a:gd name="connsiteY72" fmla="*/ 5293 h 10760"/>
                <a:gd name="connsiteX73" fmla="*/ 12634 w 13047"/>
                <a:gd name="connsiteY73" fmla="*/ 5967 h 10760"/>
                <a:gd name="connsiteX74" fmla="*/ 11251 w 13047"/>
                <a:gd name="connsiteY74" fmla="*/ 6232 h 10760"/>
                <a:gd name="connsiteX75" fmla="*/ 10035 w 13047"/>
                <a:gd name="connsiteY75" fmla="*/ 6788 h 10760"/>
                <a:gd name="connsiteX76" fmla="*/ 9398 w 13047"/>
                <a:gd name="connsiteY76" fmla="*/ 6901 h 10760"/>
                <a:gd name="connsiteX77" fmla="*/ 8869 w 13047"/>
                <a:gd name="connsiteY77" fmla="*/ 7088 h 10760"/>
                <a:gd name="connsiteX78" fmla="*/ 9432 w 13047"/>
                <a:gd name="connsiteY78" fmla="*/ 7238 h 10760"/>
                <a:gd name="connsiteX79" fmla="*/ 9902 w 13047"/>
                <a:gd name="connsiteY79" fmla="*/ 7626 h 10760"/>
                <a:gd name="connsiteX80" fmla="*/ 10277 w 13047"/>
                <a:gd name="connsiteY80" fmla="*/ 8372 h 10760"/>
                <a:gd name="connsiteX81" fmla="*/ 10653 w 13047"/>
                <a:gd name="connsiteY81" fmla="*/ 8342 h 10760"/>
                <a:gd name="connsiteX82" fmla="*/ 11639 w 13047"/>
                <a:gd name="connsiteY82" fmla="*/ 9088 h 10760"/>
                <a:gd name="connsiteX83" fmla="*/ 10465 w 13047"/>
                <a:gd name="connsiteY83" fmla="*/ 9894 h 10760"/>
                <a:gd name="connsiteX84" fmla="*/ 10935 w 13047"/>
                <a:gd name="connsiteY84" fmla="*/ 10491 h 10760"/>
                <a:gd name="connsiteX85" fmla="*/ 10747 w 13047"/>
                <a:gd name="connsiteY85" fmla="*/ 10730 h 10760"/>
                <a:gd name="connsiteX86" fmla="*/ 10465 w 13047"/>
                <a:gd name="connsiteY86" fmla="*/ 10491 h 10760"/>
                <a:gd name="connsiteX87" fmla="*/ 8587 w 13047"/>
                <a:gd name="connsiteY87" fmla="*/ 10461 h 10760"/>
                <a:gd name="connsiteX88" fmla="*/ 8259 w 13047"/>
                <a:gd name="connsiteY88" fmla="*/ 10760 h 10760"/>
                <a:gd name="connsiteX89" fmla="*/ 7695 w 13047"/>
                <a:gd name="connsiteY89"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3939 w 13047"/>
                <a:gd name="connsiteY14" fmla="*/ 7029 h 10760"/>
                <a:gd name="connsiteX15" fmla="*/ 3323 w 13047"/>
                <a:gd name="connsiteY15" fmla="*/ 8284 h 10760"/>
                <a:gd name="connsiteX16" fmla="*/ 2519 w 13047"/>
                <a:gd name="connsiteY16" fmla="*/ 8079 h 10760"/>
                <a:gd name="connsiteX17" fmla="*/ 747 w 13047"/>
                <a:gd name="connsiteY17" fmla="*/ 8018 h 10760"/>
                <a:gd name="connsiteX18" fmla="*/ 596 w 13047"/>
                <a:gd name="connsiteY18" fmla="*/ 7611 h 10760"/>
                <a:gd name="connsiteX19" fmla="*/ 0 w 13047"/>
                <a:gd name="connsiteY19" fmla="*/ 6872 h 10760"/>
                <a:gd name="connsiteX20" fmla="*/ 256 w 13047"/>
                <a:gd name="connsiteY20" fmla="*/ 6827 h 10760"/>
                <a:gd name="connsiteX21" fmla="*/ 765 w 13047"/>
                <a:gd name="connsiteY21" fmla="*/ 6422 h 10760"/>
                <a:gd name="connsiteX22" fmla="*/ 581 w 13047"/>
                <a:gd name="connsiteY22" fmla="*/ 6205 h 10760"/>
                <a:gd name="connsiteX23" fmla="*/ 344 w 13047"/>
                <a:gd name="connsiteY23" fmla="*/ 6058 h 10760"/>
                <a:gd name="connsiteX24" fmla="*/ 301 w 13047"/>
                <a:gd name="connsiteY24" fmla="*/ 5674 h 10760"/>
                <a:gd name="connsiteX25" fmla="*/ 304 w 13047"/>
                <a:gd name="connsiteY25" fmla="*/ 5040 h 10760"/>
                <a:gd name="connsiteX26" fmla="*/ 440 w 13047"/>
                <a:gd name="connsiteY26" fmla="*/ 4655 h 10760"/>
                <a:gd name="connsiteX27" fmla="*/ 1351 w 13047"/>
                <a:gd name="connsiteY27" fmla="*/ 4121 h 10760"/>
                <a:gd name="connsiteX28" fmla="*/ 1742 w 13047"/>
                <a:gd name="connsiteY28" fmla="*/ 3784 h 10760"/>
                <a:gd name="connsiteX29" fmla="*/ 1407 w 13047"/>
                <a:gd name="connsiteY29" fmla="*/ 3358 h 10760"/>
                <a:gd name="connsiteX30" fmla="*/ 1808 w 13047"/>
                <a:gd name="connsiteY30" fmla="*/ 2950 h 10760"/>
                <a:gd name="connsiteX31" fmla="*/ 1827 w 13047"/>
                <a:gd name="connsiteY31" fmla="*/ 2820 h 10760"/>
                <a:gd name="connsiteX32" fmla="*/ 1639 w 13047"/>
                <a:gd name="connsiteY32" fmla="*/ 2790 h 10760"/>
                <a:gd name="connsiteX33" fmla="*/ 1997 w 13047"/>
                <a:gd name="connsiteY33" fmla="*/ 1986 h 10760"/>
                <a:gd name="connsiteX34" fmla="*/ 2646 w 13047"/>
                <a:gd name="connsiteY34" fmla="*/ 1999 h 10760"/>
                <a:gd name="connsiteX35" fmla="*/ 3423 w 13047"/>
                <a:gd name="connsiteY35" fmla="*/ 2461 h 10760"/>
                <a:gd name="connsiteX36" fmla="*/ 2347 w 13047"/>
                <a:gd name="connsiteY36" fmla="*/ 2015 h 10760"/>
                <a:gd name="connsiteX37" fmla="*/ 2658 w 13047"/>
                <a:gd name="connsiteY37" fmla="*/ 2021 h 10760"/>
                <a:gd name="connsiteX38" fmla="*/ 2820 w 13047"/>
                <a:gd name="connsiteY38" fmla="*/ 2083 h 10760"/>
                <a:gd name="connsiteX39" fmla="*/ 3295 w 13047"/>
                <a:gd name="connsiteY39" fmla="*/ 2449 h 10760"/>
                <a:gd name="connsiteX40" fmla="*/ 3493 w 13047"/>
                <a:gd name="connsiteY40" fmla="*/ 2178 h 10760"/>
                <a:gd name="connsiteX41" fmla="*/ 3819 w 13047"/>
                <a:gd name="connsiteY41" fmla="*/ 1886 h 10760"/>
                <a:gd name="connsiteX42" fmla="*/ 3944 w 13047"/>
                <a:gd name="connsiteY42" fmla="*/ 1793 h 10760"/>
                <a:gd name="connsiteX43" fmla="*/ 4644 w 13047"/>
                <a:gd name="connsiteY43" fmla="*/ 1805 h 10760"/>
                <a:gd name="connsiteX44" fmla="*/ 4362 w 13047"/>
                <a:gd name="connsiteY44" fmla="*/ 1835 h 10760"/>
                <a:gd name="connsiteX45" fmla="*/ 4174 w 13047"/>
                <a:gd name="connsiteY45" fmla="*/ 1596 h 10760"/>
                <a:gd name="connsiteX46" fmla="*/ 4157 w 13047"/>
                <a:gd name="connsiteY46" fmla="*/ 1359 h 10760"/>
                <a:gd name="connsiteX47" fmla="*/ 4205 w 13047"/>
                <a:gd name="connsiteY47" fmla="*/ 1009 h 10760"/>
                <a:gd name="connsiteX48" fmla="*/ 3939 w 13047"/>
                <a:gd name="connsiteY48" fmla="*/ 1059 h 10760"/>
                <a:gd name="connsiteX49" fmla="*/ 3893 w 13047"/>
                <a:gd name="connsiteY49" fmla="*/ 879 h 10760"/>
                <a:gd name="connsiteX50" fmla="*/ 4008 w 13047"/>
                <a:gd name="connsiteY50" fmla="*/ 580 h 10760"/>
                <a:gd name="connsiteX51" fmla="*/ 3906 w 13047"/>
                <a:gd name="connsiteY51" fmla="*/ 0 h 10760"/>
                <a:gd name="connsiteX52" fmla="*/ 5204 w 13047"/>
                <a:gd name="connsiteY52" fmla="*/ 195 h 10760"/>
                <a:gd name="connsiteX53" fmla="*/ 6240 w 13047"/>
                <a:gd name="connsiteY53" fmla="*/ 1088 h 10760"/>
                <a:gd name="connsiteX54" fmla="*/ 6500 w 13047"/>
                <a:gd name="connsiteY54" fmla="*/ 1091 h 10760"/>
                <a:gd name="connsiteX55" fmla="*/ 6566 w 13047"/>
                <a:gd name="connsiteY55" fmla="*/ 1196 h 10760"/>
                <a:gd name="connsiteX56" fmla="*/ 6782 w 13047"/>
                <a:gd name="connsiteY56" fmla="*/ 1300 h 10760"/>
                <a:gd name="connsiteX57" fmla="*/ 7223 w 13047"/>
                <a:gd name="connsiteY57" fmla="*/ 1256 h 10760"/>
                <a:gd name="connsiteX58" fmla="*/ 7273 w 13047"/>
                <a:gd name="connsiteY58" fmla="*/ 1745 h 10760"/>
                <a:gd name="connsiteX59" fmla="*/ 7554 w 13047"/>
                <a:gd name="connsiteY59" fmla="*/ 1596 h 10760"/>
                <a:gd name="connsiteX60" fmla="*/ 8069 w 13047"/>
                <a:gd name="connsiteY60" fmla="*/ 1755 h 10760"/>
                <a:gd name="connsiteX61" fmla="*/ 8806 w 13047"/>
                <a:gd name="connsiteY61" fmla="*/ 1218 h 10760"/>
                <a:gd name="connsiteX62" fmla="*/ 9230 w 13047"/>
                <a:gd name="connsiteY62" fmla="*/ 983 h 10760"/>
                <a:gd name="connsiteX63" fmla="*/ 10248 w 13047"/>
                <a:gd name="connsiteY63" fmla="*/ 1065 h 10760"/>
                <a:gd name="connsiteX64" fmla="*/ 10625 w 13047"/>
                <a:gd name="connsiteY64" fmla="*/ 1177 h 10760"/>
                <a:gd name="connsiteX65" fmla="*/ 10951 w 13047"/>
                <a:gd name="connsiteY65" fmla="*/ 721 h 10760"/>
                <a:gd name="connsiteX66" fmla="*/ 11233 w 13047"/>
                <a:gd name="connsiteY66" fmla="*/ 1213 h 10760"/>
                <a:gd name="connsiteX67" fmla="*/ 10845 w 13047"/>
                <a:gd name="connsiteY67" fmla="*/ 1544 h 10760"/>
                <a:gd name="connsiteX68" fmla="*/ 11465 w 13047"/>
                <a:gd name="connsiteY68" fmla="*/ 1477 h 10760"/>
                <a:gd name="connsiteX69" fmla="*/ 12043 w 13047"/>
                <a:gd name="connsiteY69" fmla="*/ 1744 h 10760"/>
                <a:gd name="connsiteX70" fmla="*/ 12498 w 13047"/>
                <a:gd name="connsiteY70" fmla="*/ 4405 h 10760"/>
                <a:gd name="connsiteX71" fmla="*/ 13046 w 13047"/>
                <a:gd name="connsiteY71" fmla="*/ 5293 h 10760"/>
                <a:gd name="connsiteX72" fmla="*/ 12634 w 13047"/>
                <a:gd name="connsiteY72" fmla="*/ 5967 h 10760"/>
                <a:gd name="connsiteX73" fmla="*/ 11251 w 13047"/>
                <a:gd name="connsiteY73" fmla="*/ 6232 h 10760"/>
                <a:gd name="connsiteX74" fmla="*/ 10035 w 13047"/>
                <a:gd name="connsiteY74" fmla="*/ 6788 h 10760"/>
                <a:gd name="connsiteX75" fmla="*/ 9398 w 13047"/>
                <a:gd name="connsiteY75" fmla="*/ 6901 h 10760"/>
                <a:gd name="connsiteX76" fmla="*/ 8869 w 13047"/>
                <a:gd name="connsiteY76" fmla="*/ 7088 h 10760"/>
                <a:gd name="connsiteX77" fmla="*/ 9432 w 13047"/>
                <a:gd name="connsiteY77" fmla="*/ 7238 h 10760"/>
                <a:gd name="connsiteX78" fmla="*/ 9902 w 13047"/>
                <a:gd name="connsiteY78" fmla="*/ 7626 h 10760"/>
                <a:gd name="connsiteX79" fmla="*/ 10277 w 13047"/>
                <a:gd name="connsiteY79" fmla="*/ 8372 h 10760"/>
                <a:gd name="connsiteX80" fmla="*/ 10653 w 13047"/>
                <a:gd name="connsiteY80" fmla="*/ 8342 h 10760"/>
                <a:gd name="connsiteX81" fmla="*/ 11639 w 13047"/>
                <a:gd name="connsiteY81" fmla="*/ 9088 h 10760"/>
                <a:gd name="connsiteX82" fmla="*/ 10465 w 13047"/>
                <a:gd name="connsiteY82" fmla="*/ 9894 h 10760"/>
                <a:gd name="connsiteX83" fmla="*/ 10935 w 13047"/>
                <a:gd name="connsiteY83" fmla="*/ 10491 h 10760"/>
                <a:gd name="connsiteX84" fmla="*/ 10747 w 13047"/>
                <a:gd name="connsiteY84" fmla="*/ 10730 h 10760"/>
                <a:gd name="connsiteX85" fmla="*/ 10465 w 13047"/>
                <a:gd name="connsiteY85" fmla="*/ 10491 h 10760"/>
                <a:gd name="connsiteX86" fmla="*/ 8587 w 13047"/>
                <a:gd name="connsiteY86" fmla="*/ 10461 h 10760"/>
                <a:gd name="connsiteX87" fmla="*/ 8259 w 13047"/>
                <a:gd name="connsiteY87" fmla="*/ 10760 h 10760"/>
                <a:gd name="connsiteX88" fmla="*/ 7695 w 13047"/>
                <a:gd name="connsiteY88"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4268 w 13047"/>
                <a:gd name="connsiteY13" fmla="*/ 7118 h 10760"/>
                <a:gd name="connsiteX14" fmla="*/ 2292 w 13047"/>
                <a:gd name="connsiteY14" fmla="*/ 8840 h 10760"/>
                <a:gd name="connsiteX15" fmla="*/ 3323 w 13047"/>
                <a:gd name="connsiteY15" fmla="*/ 8284 h 10760"/>
                <a:gd name="connsiteX16" fmla="*/ 2519 w 13047"/>
                <a:gd name="connsiteY16" fmla="*/ 8079 h 10760"/>
                <a:gd name="connsiteX17" fmla="*/ 747 w 13047"/>
                <a:gd name="connsiteY17" fmla="*/ 8018 h 10760"/>
                <a:gd name="connsiteX18" fmla="*/ 596 w 13047"/>
                <a:gd name="connsiteY18" fmla="*/ 7611 h 10760"/>
                <a:gd name="connsiteX19" fmla="*/ 0 w 13047"/>
                <a:gd name="connsiteY19" fmla="*/ 6872 h 10760"/>
                <a:gd name="connsiteX20" fmla="*/ 256 w 13047"/>
                <a:gd name="connsiteY20" fmla="*/ 6827 h 10760"/>
                <a:gd name="connsiteX21" fmla="*/ 765 w 13047"/>
                <a:gd name="connsiteY21" fmla="*/ 6422 h 10760"/>
                <a:gd name="connsiteX22" fmla="*/ 581 w 13047"/>
                <a:gd name="connsiteY22" fmla="*/ 6205 h 10760"/>
                <a:gd name="connsiteX23" fmla="*/ 344 w 13047"/>
                <a:gd name="connsiteY23" fmla="*/ 6058 h 10760"/>
                <a:gd name="connsiteX24" fmla="*/ 301 w 13047"/>
                <a:gd name="connsiteY24" fmla="*/ 5674 h 10760"/>
                <a:gd name="connsiteX25" fmla="*/ 304 w 13047"/>
                <a:gd name="connsiteY25" fmla="*/ 5040 h 10760"/>
                <a:gd name="connsiteX26" fmla="*/ 440 w 13047"/>
                <a:gd name="connsiteY26" fmla="*/ 4655 h 10760"/>
                <a:gd name="connsiteX27" fmla="*/ 1351 w 13047"/>
                <a:gd name="connsiteY27" fmla="*/ 4121 h 10760"/>
                <a:gd name="connsiteX28" fmla="*/ 1742 w 13047"/>
                <a:gd name="connsiteY28" fmla="*/ 3784 h 10760"/>
                <a:gd name="connsiteX29" fmla="*/ 1407 w 13047"/>
                <a:gd name="connsiteY29" fmla="*/ 3358 h 10760"/>
                <a:gd name="connsiteX30" fmla="*/ 1808 w 13047"/>
                <a:gd name="connsiteY30" fmla="*/ 2950 h 10760"/>
                <a:gd name="connsiteX31" fmla="*/ 1827 w 13047"/>
                <a:gd name="connsiteY31" fmla="*/ 2820 h 10760"/>
                <a:gd name="connsiteX32" fmla="*/ 1639 w 13047"/>
                <a:gd name="connsiteY32" fmla="*/ 2790 h 10760"/>
                <a:gd name="connsiteX33" fmla="*/ 1997 w 13047"/>
                <a:gd name="connsiteY33" fmla="*/ 1986 h 10760"/>
                <a:gd name="connsiteX34" fmla="*/ 2646 w 13047"/>
                <a:gd name="connsiteY34" fmla="*/ 1999 h 10760"/>
                <a:gd name="connsiteX35" fmla="*/ 3423 w 13047"/>
                <a:gd name="connsiteY35" fmla="*/ 2461 h 10760"/>
                <a:gd name="connsiteX36" fmla="*/ 2347 w 13047"/>
                <a:gd name="connsiteY36" fmla="*/ 2015 h 10760"/>
                <a:gd name="connsiteX37" fmla="*/ 2658 w 13047"/>
                <a:gd name="connsiteY37" fmla="*/ 2021 h 10760"/>
                <a:gd name="connsiteX38" fmla="*/ 2820 w 13047"/>
                <a:gd name="connsiteY38" fmla="*/ 2083 h 10760"/>
                <a:gd name="connsiteX39" fmla="*/ 3295 w 13047"/>
                <a:gd name="connsiteY39" fmla="*/ 2449 h 10760"/>
                <a:gd name="connsiteX40" fmla="*/ 3493 w 13047"/>
                <a:gd name="connsiteY40" fmla="*/ 2178 h 10760"/>
                <a:gd name="connsiteX41" fmla="*/ 3819 w 13047"/>
                <a:gd name="connsiteY41" fmla="*/ 1886 h 10760"/>
                <a:gd name="connsiteX42" fmla="*/ 3944 w 13047"/>
                <a:gd name="connsiteY42" fmla="*/ 1793 h 10760"/>
                <a:gd name="connsiteX43" fmla="*/ 4644 w 13047"/>
                <a:gd name="connsiteY43" fmla="*/ 1805 h 10760"/>
                <a:gd name="connsiteX44" fmla="*/ 4362 w 13047"/>
                <a:gd name="connsiteY44" fmla="*/ 1835 h 10760"/>
                <a:gd name="connsiteX45" fmla="*/ 4174 w 13047"/>
                <a:gd name="connsiteY45" fmla="*/ 1596 h 10760"/>
                <a:gd name="connsiteX46" fmla="*/ 4157 w 13047"/>
                <a:gd name="connsiteY46" fmla="*/ 1359 h 10760"/>
                <a:gd name="connsiteX47" fmla="*/ 4205 w 13047"/>
                <a:gd name="connsiteY47" fmla="*/ 1009 h 10760"/>
                <a:gd name="connsiteX48" fmla="*/ 3939 w 13047"/>
                <a:gd name="connsiteY48" fmla="*/ 1059 h 10760"/>
                <a:gd name="connsiteX49" fmla="*/ 3893 w 13047"/>
                <a:gd name="connsiteY49" fmla="*/ 879 h 10760"/>
                <a:gd name="connsiteX50" fmla="*/ 4008 w 13047"/>
                <a:gd name="connsiteY50" fmla="*/ 580 h 10760"/>
                <a:gd name="connsiteX51" fmla="*/ 3906 w 13047"/>
                <a:gd name="connsiteY51" fmla="*/ 0 h 10760"/>
                <a:gd name="connsiteX52" fmla="*/ 5204 w 13047"/>
                <a:gd name="connsiteY52" fmla="*/ 195 h 10760"/>
                <a:gd name="connsiteX53" fmla="*/ 6240 w 13047"/>
                <a:gd name="connsiteY53" fmla="*/ 1088 h 10760"/>
                <a:gd name="connsiteX54" fmla="*/ 6500 w 13047"/>
                <a:gd name="connsiteY54" fmla="*/ 1091 h 10760"/>
                <a:gd name="connsiteX55" fmla="*/ 6566 w 13047"/>
                <a:gd name="connsiteY55" fmla="*/ 1196 h 10760"/>
                <a:gd name="connsiteX56" fmla="*/ 6782 w 13047"/>
                <a:gd name="connsiteY56" fmla="*/ 1300 h 10760"/>
                <a:gd name="connsiteX57" fmla="*/ 7223 w 13047"/>
                <a:gd name="connsiteY57" fmla="*/ 1256 h 10760"/>
                <a:gd name="connsiteX58" fmla="*/ 7273 w 13047"/>
                <a:gd name="connsiteY58" fmla="*/ 1745 h 10760"/>
                <a:gd name="connsiteX59" fmla="*/ 7554 w 13047"/>
                <a:gd name="connsiteY59" fmla="*/ 1596 h 10760"/>
                <a:gd name="connsiteX60" fmla="*/ 8069 w 13047"/>
                <a:gd name="connsiteY60" fmla="*/ 1755 h 10760"/>
                <a:gd name="connsiteX61" fmla="*/ 8806 w 13047"/>
                <a:gd name="connsiteY61" fmla="*/ 1218 h 10760"/>
                <a:gd name="connsiteX62" fmla="*/ 9230 w 13047"/>
                <a:gd name="connsiteY62" fmla="*/ 983 h 10760"/>
                <a:gd name="connsiteX63" fmla="*/ 10248 w 13047"/>
                <a:gd name="connsiteY63" fmla="*/ 1065 h 10760"/>
                <a:gd name="connsiteX64" fmla="*/ 10625 w 13047"/>
                <a:gd name="connsiteY64" fmla="*/ 1177 h 10760"/>
                <a:gd name="connsiteX65" fmla="*/ 10951 w 13047"/>
                <a:gd name="connsiteY65" fmla="*/ 721 h 10760"/>
                <a:gd name="connsiteX66" fmla="*/ 11233 w 13047"/>
                <a:gd name="connsiteY66" fmla="*/ 1213 h 10760"/>
                <a:gd name="connsiteX67" fmla="*/ 10845 w 13047"/>
                <a:gd name="connsiteY67" fmla="*/ 1544 h 10760"/>
                <a:gd name="connsiteX68" fmla="*/ 11465 w 13047"/>
                <a:gd name="connsiteY68" fmla="*/ 1477 h 10760"/>
                <a:gd name="connsiteX69" fmla="*/ 12043 w 13047"/>
                <a:gd name="connsiteY69" fmla="*/ 1744 h 10760"/>
                <a:gd name="connsiteX70" fmla="*/ 12498 w 13047"/>
                <a:gd name="connsiteY70" fmla="*/ 4405 h 10760"/>
                <a:gd name="connsiteX71" fmla="*/ 13046 w 13047"/>
                <a:gd name="connsiteY71" fmla="*/ 5293 h 10760"/>
                <a:gd name="connsiteX72" fmla="*/ 12634 w 13047"/>
                <a:gd name="connsiteY72" fmla="*/ 5967 h 10760"/>
                <a:gd name="connsiteX73" fmla="*/ 11251 w 13047"/>
                <a:gd name="connsiteY73" fmla="*/ 6232 h 10760"/>
                <a:gd name="connsiteX74" fmla="*/ 10035 w 13047"/>
                <a:gd name="connsiteY74" fmla="*/ 6788 h 10760"/>
                <a:gd name="connsiteX75" fmla="*/ 9398 w 13047"/>
                <a:gd name="connsiteY75" fmla="*/ 6901 h 10760"/>
                <a:gd name="connsiteX76" fmla="*/ 8869 w 13047"/>
                <a:gd name="connsiteY76" fmla="*/ 7088 h 10760"/>
                <a:gd name="connsiteX77" fmla="*/ 9432 w 13047"/>
                <a:gd name="connsiteY77" fmla="*/ 7238 h 10760"/>
                <a:gd name="connsiteX78" fmla="*/ 9902 w 13047"/>
                <a:gd name="connsiteY78" fmla="*/ 7626 h 10760"/>
                <a:gd name="connsiteX79" fmla="*/ 10277 w 13047"/>
                <a:gd name="connsiteY79" fmla="*/ 8372 h 10760"/>
                <a:gd name="connsiteX80" fmla="*/ 10653 w 13047"/>
                <a:gd name="connsiteY80" fmla="*/ 8342 h 10760"/>
                <a:gd name="connsiteX81" fmla="*/ 11639 w 13047"/>
                <a:gd name="connsiteY81" fmla="*/ 9088 h 10760"/>
                <a:gd name="connsiteX82" fmla="*/ 10465 w 13047"/>
                <a:gd name="connsiteY82" fmla="*/ 9894 h 10760"/>
                <a:gd name="connsiteX83" fmla="*/ 10935 w 13047"/>
                <a:gd name="connsiteY83" fmla="*/ 10491 h 10760"/>
                <a:gd name="connsiteX84" fmla="*/ 10747 w 13047"/>
                <a:gd name="connsiteY84" fmla="*/ 10730 h 10760"/>
                <a:gd name="connsiteX85" fmla="*/ 10465 w 13047"/>
                <a:gd name="connsiteY85" fmla="*/ 10491 h 10760"/>
                <a:gd name="connsiteX86" fmla="*/ 8587 w 13047"/>
                <a:gd name="connsiteY86" fmla="*/ 10461 h 10760"/>
                <a:gd name="connsiteX87" fmla="*/ 8259 w 13047"/>
                <a:gd name="connsiteY87" fmla="*/ 10760 h 10760"/>
                <a:gd name="connsiteX88" fmla="*/ 7695 w 13047"/>
                <a:gd name="connsiteY88"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2128 w 13047"/>
                <a:gd name="connsiteY13" fmla="*/ 9942 h 10760"/>
                <a:gd name="connsiteX14" fmla="*/ 2292 w 13047"/>
                <a:gd name="connsiteY14" fmla="*/ 8840 h 10760"/>
                <a:gd name="connsiteX15" fmla="*/ 3323 w 13047"/>
                <a:gd name="connsiteY15" fmla="*/ 8284 h 10760"/>
                <a:gd name="connsiteX16" fmla="*/ 2519 w 13047"/>
                <a:gd name="connsiteY16" fmla="*/ 8079 h 10760"/>
                <a:gd name="connsiteX17" fmla="*/ 747 w 13047"/>
                <a:gd name="connsiteY17" fmla="*/ 8018 h 10760"/>
                <a:gd name="connsiteX18" fmla="*/ 596 w 13047"/>
                <a:gd name="connsiteY18" fmla="*/ 7611 h 10760"/>
                <a:gd name="connsiteX19" fmla="*/ 0 w 13047"/>
                <a:gd name="connsiteY19" fmla="*/ 6872 h 10760"/>
                <a:gd name="connsiteX20" fmla="*/ 256 w 13047"/>
                <a:gd name="connsiteY20" fmla="*/ 6827 h 10760"/>
                <a:gd name="connsiteX21" fmla="*/ 765 w 13047"/>
                <a:gd name="connsiteY21" fmla="*/ 6422 h 10760"/>
                <a:gd name="connsiteX22" fmla="*/ 581 w 13047"/>
                <a:gd name="connsiteY22" fmla="*/ 6205 h 10760"/>
                <a:gd name="connsiteX23" fmla="*/ 344 w 13047"/>
                <a:gd name="connsiteY23" fmla="*/ 6058 h 10760"/>
                <a:gd name="connsiteX24" fmla="*/ 301 w 13047"/>
                <a:gd name="connsiteY24" fmla="*/ 5674 h 10760"/>
                <a:gd name="connsiteX25" fmla="*/ 304 w 13047"/>
                <a:gd name="connsiteY25" fmla="*/ 5040 h 10760"/>
                <a:gd name="connsiteX26" fmla="*/ 440 w 13047"/>
                <a:gd name="connsiteY26" fmla="*/ 4655 h 10760"/>
                <a:gd name="connsiteX27" fmla="*/ 1351 w 13047"/>
                <a:gd name="connsiteY27" fmla="*/ 4121 h 10760"/>
                <a:gd name="connsiteX28" fmla="*/ 1742 w 13047"/>
                <a:gd name="connsiteY28" fmla="*/ 3784 h 10760"/>
                <a:gd name="connsiteX29" fmla="*/ 1407 w 13047"/>
                <a:gd name="connsiteY29" fmla="*/ 3358 h 10760"/>
                <a:gd name="connsiteX30" fmla="*/ 1808 w 13047"/>
                <a:gd name="connsiteY30" fmla="*/ 2950 h 10760"/>
                <a:gd name="connsiteX31" fmla="*/ 1827 w 13047"/>
                <a:gd name="connsiteY31" fmla="*/ 2820 h 10760"/>
                <a:gd name="connsiteX32" fmla="*/ 1639 w 13047"/>
                <a:gd name="connsiteY32" fmla="*/ 2790 h 10760"/>
                <a:gd name="connsiteX33" fmla="*/ 1997 w 13047"/>
                <a:gd name="connsiteY33" fmla="*/ 1986 h 10760"/>
                <a:gd name="connsiteX34" fmla="*/ 2646 w 13047"/>
                <a:gd name="connsiteY34" fmla="*/ 1999 h 10760"/>
                <a:gd name="connsiteX35" fmla="*/ 3423 w 13047"/>
                <a:gd name="connsiteY35" fmla="*/ 2461 h 10760"/>
                <a:gd name="connsiteX36" fmla="*/ 2347 w 13047"/>
                <a:gd name="connsiteY36" fmla="*/ 2015 h 10760"/>
                <a:gd name="connsiteX37" fmla="*/ 2658 w 13047"/>
                <a:gd name="connsiteY37" fmla="*/ 2021 h 10760"/>
                <a:gd name="connsiteX38" fmla="*/ 2820 w 13047"/>
                <a:gd name="connsiteY38" fmla="*/ 2083 h 10760"/>
                <a:gd name="connsiteX39" fmla="*/ 3295 w 13047"/>
                <a:gd name="connsiteY39" fmla="*/ 2449 h 10760"/>
                <a:gd name="connsiteX40" fmla="*/ 3493 w 13047"/>
                <a:gd name="connsiteY40" fmla="*/ 2178 h 10760"/>
                <a:gd name="connsiteX41" fmla="*/ 3819 w 13047"/>
                <a:gd name="connsiteY41" fmla="*/ 1886 h 10760"/>
                <a:gd name="connsiteX42" fmla="*/ 3944 w 13047"/>
                <a:gd name="connsiteY42" fmla="*/ 1793 h 10760"/>
                <a:gd name="connsiteX43" fmla="*/ 4644 w 13047"/>
                <a:gd name="connsiteY43" fmla="*/ 1805 h 10760"/>
                <a:gd name="connsiteX44" fmla="*/ 4362 w 13047"/>
                <a:gd name="connsiteY44" fmla="*/ 1835 h 10760"/>
                <a:gd name="connsiteX45" fmla="*/ 4174 w 13047"/>
                <a:gd name="connsiteY45" fmla="*/ 1596 h 10760"/>
                <a:gd name="connsiteX46" fmla="*/ 4157 w 13047"/>
                <a:gd name="connsiteY46" fmla="*/ 1359 h 10760"/>
                <a:gd name="connsiteX47" fmla="*/ 4205 w 13047"/>
                <a:gd name="connsiteY47" fmla="*/ 1009 h 10760"/>
                <a:gd name="connsiteX48" fmla="*/ 3939 w 13047"/>
                <a:gd name="connsiteY48" fmla="*/ 1059 h 10760"/>
                <a:gd name="connsiteX49" fmla="*/ 3893 w 13047"/>
                <a:gd name="connsiteY49" fmla="*/ 879 h 10760"/>
                <a:gd name="connsiteX50" fmla="*/ 4008 w 13047"/>
                <a:gd name="connsiteY50" fmla="*/ 580 h 10760"/>
                <a:gd name="connsiteX51" fmla="*/ 3906 w 13047"/>
                <a:gd name="connsiteY51" fmla="*/ 0 h 10760"/>
                <a:gd name="connsiteX52" fmla="*/ 5204 w 13047"/>
                <a:gd name="connsiteY52" fmla="*/ 195 h 10760"/>
                <a:gd name="connsiteX53" fmla="*/ 6240 w 13047"/>
                <a:gd name="connsiteY53" fmla="*/ 1088 h 10760"/>
                <a:gd name="connsiteX54" fmla="*/ 6500 w 13047"/>
                <a:gd name="connsiteY54" fmla="*/ 1091 h 10760"/>
                <a:gd name="connsiteX55" fmla="*/ 6566 w 13047"/>
                <a:gd name="connsiteY55" fmla="*/ 1196 h 10760"/>
                <a:gd name="connsiteX56" fmla="*/ 6782 w 13047"/>
                <a:gd name="connsiteY56" fmla="*/ 1300 h 10760"/>
                <a:gd name="connsiteX57" fmla="*/ 7223 w 13047"/>
                <a:gd name="connsiteY57" fmla="*/ 1256 h 10760"/>
                <a:gd name="connsiteX58" fmla="*/ 7273 w 13047"/>
                <a:gd name="connsiteY58" fmla="*/ 1745 h 10760"/>
                <a:gd name="connsiteX59" fmla="*/ 7554 w 13047"/>
                <a:gd name="connsiteY59" fmla="*/ 1596 h 10760"/>
                <a:gd name="connsiteX60" fmla="*/ 8069 w 13047"/>
                <a:gd name="connsiteY60" fmla="*/ 1755 h 10760"/>
                <a:gd name="connsiteX61" fmla="*/ 8806 w 13047"/>
                <a:gd name="connsiteY61" fmla="*/ 1218 h 10760"/>
                <a:gd name="connsiteX62" fmla="*/ 9230 w 13047"/>
                <a:gd name="connsiteY62" fmla="*/ 983 h 10760"/>
                <a:gd name="connsiteX63" fmla="*/ 10248 w 13047"/>
                <a:gd name="connsiteY63" fmla="*/ 1065 h 10760"/>
                <a:gd name="connsiteX64" fmla="*/ 10625 w 13047"/>
                <a:gd name="connsiteY64" fmla="*/ 1177 h 10760"/>
                <a:gd name="connsiteX65" fmla="*/ 10951 w 13047"/>
                <a:gd name="connsiteY65" fmla="*/ 721 h 10760"/>
                <a:gd name="connsiteX66" fmla="*/ 11233 w 13047"/>
                <a:gd name="connsiteY66" fmla="*/ 1213 h 10760"/>
                <a:gd name="connsiteX67" fmla="*/ 10845 w 13047"/>
                <a:gd name="connsiteY67" fmla="*/ 1544 h 10760"/>
                <a:gd name="connsiteX68" fmla="*/ 11465 w 13047"/>
                <a:gd name="connsiteY68" fmla="*/ 1477 h 10760"/>
                <a:gd name="connsiteX69" fmla="*/ 12043 w 13047"/>
                <a:gd name="connsiteY69" fmla="*/ 1744 h 10760"/>
                <a:gd name="connsiteX70" fmla="*/ 12498 w 13047"/>
                <a:gd name="connsiteY70" fmla="*/ 4405 h 10760"/>
                <a:gd name="connsiteX71" fmla="*/ 13046 w 13047"/>
                <a:gd name="connsiteY71" fmla="*/ 5293 h 10760"/>
                <a:gd name="connsiteX72" fmla="*/ 12634 w 13047"/>
                <a:gd name="connsiteY72" fmla="*/ 5967 h 10760"/>
                <a:gd name="connsiteX73" fmla="*/ 11251 w 13047"/>
                <a:gd name="connsiteY73" fmla="*/ 6232 h 10760"/>
                <a:gd name="connsiteX74" fmla="*/ 10035 w 13047"/>
                <a:gd name="connsiteY74" fmla="*/ 6788 h 10760"/>
                <a:gd name="connsiteX75" fmla="*/ 9398 w 13047"/>
                <a:gd name="connsiteY75" fmla="*/ 6901 h 10760"/>
                <a:gd name="connsiteX76" fmla="*/ 8869 w 13047"/>
                <a:gd name="connsiteY76" fmla="*/ 7088 h 10760"/>
                <a:gd name="connsiteX77" fmla="*/ 9432 w 13047"/>
                <a:gd name="connsiteY77" fmla="*/ 7238 h 10760"/>
                <a:gd name="connsiteX78" fmla="*/ 9902 w 13047"/>
                <a:gd name="connsiteY78" fmla="*/ 7626 h 10760"/>
                <a:gd name="connsiteX79" fmla="*/ 10277 w 13047"/>
                <a:gd name="connsiteY79" fmla="*/ 8372 h 10760"/>
                <a:gd name="connsiteX80" fmla="*/ 10653 w 13047"/>
                <a:gd name="connsiteY80" fmla="*/ 8342 h 10760"/>
                <a:gd name="connsiteX81" fmla="*/ 11639 w 13047"/>
                <a:gd name="connsiteY81" fmla="*/ 9088 h 10760"/>
                <a:gd name="connsiteX82" fmla="*/ 10465 w 13047"/>
                <a:gd name="connsiteY82" fmla="*/ 9894 h 10760"/>
                <a:gd name="connsiteX83" fmla="*/ 10935 w 13047"/>
                <a:gd name="connsiteY83" fmla="*/ 10491 h 10760"/>
                <a:gd name="connsiteX84" fmla="*/ 10747 w 13047"/>
                <a:gd name="connsiteY84" fmla="*/ 10730 h 10760"/>
                <a:gd name="connsiteX85" fmla="*/ 10465 w 13047"/>
                <a:gd name="connsiteY85" fmla="*/ 10491 h 10760"/>
                <a:gd name="connsiteX86" fmla="*/ 8587 w 13047"/>
                <a:gd name="connsiteY86" fmla="*/ 10461 h 10760"/>
                <a:gd name="connsiteX87" fmla="*/ 8259 w 13047"/>
                <a:gd name="connsiteY87" fmla="*/ 10760 h 10760"/>
                <a:gd name="connsiteX88" fmla="*/ 7695 w 13047"/>
                <a:gd name="connsiteY88"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4174 w 13047"/>
                <a:gd name="connsiteY12" fmla="*/ 7417 h 10760"/>
                <a:gd name="connsiteX13" fmla="*/ 2128 w 13047"/>
                <a:gd name="connsiteY13" fmla="*/ 9942 h 10760"/>
                <a:gd name="connsiteX14" fmla="*/ 2292 w 13047"/>
                <a:gd name="connsiteY14" fmla="*/ 8840 h 10760"/>
                <a:gd name="connsiteX15" fmla="*/ 3323 w 13047"/>
                <a:gd name="connsiteY15" fmla="*/ 8284 h 10760"/>
                <a:gd name="connsiteX16" fmla="*/ 2519 w 13047"/>
                <a:gd name="connsiteY16" fmla="*/ 8079 h 10760"/>
                <a:gd name="connsiteX17" fmla="*/ 747 w 13047"/>
                <a:gd name="connsiteY17" fmla="*/ 8018 h 10760"/>
                <a:gd name="connsiteX18" fmla="*/ 596 w 13047"/>
                <a:gd name="connsiteY18" fmla="*/ 7611 h 10760"/>
                <a:gd name="connsiteX19" fmla="*/ 0 w 13047"/>
                <a:gd name="connsiteY19" fmla="*/ 6872 h 10760"/>
                <a:gd name="connsiteX20" fmla="*/ 256 w 13047"/>
                <a:gd name="connsiteY20" fmla="*/ 6827 h 10760"/>
                <a:gd name="connsiteX21" fmla="*/ 765 w 13047"/>
                <a:gd name="connsiteY21" fmla="*/ 6422 h 10760"/>
                <a:gd name="connsiteX22" fmla="*/ 581 w 13047"/>
                <a:gd name="connsiteY22" fmla="*/ 6205 h 10760"/>
                <a:gd name="connsiteX23" fmla="*/ 344 w 13047"/>
                <a:gd name="connsiteY23" fmla="*/ 6058 h 10760"/>
                <a:gd name="connsiteX24" fmla="*/ 301 w 13047"/>
                <a:gd name="connsiteY24" fmla="*/ 5674 h 10760"/>
                <a:gd name="connsiteX25" fmla="*/ 304 w 13047"/>
                <a:gd name="connsiteY25" fmla="*/ 5040 h 10760"/>
                <a:gd name="connsiteX26" fmla="*/ 440 w 13047"/>
                <a:gd name="connsiteY26" fmla="*/ 4655 h 10760"/>
                <a:gd name="connsiteX27" fmla="*/ 1351 w 13047"/>
                <a:gd name="connsiteY27" fmla="*/ 4121 h 10760"/>
                <a:gd name="connsiteX28" fmla="*/ 1742 w 13047"/>
                <a:gd name="connsiteY28" fmla="*/ 3784 h 10760"/>
                <a:gd name="connsiteX29" fmla="*/ 1407 w 13047"/>
                <a:gd name="connsiteY29" fmla="*/ 3358 h 10760"/>
                <a:gd name="connsiteX30" fmla="*/ 1808 w 13047"/>
                <a:gd name="connsiteY30" fmla="*/ 2950 h 10760"/>
                <a:gd name="connsiteX31" fmla="*/ 1827 w 13047"/>
                <a:gd name="connsiteY31" fmla="*/ 2820 h 10760"/>
                <a:gd name="connsiteX32" fmla="*/ 1639 w 13047"/>
                <a:gd name="connsiteY32" fmla="*/ 2790 h 10760"/>
                <a:gd name="connsiteX33" fmla="*/ 1997 w 13047"/>
                <a:gd name="connsiteY33" fmla="*/ 1986 h 10760"/>
                <a:gd name="connsiteX34" fmla="*/ 2646 w 13047"/>
                <a:gd name="connsiteY34" fmla="*/ 1999 h 10760"/>
                <a:gd name="connsiteX35" fmla="*/ 3423 w 13047"/>
                <a:gd name="connsiteY35" fmla="*/ 2461 h 10760"/>
                <a:gd name="connsiteX36" fmla="*/ 2347 w 13047"/>
                <a:gd name="connsiteY36" fmla="*/ 2015 h 10760"/>
                <a:gd name="connsiteX37" fmla="*/ 2658 w 13047"/>
                <a:gd name="connsiteY37" fmla="*/ 2021 h 10760"/>
                <a:gd name="connsiteX38" fmla="*/ 2820 w 13047"/>
                <a:gd name="connsiteY38" fmla="*/ 2083 h 10760"/>
                <a:gd name="connsiteX39" fmla="*/ 3295 w 13047"/>
                <a:gd name="connsiteY39" fmla="*/ 2449 h 10760"/>
                <a:gd name="connsiteX40" fmla="*/ 3493 w 13047"/>
                <a:gd name="connsiteY40" fmla="*/ 2178 h 10760"/>
                <a:gd name="connsiteX41" fmla="*/ 3819 w 13047"/>
                <a:gd name="connsiteY41" fmla="*/ 1886 h 10760"/>
                <a:gd name="connsiteX42" fmla="*/ 3944 w 13047"/>
                <a:gd name="connsiteY42" fmla="*/ 1793 h 10760"/>
                <a:gd name="connsiteX43" fmla="*/ 4644 w 13047"/>
                <a:gd name="connsiteY43" fmla="*/ 1805 h 10760"/>
                <a:gd name="connsiteX44" fmla="*/ 4362 w 13047"/>
                <a:gd name="connsiteY44" fmla="*/ 1835 h 10760"/>
                <a:gd name="connsiteX45" fmla="*/ 4174 w 13047"/>
                <a:gd name="connsiteY45" fmla="*/ 1596 h 10760"/>
                <a:gd name="connsiteX46" fmla="*/ 4157 w 13047"/>
                <a:gd name="connsiteY46" fmla="*/ 1359 h 10760"/>
                <a:gd name="connsiteX47" fmla="*/ 4205 w 13047"/>
                <a:gd name="connsiteY47" fmla="*/ 1009 h 10760"/>
                <a:gd name="connsiteX48" fmla="*/ 3939 w 13047"/>
                <a:gd name="connsiteY48" fmla="*/ 1059 h 10760"/>
                <a:gd name="connsiteX49" fmla="*/ 3893 w 13047"/>
                <a:gd name="connsiteY49" fmla="*/ 879 h 10760"/>
                <a:gd name="connsiteX50" fmla="*/ 4008 w 13047"/>
                <a:gd name="connsiteY50" fmla="*/ 580 h 10760"/>
                <a:gd name="connsiteX51" fmla="*/ 3906 w 13047"/>
                <a:gd name="connsiteY51" fmla="*/ 0 h 10760"/>
                <a:gd name="connsiteX52" fmla="*/ 5204 w 13047"/>
                <a:gd name="connsiteY52" fmla="*/ 195 h 10760"/>
                <a:gd name="connsiteX53" fmla="*/ 6240 w 13047"/>
                <a:gd name="connsiteY53" fmla="*/ 1088 h 10760"/>
                <a:gd name="connsiteX54" fmla="*/ 6500 w 13047"/>
                <a:gd name="connsiteY54" fmla="*/ 1091 h 10760"/>
                <a:gd name="connsiteX55" fmla="*/ 6566 w 13047"/>
                <a:gd name="connsiteY55" fmla="*/ 1196 h 10760"/>
                <a:gd name="connsiteX56" fmla="*/ 6782 w 13047"/>
                <a:gd name="connsiteY56" fmla="*/ 1300 h 10760"/>
                <a:gd name="connsiteX57" fmla="*/ 7223 w 13047"/>
                <a:gd name="connsiteY57" fmla="*/ 1256 h 10760"/>
                <a:gd name="connsiteX58" fmla="*/ 7273 w 13047"/>
                <a:gd name="connsiteY58" fmla="*/ 1745 h 10760"/>
                <a:gd name="connsiteX59" fmla="*/ 7554 w 13047"/>
                <a:gd name="connsiteY59" fmla="*/ 1596 h 10760"/>
                <a:gd name="connsiteX60" fmla="*/ 8069 w 13047"/>
                <a:gd name="connsiteY60" fmla="*/ 1755 h 10760"/>
                <a:gd name="connsiteX61" fmla="*/ 8806 w 13047"/>
                <a:gd name="connsiteY61" fmla="*/ 1218 h 10760"/>
                <a:gd name="connsiteX62" fmla="*/ 9230 w 13047"/>
                <a:gd name="connsiteY62" fmla="*/ 983 h 10760"/>
                <a:gd name="connsiteX63" fmla="*/ 10248 w 13047"/>
                <a:gd name="connsiteY63" fmla="*/ 1065 h 10760"/>
                <a:gd name="connsiteX64" fmla="*/ 10625 w 13047"/>
                <a:gd name="connsiteY64" fmla="*/ 1177 h 10760"/>
                <a:gd name="connsiteX65" fmla="*/ 10951 w 13047"/>
                <a:gd name="connsiteY65" fmla="*/ 721 h 10760"/>
                <a:gd name="connsiteX66" fmla="*/ 11233 w 13047"/>
                <a:gd name="connsiteY66" fmla="*/ 1213 h 10760"/>
                <a:gd name="connsiteX67" fmla="*/ 10845 w 13047"/>
                <a:gd name="connsiteY67" fmla="*/ 1544 h 10760"/>
                <a:gd name="connsiteX68" fmla="*/ 11465 w 13047"/>
                <a:gd name="connsiteY68" fmla="*/ 1477 h 10760"/>
                <a:gd name="connsiteX69" fmla="*/ 12043 w 13047"/>
                <a:gd name="connsiteY69" fmla="*/ 1744 h 10760"/>
                <a:gd name="connsiteX70" fmla="*/ 12498 w 13047"/>
                <a:gd name="connsiteY70" fmla="*/ 4405 h 10760"/>
                <a:gd name="connsiteX71" fmla="*/ 13046 w 13047"/>
                <a:gd name="connsiteY71" fmla="*/ 5293 h 10760"/>
                <a:gd name="connsiteX72" fmla="*/ 12634 w 13047"/>
                <a:gd name="connsiteY72" fmla="*/ 5967 h 10760"/>
                <a:gd name="connsiteX73" fmla="*/ 11251 w 13047"/>
                <a:gd name="connsiteY73" fmla="*/ 6232 h 10760"/>
                <a:gd name="connsiteX74" fmla="*/ 10035 w 13047"/>
                <a:gd name="connsiteY74" fmla="*/ 6788 h 10760"/>
                <a:gd name="connsiteX75" fmla="*/ 9398 w 13047"/>
                <a:gd name="connsiteY75" fmla="*/ 6901 h 10760"/>
                <a:gd name="connsiteX76" fmla="*/ 8869 w 13047"/>
                <a:gd name="connsiteY76" fmla="*/ 7088 h 10760"/>
                <a:gd name="connsiteX77" fmla="*/ 9432 w 13047"/>
                <a:gd name="connsiteY77" fmla="*/ 7238 h 10760"/>
                <a:gd name="connsiteX78" fmla="*/ 9902 w 13047"/>
                <a:gd name="connsiteY78" fmla="*/ 7626 h 10760"/>
                <a:gd name="connsiteX79" fmla="*/ 10277 w 13047"/>
                <a:gd name="connsiteY79" fmla="*/ 8372 h 10760"/>
                <a:gd name="connsiteX80" fmla="*/ 10653 w 13047"/>
                <a:gd name="connsiteY80" fmla="*/ 8342 h 10760"/>
                <a:gd name="connsiteX81" fmla="*/ 11639 w 13047"/>
                <a:gd name="connsiteY81" fmla="*/ 9088 h 10760"/>
                <a:gd name="connsiteX82" fmla="*/ 10465 w 13047"/>
                <a:gd name="connsiteY82" fmla="*/ 9894 h 10760"/>
                <a:gd name="connsiteX83" fmla="*/ 10935 w 13047"/>
                <a:gd name="connsiteY83" fmla="*/ 10491 h 10760"/>
                <a:gd name="connsiteX84" fmla="*/ 10747 w 13047"/>
                <a:gd name="connsiteY84" fmla="*/ 10730 h 10760"/>
                <a:gd name="connsiteX85" fmla="*/ 10465 w 13047"/>
                <a:gd name="connsiteY85" fmla="*/ 10491 h 10760"/>
                <a:gd name="connsiteX86" fmla="*/ 8587 w 13047"/>
                <a:gd name="connsiteY86" fmla="*/ 10461 h 10760"/>
                <a:gd name="connsiteX87" fmla="*/ 8259 w 13047"/>
                <a:gd name="connsiteY87" fmla="*/ 10760 h 10760"/>
                <a:gd name="connsiteX88" fmla="*/ 7695 w 13047"/>
                <a:gd name="connsiteY88"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4925 w 13047"/>
                <a:gd name="connsiteY11" fmla="*/ 7447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4972 w 13047"/>
                <a:gd name="connsiteY10" fmla="*/ 8133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5442 w 13047"/>
                <a:gd name="connsiteY9" fmla="*/ 8103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5348 w 13047"/>
                <a:gd name="connsiteY8" fmla="*/ 7924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5770 w 13047"/>
                <a:gd name="connsiteY7" fmla="*/ 7894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6334 w 13047"/>
                <a:gd name="connsiteY6" fmla="*/ 8253 h 10760"/>
                <a:gd name="connsiteX7" fmla="*/ 4484 w 13047"/>
                <a:gd name="connsiteY7" fmla="*/ 10568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62 w 13047"/>
                <a:gd name="connsiteY5" fmla="*/ 8820 h 10760"/>
                <a:gd name="connsiteX6" fmla="*/ 5640 w 13047"/>
                <a:gd name="connsiteY6" fmla="*/ 10434 h 10760"/>
                <a:gd name="connsiteX7" fmla="*/ 4484 w 13047"/>
                <a:gd name="connsiteY7" fmla="*/ 10568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616 w 13047"/>
                <a:gd name="connsiteY5" fmla="*/ 10457 h 10760"/>
                <a:gd name="connsiteX6" fmla="*/ 5640 w 13047"/>
                <a:gd name="connsiteY6" fmla="*/ 10434 h 10760"/>
                <a:gd name="connsiteX7" fmla="*/ 4484 w 13047"/>
                <a:gd name="connsiteY7" fmla="*/ 10568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7038 w 13047"/>
                <a:gd name="connsiteY4" fmla="*/ 8730 h 10760"/>
                <a:gd name="connsiteX5" fmla="*/ 6006 w 13047"/>
                <a:gd name="connsiteY5" fmla="*/ 10515 h 10760"/>
                <a:gd name="connsiteX6" fmla="*/ 5640 w 13047"/>
                <a:gd name="connsiteY6" fmla="*/ 10434 h 10760"/>
                <a:gd name="connsiteX7" fmla="*/ 4484 w 13047"/>
                <a:gd name="connsiteY7" fmla="*/ 10568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6836 w 13047"/>
                <a:gd name="connsiteY4" fmla="*/ 10405 h 10760"/>
                <a:gd name="connsiteX5" fmla="*/ 6006 w 13047"/>
                <a:gd name="connsiteY5" fmla="*/ 10515 h 10760"/>
                <a:gd name="connsiteX6" fmla="*/ 5640 w 13047"/>
                <a:gd name="connsiteY6" fmla="*/ 10434 h 10760"/>
                <a:gd name="connsiteX7" fmla="*/ 4484 w 13047"/>
                <a:gd name="connsiteY7" fmla="*/ 10568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273 w 13047"/>
                <a:gd name="connsiteY3" fmla="*/ 8909 h 10760"/>
                <a:gd name="connsiteX4" fmla="*/ 6858 w 13047"/>
                <a:gd name="connsiteY4" fmla="*/ 10518 h 10760"/>
                <a:gd name="connsiteX5" fmla="*/ 6006 w 13047"/>
                <a:gd name="connsiteY5" fmla="*/ 10515 h 10760"/>
                <a:gd name="connsiteX6" fmla="*/ 5640 w 13047"/>
                <a:gd name="connsiteY6" fmla="*/ 10434 h 10760"/>
                <a:gd name="connsiteX7" fmla="*/ 4484 w 13047"/>
                <a:gd name="connsiteY7" fmla="*/ 10568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8071 w 13047"/>
                <a:gd name="connsiteY2" fmla="*/ 9088 h 10760"/>
                <a:gd name="connsiteX3" fmla="*/ 7427 w 13047"/>
                <a:gd name="connsiteY3" fmla="*/ 10228 h 10760"/>
                <a:gd name="connsiteX4" fmla="*/ 6858 w 13047"/>
                <a:gd name="connsiteY4" fmla="*/ 10518 h 10760"/>
                <a:gd name="connsiteX5" fmla="*/ 6006 w 13047"/>
                <a:gd name="connsiteY5" fmla="*/ 10515 h 10760"/>
                <a:gd name="connsiteX6" fmla="*/ 5640 w 13047"/>
                <a:gd name="connsiteY6" fmla="*/ 10434 h 10760"/>
                <a:gd name="connsiteX7" fmla="*/ 4484 w 13047"/>
                <a:gd name="connsiteY7" fmla="*/ 10568 h 10760"/>
                <a:gd name="connsiteX8" fmla="*/ 4061 w 13047"/>
                <a:gd name="connsiteY8" fmla="*/ 10253 h 10760"/>
                <a:gd name="connsiteX9" fmla="*/ 3596 w 13047"/>
                <a:gd name="connsiteY9" fmla="*/ 10071 h 10760"/>
                <a:gd name="connsiteX10" fmla="*/ 2804 w 13047"/>
                <a:gd name="connsiteY10" fmla="*/ 10638 h 10760"/>
                <a:gd name="connsiteX11" fmla="*/ 2162 w 13047"/>
                <a:gd name="connsiteY11" fmla="*/ 10261 h 10760"/>
                <a:gd name="connsiteX12" fmla="*/ 2128 w 13047"/>
                <a:gd name="connsiteY12" fmla="*/ 9942 h 10760"/>
                <a:gd name="connsiteX13" fmla="*/ 2292 w 13047"/>
                <a:gd name="connsiteY13" fmla="*/ 8840 h 10760"/>
                <a:gd name="connsiteX14" fmla="*/ 3323 w 13047"/>
                <a:gd name="connsiteY14" fmla="*/ 8284 h 10760"/>
                <a:gd name="connsiteX15" fmla="*/ 2519 w 13047"/>
                <a:gd name="connsiteY15" fmla="*/ 8079 h 10760"/>
                <a:gd name="connsiteX16" fmla="*/ 747 w 13047"/>
                <a:gd name="connsiteY16" fmla="*/ 8018 h 10760"/>
                <a:gd name="connsiteX17" fmla="*/ 596 w 13047"/>
                <a:gd name="connsiteY17" fmla="*/ 7611 h 10760"/>
                <a:gd name="connsiteX18" fmla="*/ 0 w 13047"/>
                <a:gd name="connsiteY18" fmla="*/ 6872 h 10760"/>
                <a:gd name="connsiteX19" fmla="*/ 256 w 13047"/>
                <a:gd name="connsiteY19" fmla="*/ 6827 h 10760"/>
                <a:gd name="connsiteX20" fmla="*/ 765 w 13047"/>
                <a:gd name="connsiteY20" fmla="*/ 6422 h 10760"/>
                <a:gd name="connsiteX21" fmla="*/ 581 w 13047"/>
                <a:gd name="connsiteY21" fmla="*/ 6205 h 10760"/>
                <a:gd name="connsiteX22" fmla="*/ 344 w 13047"/>
                <a:gd name="connsiteY22" fmla="*/ 6058 h 10760"/>
                <a:gd name="connsiteX23" fmla="*/ 301 w 13047"/>
                <a:gd name="connsiteY23" fmla="*/ 5674 h 10760"/>
                <a:gd name="connsiteX24" fmla="*/ 304 w 13047"/>
                <a:gd name="connsiteY24" fmla="*/ 5040 h 10760"/>
                <a:gd name="connsiteX25" fmla="*/ 440 w 13047"/>
                <a:gd name="connsiteY25" fmla="*/ 4655 h 10760"/>
                <a:gd name="connsiteX26" fmla="*/ 1351 w 13047"/>
                <a:gd name="connsiteY26" fmla="*/ 4121 h 10760"/>
                <a:gd name="connsiteX27" fmla="*/ 1742 w 13047"/>
                <a:gd name="connsiteY27" fmla="*/ 3784 h 10760"/>
                <a:gd name="connsiteX28" fmla="*/ 1407 w 13047"/>
                <a:gd name="connsiteY28" fmla="*/ 3358 h 10760"/>
                <a:gd name="connsiteX29" fmla="*/ 1808 w 13047"/>
                <a:gd name="connsiteY29" fmla="*/ 2950 h 10760"/>
                <a:gd name="connsiteX30" fmla="*/ 1827 w 13047"/>
                <a:gd name="connsiteY30" fmla="*/ 2820 h 10760"/>
                <a:gd name="connsiteX31" fmla="*/ 1639 w 13047"/>
                <a:gd name="connsiteY31" fmla="*/ 2790 h 10760"/>
                <a:gd name="connsiteX32" fmla="*/ 1997 w 13047"/>
                <a:gd name="connsiteY32" fmla="*/ 1986 h 10760"/>
                <a:gd name="connsiteX33" fmla="*/ 2646 w 13047"/>
                <a:gd name="connsiteY33" fmla="*/ 1999 h 10760"/>
                <a:gd name="connsiteX34" fmla="*/ 3423 w 13047"/>
                <a:gd name="connsiteY34" fmla="*/ 2461 h 10760"/>
                <a:gd name="connsiteX35" fmla="*/ 2347 w 13047"/>
                <a:gd name="connsiteY35" fmla="*/ 2015 h 10760"/>
                <a:gd name="connsiteX36" fmla="*/ 2658 w 13047"/>
                <a:gd name="connsiteY36" fmla="*/ 2021 h 10760"/>
                <a:gd name="connsiteX37" fmla="*/ 2820 w 13047"/>
                <a:gd name="connsiteY37" fmla="*/ 2083 h 10760"/>
                <a:gd name="connsiteX38" fmla="*/ 3295 w 13047"/>
                <a:gd name="connsiteY38" fmla="*/ 2449 h 10760"/>
                <a:gd name="connsiteX39" fmla="*/ 3493 w 13047"/>
                <a:gd name="connsiteY39" fmla="*/ 2178 h 10760"/>
                <a:gd name="connsiteX40" fmla="*/ 3819 w 13047"/>
                <a:gd name="connsiteY40" fmla="*/ 1886 h 10760"/>
                <a:gd name="connsiteX41" fmla="*/ 3944 w 13047"/>
                <a:gd name="connsiteY41" fmla="*/ 1793 h 10760"/>
                <a:gd name="connsiteX42" fmla="*/ 4644 w 13047"/>
                <a:gd name="connsiteY42" fmla="*/ 1805 h 10760"/>
                <a:gd name="connsiteX43" fmla="*/ 4362 w 13047"/>
                <a:gd name="connsiteY43" fmla="*/ 1835 h 10760"/>
                <a:gd name="connsiteX44" fmla="*/ 4174 w 13047"/>
                <a:gd name="connsiteY44" fmla="*/ 1596 h 10760"/>
                <a:gd name="connsiteX45" fmla="*/ 4157 w 13047"/>
                <a:gd name="connsiteY45" fmla="*/ 1359 h 10760"/>
                <a:gd name="connsiteX46" fmla="*/ 4205 w 13047"/>
                <a:gd name="connsiteY46" fmla="*/ 1009 h 10760"/>
                <a:gd name="connsiteX47" fmla="*/ 3939 w 13047"/>
                <a:gd name="connsiteY47" fmla="*/ 1059 h 10760"/>
                <a:gd name="connsiteX48" fmla="*/ 3893 w 13047"/>
                <a:gd name="connsiteY48" fmla="*/ 879 h 10760"/>
                <a:gd name="connsiteX49" fmla="*/ 4008 w 13047"/>
                <a:gd name="connsiteY49" fmla="*/ 580 h 10760"/>
                <a:gd name="connsiteX50" fmla="*/ 3906 w 13047"/>
                <a:gd name="connsiteY50" fmla="*/ 0 h 10760"/>
                <a:gd name="connsiteX51" fmla="*/ 5204 w 13047"/>
                <a:gd name="connsiteY51" fmla="*/ 195 h 10760"/>
                <a:gd name="connsiteX52" fmla="*/ 6240 w 13047"/>
                <a:gd name="connsiteY52" fmla="*/ 1088 h 10760"/>
                <a:gd name="connsiteX53" fmla="*/ 6500 w 13047"/>
                <a:gd name="connsiteY53" fmla="*/ 1091 h 10760"/>
                <a:gd name="connsiteX54" fmla="*/ 6566 w 13047"/>
                <a:gd name="connsiteY54" fmla="*/ 1196 h 10760"/>
                <a:gd name="connsiteX55" fmla="*/ 6782 w 13047"/>
                <a:gd name="connsiteY55" fmla="*/ 1300 h 10760"/>
                <a:gd name="connsiteX56" fmla="*/ 7223 w 13047"/>
                <a:gd name="connsiteY56" fmla="*/ 1256 h 10760"/>
                <a:gd name="connsiteX57" fmla="*/ 7273 w 13047"/>
                <a:gd name="connsiteY57" fmla="*/ 1745 h 10760"/>
                <a:gd name="connsiteX58" fmla="*/ 7554 w 13047"/>
                <a:gd name="connsiteY58" fmla="*/ 1596 h 10760"/>
                <a:gd name="connsiteX59" fmla="*/ 8069 w 13047"/>
                <a:gd name="connsiteY59" fmla="*/ 1755 h 10760"/>
                <a:gd name="connsiteX60" fmla="*/ 8806 w 13047"/>
                <a:gd name="connsiteY60" fmla="*/ 1218 h 10760"/>
                <a:gd name="connsiteX61" fmla="*/ 9230 w 13047"/>
                <a:gd name="connsiteY61" fmla="*/ 983 h 10760"/>
                <a:gd name="connsiteX62" fmla="*/ 10248 w 13047"/>
                <a:gd name="connsiteY62" fmla="*/ 1065 h 10760"/>
                <a:gd name="connsiteX63" fmla="*/ 10625 w 13047"/>
                <a:gd name="connsiteY63" fmla="*/ 1177 h 10760"/>
                <a:gd name="connsiteX64" fmla="*/ 10951 w 13047"/>
                <a:gd name="connsiteY64" fmla="*/ 721 h 10760"/>
                <a:gd name="connsiteX65" fmla="*/ 11233 w 13047"/>
                <a:gd name="connsiteY65" fmla="*/ 1213 h 10760"/>
                <a:gd name="connsiteX66" fmla="*/ 10845 w 13047"/>
                <a:gd name="connsiteY66" fmla="*/ 1544 h 10760"/>
                <a:gd name="connsiteX67" fmla="*/ 11465 w 13047"/>
                <a:gd name="connsiteY67" fmla="*/ 1477 h 10760"/>
                <a:gd name="connsiteX68" fmla="*/ 12043 w 13047"/>
                <a:gd name="connsiteY68" fmla="*/ 1744 h 10760"/>
                <a:gd name="connsiteX69" fmla="*/ 12498 w 13047"/>
                <a:gd name="connsiteY69" fmla="*/ 4405 h 10760"/>
                <a:gd name="connsiteX70" fmla="*/ 13046 w 13047"/>
                <a:gd name="connsiteY70" fmla="*/ 5293 h 10760"/>
                <a:gd name="connsiteX71" fmla="*/ 12634 w 13047"/>
                <a:gd name="connsiteY71" fmla="*/ 5967 h 10760"/>
                <a:gd name="connsiteX72" fmla="*/ 11251 w 13047"/>
                <a:gd name="connsiteY72" fmla="*/ 6232 h 10760"/>
                <a:gd name="connsiteX73" fmla="*/ 10035 w 13047"/>
                <a:gd name="connsiteY73" fmla="*/ 6788 h 10760"/>
                <a:gd name="connsiteX74" fmla="*/ 9398 w 13047"/>
                <a:gd name="connsiteY74" fmla="*/ 6901 h 10760"/>
                <a:gd name="connsiteX75" fmla="*/ 8869 w 13047"/>
                <a:gd name="connsiteY75" fmla="*/ 7088 h 10760"/>
                <a:gd name="connsiteX76" fmla="*/ 9432 w 13047"/>
                <a:gd name="connsiteY76" fmla="*/ 7238 h 10760"/>
                <a:gd name="connsiteX77" fmla="*/ 9902 w 13047"/>
                <a:gd name="connsiteY77" fmla="*/ 7626 h 10760"/>
                <a:gd name="connsiteX78" fmla="*/ 10277 w 13047"/>
                <a:gd name="connsiteY78" fmla="*/ 8372 h 10760"/>
                <a:gd name="connsiteX79" fmla="*/ 10653 w 13047"/>
                <a:gd name="connsiteY79" fmla="*/ 8342 h 10760"/>
                <a:gd name="connsiteX80" fmla="*/ 11639 w 13047"/>
                <a:gd name="connsiteY80" fmla="*/ 9088 h 10760"/>
                <a:gd name="connsiteX81" fmla="*/ 10465 w 13047"/>
                <a:gd name="connsiteY81" fmla="*/ 9894 h 10760"/>
                <a:gd name="connsiteX82" fmla="*/ 10935 w 13047"/>
                <a:gd name="connsiteY82" fmla="*/ 10491 h 10760"/>
                <a:gd name="connsiteX83" fmla="*/ 10747 w 13047"/>
                <a:gd name="connsiteY83" fmla="*/ 10730 h 10760"/>
                <a:gd name="connsiteX84" fmla="*/ 10465 w 13047"/>
                <a:gd name="connsiteY84" fmla="*/ 10491 h 10760"/>
                <a:gd name="connsiteX85" fmla="*/ 8587 w 13047"/>
                <a:gd name="connsiteY85" fmla="*/ 10461 h 10760"/>
                <a:gd name="connsiteX86" fmla="*/ 8259 w 13047"/>
                <a:gd name="connsiteY86" fmla="*/ 10760 h 10760"/>
                <a:gd name="connsiteX87" fmla="*/ 7695 w 13047"/>
                <a:gd name="connsiteY87" fmla="*/ 10730 h 10760"/>
                <a:gd name="connsiteX0" fmla="*/ 7695 w 13047"/>
                <a:gd name="connsiteY0" fmla="*/ 10730 h 10760"/>
                <a:gd name="connsiteX1" fmla="*/ 7789 w 13047"/>
                <a:gd name="connsiteY1" fmla="*/ 9894 h 10760"/>
                <a:gd name="connsiteX2" fmla="*/ 7427 w 13047"/>
                <a:gd name="connsiteY2" fmla="*/ 10228 h 10760"/>
                <a:gd name="connsiteX3" fmla="*/ 6858 w 13047"/>
                <a:gd name="connsiteY3" fmla="*/ 10518 h 10760"/>
                <a:gd name="connsiteX4" fmla="*/ 6006 w 13047"/>
                <a:gd name="connsiteY4" fmla="*/ 10515 h 10760"/>
                <a:gd name="connsiteX5" fmla="*/ 5640 w 13047"/>
                <a:gd name="connsiteY5" fmla="*/ 10434 h 10760"/>
                <a:gd name="connsiteX6" fmla="*/ 4484 w 13047"/>
                <a:gd name="connsiteY6" fmla="*/ 10568 h 10760"/>
                <a:gd name="connsiteX7" fmla="*/ 4061 w 13047"/>
                <a:gd name="connsiteY7" fmla="*/ 10253 h 10760"/>
                <a:gd name="connsiteX8" fmla="*/ 3596 w 13047"/>
                <a:gd name="connsiteY8" fmla="*/ 10071 h 10760"/>
                <a:gd name="connsiteX9" fmla="*/ 2804 w 13047"/>
                <a:gd name="connsiteY9" fmla="*/ 10638 h 10760"/>
                <a:gd name="connsiteX10" fmla="*/ 2162 w 13047"/>
                <a:gd name="connsiteY10" fmla="*/ 10261 h 10760"/>
                <a:gd name="connsiteX11" fmla="*/ 2128 w 13047"/>
                <a:gd name="connsiteY11" fmla="*/ 9942 h 10760"/>
                <a:gd name="connsiteX12" fmla="*/ 2292 w 13047"/>
                <a:gd name="connsiteY12" fmla="*/ 8840 h 10760"/>
                <a:gd name="connsiteX13" fmla="*/ 3323 w 13047"/>
                <a:gd name="connsiteY13" fmla="*/ 8284 h 10760"/>
                <a:gd name="connsiteX14" fmla="*/ 2519 w 13047"/>
                <a:gd name="connsiteY14" fmla="*/ 8079 h 10760"/>
                <a:gd name="connsiteX15" fmla="*/ 747 w 13047"/>
                <a:gd name="connsiteY15" fmla="*/ 8018 h 10760"/>
                <a:gd name="connsiteX16" fmla="*/ 596 w 13047"/>
                <a:gd name="connsiteY16" fmla="*/ 7611 h 10760"/>
                <a:gd name="connsiteX17" fmla="*/ 0 w 13047"/>
                <a:gd name="connsiteY17" fmla="*/ 6872 h 10760"/>
                <a:gd name="connsiteX18" fmla="*/ 256 w 13047"/>
                <a:gd name="connsiteY18" fmla="*/ 6827 h 10760"/>
                <a:gd name="connsiteX19" fmla="*/ 765 w 13047"/>
                <a:gd name="connsiteY19" fmla="*/ 6422 h 10760"/>
                <a:gd name="connsiteX20" fmla="*/ 581 w 13047"/>
                <a:gd name="connsiteY20" fmla="*/ 6205 h 10760"/>
                <a:gd name="connsiteX21" fmla="*/ 344 w 13047"/>
                <a:gd name="connsiteY21" fmla="*/ 6058 h 10760"/>
                <a:gd name="connsiteX22" fmla="*/ 301 w 13047"/>
                <a:gd name="connsiteY22" fmla="*/ 5674 h 10760"/>
                <a:gd name="connsiteX23" fmla="*/ 304 w 13047"/>
                <a:gd name="connsiteY23" fmla="*/ 5040 h 10760"/>
                <a:gd name="connsiteX24" fmla="*/ 440 w 13047"/>
                <a:gd name="connsiteY24" fmla="*/ 4655 h 10760"/>
                <a:gd name="connsiteX25" fmla="*/ 1351 w 13047"/>
                <a:gd name="connsiteY25" fmla="*/ 4121 h 10760"/>
                <a:gd name="connsiteX26" fmla="*/ 1742 w 13047"/>
                <a:gd name="connsiteY26" fmla="*/ 3784 h 10760"/>
                <a:gd name="connsiteX27" fmla="*/ 1407 w 13047"/>
                <a:gd name="connsiteY27" fmla="*/ 3358 h 10760"/>
                <a:gd name="connsiteX28" fmla="*/ 1808 w 13047"/>
                <a:gd name="connsiteY28" fmla="*/ 2950 h 10760"/>
                <a:gd name="connsiteX29" fmla="*/ 1827 w 13047"/>
                <a:gd name="connsiteY29" fmla="*/ 2820 h 10760"/>
                <a:gd name="connsiteX30" fmla="*/ 1639 w 13047"/>
                <a:gd name="connsiteY30" fmla="*/ 2790 h 10760"/>
                <a:gd name="connsiteX31" fmla="*/ 1997 w 13047"/>
                <a:gd name="connsiteY31" fmla="*/ 1986 h 10760"/>
                <a:gd name="connsiteX32" fmla="*/ 2646 w 13047"/>
                <a:gd name="connsiteY32" fmla="*/ 1999 h 10760"/>
                <a:gd name="connsiteX33" fmla="*/ 3423 w 13047"/>
                <a:gd name="connsiteY33" fmla="*/ 2461 h 10760"/>
                <a:gd name="connsiteX34" fmla="*/ 2347 w 13047"/>
                <a:gd name="connsiteY34" fmla="*/ 2015 h 10760"/>
                <a:gd name="connsiteX35" fmla="*/ 2658 w 13047"/>
                <a:gd name="connsiteY35" fmla="*/ 2021 h 10760"/>
                <a:gd name="connsiteX36" fmla="*/ 2820 w 13047"/>
                <a:gd name="connsiteY36" fmla="*/ 2083 h 10760"/>
                <a:gd name="connsiteX37" fmla="*/ 3295 w 13047"/>
                <a:gd name="connsiteY37" fmla="*/ 2449 h 10760"/>
                <a:gd name="connsiteX38" fmla="*/ 3493 w 13047"/>
                <a:gd name="connsiteY38" fmla="*/ 2178 h 10760"/>
                <a:gd name="connsiteX39" fmla="*/ 3819 w 13047"/>
                <a:gd name="connsiteY39" fmla="*/ 1886 h 10760"/>
                <a:gd name="connsiteX40" fmla="*/ 3944 w 13047"/>
                <a:gd name="connsiteY40" fmla="*/ 1793 h 10760"/>
                <a:gd name="connsiteX41" fmla="*/ 4644 w 13047"/>
                <a:gd name="connsiteY41" fmla="*/ 1805 h 10760"/>
                <a:gd name="connsiteX42" fmla="*/ 4362 w 13047"/>
                <a:gd name="connsiteY42" fmla="*/ 1835 h 10760"/>
                <a:gd name="connsiteX43" fmla="*/ 4174 w 13047"/>
                <a:gd name="connsiteY43" fmla="*/ 1596 h 10760"/>
                <a:gd name="connsiteX44" fmla="*/ 4157 w 13047"/>
                <a:gd name="connsiteY44" fmla="*/ 1359 h 10760"/>
                <a:gd name="connsiteX45" fmla="*/ 4205 w 13047"/>
                <a:gd name="connsiteY45" fmla="*/ 1009 h 10760"/>
                <a:gd name="connsiteX46" fmla="*/ 3939 w 13047"/>
                <a:gd name="connsiteY46" fmla="*/ 1059 h 10760"/>
                <a:gd name="connsiteX47" fmla="*/ 3893 w 13047"/>
                <a:gd name="connsiteY47" fmla="*/ 879 h 10760"/>
                <a:gd name="connsiteX48" fmla="*/ 4008 w 13047"/>
                <a:gd name="connsiteY48" fmla="*/ 580 h 10760"/>
                <a:gd name="connsiteX49" fmla="*/ 3906 w 13047"/>
                <a:gd name="connsiteY49" fmla="*/ 0 h 10760"/>
                <a:gd name="connsiteX50" fmla="*/ 5204 w 13047"/>
                <a:gd name="connsiteY50" fmla="*/ 195 h 10760"/>
                <a:gd name="connsiteX51" fmla="*/ 6240 w 13047"/>
                <a:gd name="connsiteY51" fmla="*/ 1088 h 10760"/>
                <a:gd name="connsiteX52" fmla="*/ 6500 w 13047"/>
                <a:gd name="connsiteY52" fmla="*/ 1091 h 10760"/>
                <a:gd name="connsiteX53" fmla="*/ 6566 w 13047"/>
                <a:gd name="connsiteY53" fmla="*/ 1196 h 10760"/>
                <a:gd name="connsiteX54" fmla="*/ 6782 w 13047"/>
                <a:gd name="connsiteY54" fmla="*/ 1300 h 10760"/>
                <a:gd name="connsiteX55" fmla="*/ 7223 w 13047"/>
                <a:gd name="connsiteY55" fmla="*/ 1256 h 10760"/>
                <a:gd name="connsiteX56" fmla="*/ 7273 w 13047"/>
                <a:gd name="connsiteY56" fmla="*/ 1745 h 10760"/>
                <a:gd name="connsiteX57" fmla="*/ 7554 w 13047"/>
                <a:gd name="connsiteY57" fmla="*/ 1596 h 10760"/>
                <a:gd name="connsiteX58" fmla="*/ 8069 w 13047"/>
                <a:gd name="connsiteY58" fmla="*/ 1755 h 10760"/>
                <a:gd name="connsiteX59" fmla="*/ 8806 w 13047"/>
                <a:gd name="connsiteY59" fmla="*/ 1218 h 10760"/>
                <a:gd name="connsiteX60" fmla="*/ 9230 w 13047"/>
                <a:gd name="connsiteY60" fmla="*/ 983 h 10760"/>
                <a:gd name="connsiteX61" fmla="*/ 10248 w 13047"/>
                <a:gd name="connsiteY61" fmla="*/ 1065 h 10760"/>
                <a:gd name="connsiteX62" fmla="*/ 10625 w 13047"/>
                <a:gd name="connsiteY62" fmla="*/ 1177 h 10760"/>
                <a:gd name="connsiteX63" fmla="*/ 10951 w 13047"/>
                <a:gd name="connsiteY63" fmla="*/ 721 h 10760"/>
                <a:gd name="connsiteX64" fmla="*/ 11233 w 13047"/>
                <a:gd name="connsiteY64" fmla="*/ 1213 h 10760"/>
                <a:gd name="connsiteX65" fmla="*/ 10845 w 13047"/>
                <a:gd name="connsiteY65" fmla="*/ 1544 h 10760"/>
                <a:gd name="connsiteX66" fmla="*/ 11465 w 13047"/>
                <a:gd name="connsiteY66" fmla="*/ 1477 h 10760"/>
                <a:gd name="connsiteX67" fmla="*/ 12043 w 13047"/>
                <a:gd name="connsiteY67" fmla="*/ 1744 h 10760"/>
                <a:gd name="connsiteX68" fmla="*/ 12498 w 13047"/>
                <a:gd name="connsiteY68" fmla="*/ 4405 h 10760"/>
                <a:gd name="connsiteX69" fmla="*/ 13046 w 13047"/>
                <a:gd name="connsiteY69" fmla="*/ 5293 h 10760"/>
                <a:gd name="connsiteX70" fmla="*/ 12634 w 13047"/>
                <a:gd name="connsiteY70" fmla="*/ 5967 h 10760"/>
                <a:gd name="connsiteX71" fmla="*/ 11251 w 13047"/>
                <a:gd name="connsiteY71" fmla="*/ 6232 h 10760"/>
                <a:gd name="connsiteX72" fmla="*/ 10035 w 13047"/>
                <a:gd name="connsiteY72" fmla="*/ 6788 h 10760"/>
                <a:gd name="connsiteX73" fmla="*/ 9398 w 13047"/>
                <a:gd name="connsiteY73" fmla="*/ 6901 h 10760"/>
                <a:gd name="connsiteX74" fmla="*/ 8869 w 13047"/>
                <a:gd name="connsiteY74" fmla="*/ 7088 h 10760"/>
                <a:gd name="connsiteX75" fmla="*/ 9432 w 13047"/>
                <a:gd name="connsiteY75" fmla="*/ 7238 h 10760"/>
                <a:gd name="connsiteX76" fmla="*/ 9902 w 13047"/>
                <a:gd name="connsiteY76" fmla="*/ 7626 h 10760"/>
                <a:gd name="connsiteX77" fmla="*/ 10277 w 13047"/>
                <a:gd name="connsiteY77" fmla="*/ 8372 h 10760"/>
                <a:gd name="connsiteX78" fmla="*/ 10653 w 13047"/>
                <a:gd name="connsiteY78" fmla="*/ 8342 h 10760"/>
                <a:gd name="connsiteX79" fmla="*/ 11639 w 13047"/>
                <a:gd name="connsiteY79" fmla="*/ 9088 h 10760"/>
                <a:gd name="connsiteX80" fmla="*/ 10465 w 13047"/>
                <a:gd name="connsiteY80" fmla="*/ 9894 h 10760"/>
                <a:gd name="connsiteX81" fmla="*/ 10935 w 13047"/>
                <a:gd name="connsiteY81" fmla="*/ 10491 h 10760"/>
                <a:gd name="connsiteX82" fmla="*/ 10747 w 13047"/>
                <a:gd name="connsiteY82" fmla="*/ 10730 h 10760"/>
                <a:gd name="connsiteX83" fmla="*/ 10465 w 13047"/>
                <a:gd name="connsiteY83" fmla="*/ 10491 h 10760"/>
                <a:gd name="connsiteX84" fmla="*/ 8587 w 13047"/>
                <a:gd name="connsiteY84" fmla="*/ 10461 h 10760"/>
                <a:gd name="connsiteX85" fmla="*/ 8259 w 13047"/>
                <a:gd name="connsiteY85" fmla="*/ 10760 h 10760"/>
                <a:gd name="connsiteX86" fmla="*/ 7695 w 13047"/>
                <a:gd name="connsiteY86" fmla="*/ 10730 h 10760"/>
                <a:gd name="connsiteX0" fmla="*/ 7695 w 13047"/>
                <a:gd name="connsiteY0" fmla="*/ 10730 h 10760"/>
                <a:gd name="connsiteX1" fmla="*/ 7427 w 13047"/>
                <a:gd name="connsiteY1" fmla="*/ 10228 h 10760"/>
                <a:gd name="connsiteX2" fmla="*/ 6858 w 13047"/>
                <a:gd name="connsiteY2" fmla="*/ 10518 h 10760"/>
                <a:gd name="connsiteX3" fmla="*/ 6006 w 13047"/>
                <a:gd name="connsiteY3" fmla="*/ 10515 h 10760"/>
                <a:gd name="connsiteX4" fmla="*/ 5640 w 13047"/>
                <a:gd name="connsiteY4" fmla="*/ 10434 h 10760"/>
                <a:gd name="connsiteX5" fmla="*/ 4484 w 13047"/>
                <a:gd name="connsiteY5" fmla="*/ 10568 h 10760"/>
                <a:gd name="connsiteX6" fmla="*/ 4061 w 13047"/>
                <a:gd name="connsiteY6" fmla="*/ 10253 h 10760"/>
                <a:gd name="connsiteX7" fmla="*/ 3596 w 13047"/>
                <a:gd name="connsiteY7" fmla="*/ 10071 h 10760"/>
                <a:gd name="connsiteX8" fmla="*/ 2804 w 13047"/>
                <a:gd name="connsiteY8" fmla="*/ 10638 h 10760"/>
                <a:gd name="connsiteX9" fmla="*/ 2162 w 13047"/>
                <a:gd name="connsiteY9" fmla="*/ 10261 h 10760"/>
                <a:gd name="connsiteX10" fmla="*/ 2128 w 13047"/>
                <a:gd name="connsiteY10" fmla="*/ 9942 h 10760"/>
                <a:gd name="connsiteX11" fmla="*/ 2292 w 13047"/>
                <a:gd name="connsiteY11" fmla="*/ 8840 h 10760"/>
                <a:gd name="connsiteX12" fmla="*/ 3323 w 13047"/>
                <a:gd name="connsiteY12" fmla="*/ 8284 h 10760"/>
                <a:gd name="connsiteX13" fmla="*/ 2519 w 13047"/>
                <a:gd name="connsiteY13" fmla="*/ 8079 h 10760"/>
                <a:gd name="connsiteX14" fmla="*/ 747 w 13047"/>
                <a:gd name="connsiteY14" fmla="*/ 8018 h 10760"/>
                <a:gd name="connsiteX15" fmla="*/ 596 w 13047"/>
                <a:gd name="connsiteY15" fmla="*/ 7611 h 10760"/>
                <a:gd name="connsiteX16" fmla="*/ 0 w 13047"/>
                <a:gd name="connsiteY16" fmla="*/ 6872 h 10760"/>
                <a:gd name="connsiteX17" fmla="*/ 256 w 13047"/>
                <a:gd name="connsiteY17" fmla="*/ 6827 h 10760"/>
                <a:gd name="connsiteX18" fmla="*/ 765 w 13047"/>
                <a:gd name="connsiteY18" fmla="*/ 6422 h 10760"/>
                <a:gd name="connsiteX19" fmla="*/ 581 w 13047"/>
                <a:gd name="connsiteY19" fmla="*/ 6205 h 10760"/>
                <a:gd name="connsiteX20" fmla="*/ 344 w 13047"/>
                <a:gd name="connsiteY20" fmla="*/ 6058 h 10760"/>
                <a:gd name="connsiteX21" fmla="*/ 301 w 13047"/>
                <a:gd name="connsiteY21" fmla="*/ 5674 h 10760"/>
                <a:gd name="connsiteX22" fmla="*/ 304 w 13047"/>
                <a:gd name="connsiteY22" fmla="*/ 5040 h 10760"/>
                <a:gd name="connsiteX23" fmla="*/ 440 w 13047"/>
                <a:gd name="connsiteY23" fmla="*/ 4655 h 10760"/>
                <a:gd name="connsiteX24" fmla="*/ 1351 w 13047"/>
                <a:gd name="connsiteY24" fmla="*/ 4121 h 10760"/>
                <a:gd name="connsiteX25" fmla="*/ 1742 w 13047"/>
                <a:gd name="connsiteY25" fmla="*/ 3784 h 10760"/>
                <a:gd name="connsiteX26" fmla="*/ 1407 w 13047"/>
                <a:gd name="connsiteY26" fmla="*/ 3358 h 10760"/>
                <a:gd name="connsiteX27" fmla="*/ 1808 w 13047"/>
                <a:gd name="connsiteY27" fmla="*/ 2950 h 10760"/>
                <a:gd name="connsiteX28" fmla="*/ 1827 w 13047"/>
                <a:gd name="connsiteY28" fmla="*/ 2820 h 10760"/>
                <a:gd name="connsiteX29" fmla="*/ 1639 w 13047"/>
                <a:gd name="connsiteY29" fmla="*/ 2790 h 10760"/>
                <a:gd name="connsiteX30" fmla="*/ 1997 w 13047"/>
                <a:gd name="connsiteY30" fmla="*/ 1986 h 10760"/>
                <a:gd name="connsiteX31" fmla="*/ 2646 w 13047"/>
                <a:gd name="connsiteY31" fmla="*/ 1999 h 10760"/>
                <a:gd name="connsiteX32" fmla="*/ 3423 w 13047"/>
                <a:gd name="connsiteY32" fmla="*/ 2461 h 10760"/>
                <a:gd name="connsiteX33" fmla="*/ 2347 w 13047"/>
                <a:gd name="connsiteY33" fmla="*/ 2015 h 10760"/>
                <a:gd name="connsiteX34" fmla="*/ 2658 w 13047"/>
                <a:gd name="connsiteY34" fmla="*/ 2021 h 10760"/>
                <a:gd name="connsiteX35" fmla="*/ 2820 w 13047"/>
                <a:gd name="connsiteY35" fmla="*/ 2083 h 10760"/>
                <a:gd name="connsiteX36" fmla="*/ 3295 w 13047"/>
                <a:gd name="connsiteY36" fmla="*/ 2449 h 10760"/>
                <a:gd name="connsiteX37" fmla="*/ 3493 w 13047"/>
                <a:gd name="connsiteY37" fmla="*/ 2178 h 10760"/>
                <a:gd name="connsiteX38" fmla="*/ 3819 w 13047"/>
                <a:gd name="connsiteY38" fmla="*/ 1886 h 10760"/>
                <a:gd name="connsiteX39" fmla="*/ 3944 w 13047"/>
                <a:gd name="connsiteY39" fmla="*/ 1793 h 10760"/>
                <a:gd name="connsiteX40" fmla="*/ 4644 w 13047"/>
                <a:gd name="connsiteY40" fmla="*/ 1805 h 10760"/>
                <a:gd name="connsiteX41" fmla="*/ 4362 w 13047"/>
                <a:gd name="connsiteY41" fmla="*/ 1835 h 10760"/>
                <a:gd name="connsiteX42" fmla="*/ 4174 w 13047"/>
                <a:gd name="connsiteY42" fmla="*/ 1596 h 10760"/>
                <a:gd name="connsiteX43" fmla="*/ 4157 w 13047"/>
                <a:gd name="connsiteY43" fmla="*/ 1359 h 10760"/>
                <a:gd name="connsiteX44" fmla="*/ 4205 w 13047"/>
                <a:gd name="connsiteY44" fmla="*/ 1009 h 10760"/>
                <a:gd name="connsiteX45" fmla="*/ 3939 w 13047"/>
                <a:gd name="connsiteY45" fmla="*/ 1059 h 10760"/>
                <a:gd name="connsiteX46" fmla="*/ 3893 w 13047"/>
                <a:gd name="connsiteY46" fmla="*/ 879 h 10760"/>
                <a:gd name="connsiteX47" fmla="*/ 4008 w 13047"/>
                <a:gd name="connsiteY47" fmla="*/ 580 h 10760"/>
                <a:gd name="connsiteX48" fmla="*/ 3906 w 13047"/>
                <a:gd name="connsiteY48" fmla="*/ 0 h 10760"/>
                <a:gd name="connsiteX49" fmla="*/ 5204 w 13047"/>
                <a:gd name="connsiteY49" fmla="*/ 195 h 10760"/>
                <a:gd name="connsiteX50" fmla="*/ 6240 w 13047"/>
                <a:gd name="connsiteY50" fmla="*/ 1088 h 10760"/>
                <a:gd name="connsiteX51" fmla="*/ 6500 w 13047"/>
                <a:gd name="connsiteY51" fmla="*/ 1091 h 10760"/>
                <a:gd name="connsiteX52" fmla="*/ 6566 w 13047"/>
                <a:gd name="connsiteY52" fmla="*/ 1196 h 10760"/>
                <a:gd name="connsiteX53" fmla="*/ 6782 w 13047"/>
                <a:gd name="connsiteY53" fmla="*/ 1300 h 10760"/>
                <a:gd name="connsiteX54" fmla="*/ 7223 w 13047"/>
                <a:gd name="connsiteY54" fmla="*/ 1256 h 10760"/>
                <a:gd name="connsiteX55" fmla="*/ 7273 w 13047"/>
                <a:gd name="connsiteY55" fmla="*/ 1745 h 10760"/>
                <a:gd name="connsiteX56" fmla="*/ 7554 w 13047"/>
                <a:gd name="connsiteY56" fmla="*/ 1596 h 10760"/>
                <a:gd name="connsiteX57" fmla="*/ 8069 w 13047"/>
                <a:gd name="connsiteY57" fmla="*/ 1755 h 10760"/>
                <a:gd name="connsiteX58" fmla="*/ 8806 w 13047"/>
                <a:gd name="connsiteY58" fmla="*/ 1218 h 10760"/>
                <a:gd name="connsiteX59" fmla="*/ 9230 w 13047"/>
                <a:gd name="connsiteY59" fmla="*/ 983 h 10760"/>
                <a:gd name="connsiteX60" fmla="*/ 10248 w 13047"/>
                <a:gd name="connsiteY60" fmla="*/ 1065 h 10760"/>
                <a:gd name="connsiteX61" fmla="*/ 10625 w 13047"/>
                <a:gd name="connsiteY61" fmla="*/ 1177 h 10760"/>
                <a:gd name="connsiteX62" fmla="*/ 10951 w 13047"/>
                <a:gd name="connsiteY62" fmla="*/ 721 h 10760"/>
                <a:gd name="connsiteX63" fmla="*/ 11233 w 13047"/>
                <a:gd name="connsiteY63" fmla="*/ 1213 h 10760"/>
                <a:gd name="connsiteX64" fmla="*/ 10845 w 13047"/>
                <a:gd name="connsiteY64" fmla="*/ 1544 h 10760"/>
                <a:gd name="connsiteX65" fmla="*/ 11465 w 13047"/>
                <a:gd name="connsiteY65" fmla="*/ 1477 h 10760"/>
                <a:gd name="connsiteX66" fmla="*/ 12043 w 13047"/>
                <a:gd name="connsiteY66" fmla="*/ 1744 h 10760"/>
                <a:gd name="connsiteX67" fmla="*/ 12498 w 13047"/>
                <a:gd name="connsiteY67" fmla="*/ 4405 h 10760"/>
                <a:gd name="connsiteX68" fmla="*/ 13046 w 13047"/>
                <a:gd name="connsiteY68" fmla="*/ 5293 h 10760"/>
                <a:gd name="connsiteX69" fmla="*/ 12634 w 13047"/>
                <a:gd name="connsiteY69" fmla="*/ 5967 h 10760"/>
                <a:gd name="connsiteX70" fmla="*/ 11251 w 13047"/>
                <a:gd name="connsiteY70" fmla="*/ 6232 h 10760"/>
                <a:gd name="connsiteX71" fmla="*/ 10035 w 13047"/>
                <a:gd name="connsiteY71" fmla="*/ 6788 h 10760"/>
                <a:gd name="connsiteX72" fmla="*/ 9398 w 13047"/>
                <a:gd name="connsiteY72" fmla="*/ 6901 h 10760"/>
                <a:gd name="connsiteX73" fmla="*/ 8869 w 13047"/>
                <a:gd name="connsiteY73" fmla="*/ 7088 h 10760"/>
                <a:gd name="connsiteX74" fmla="*/ 9432 w 13047"/>
                <a:gd name="connsiteY74" fmla="*/ 7238 h 10760"/>
                <a:gd name="connsiteX75" fmla="*/ 9902 w 13047"/>
                <a:gd name="connsiteY75" fmla="*/ 7626 h 10760"/>
                <a:gd name="connsiteX76" fmla="*/ 10277 w 13047"/>
                <a:gd name="connsiteY76" fmla="*/ 8372 h 10760"/>
                <a:gd name="connsiteX77" fmla="*/ 10653 w 13047"/>
                <a:gd name="connsiteY77" fmla="*/ 8342 h 10760"/>
                <a:gd name="connsiteX78" fmla="*/ 11639 w 13047"/>
                <a:gd name="connsiteY78" fmla="*/ 9088 h 10760"/>
                <a:gd name="connsiteX79" fmla="*/ 10465 w 13047"/>
                <a:gd name="connsiteY79" fmla="*/ 9894 h 10760"/>
                <a:gd name="connsiteX80" fmla="*/ 10935 w 13047"/>
                <a:gd name="connsiteY80" fmla="*/ 10491 h 10760"/>
                <a:gd name="connsiteX81" fmla="*/ 10747 w 13047"/>
                <a:gd name="connsiteY81" fmla="*/ 10730 h 10760"/>
                <a:gd name="connsiteX82" fmla="*/ 10465 w 13047"/>
                <a:gd name="connsiteY82" fmla="*/ 10491 h 10760"/>
                <a:gd name="connsiteX83" fmla="*/ 8587 w 13047"/>
                <a:gd name="connsiteY83" fmla="*/ 10461 h 10760"/>
                <a:gd name="connsiteX84" fmla="*/ 8259 w 13047"/>
                <a:gd name="connsiteY84" fmla="*/ 10760 h 10760"/>
                <a:gd name="connsiteX85" fmla="*/ 7695 w 13047"/>
                <a:gd name="connsiteY85" fmla="*/ 10730 h 10760"/>
                <a:gd name="connsiteX0" fmla="*/ 7695 w 13047"/>
                <a:gd name="connsiteY0" fmla="*/ 10730 h 10760"/>
                <a:gd name="connsiteX1" fmla="*/ 7466 w 13047"/>
                <a:gd name="connsiteY1" fmla="*/ 10431 h 10760"/>
                <a:gd name="connsiteX2" fmla="*/ 6858 w 13047"/>
                <a:gd name="connsiteY2" fmla="*/ 10518 h 10760"/>
                <a:gd name="connsiteX3" fmla="*/ 6006 w 13047"/>
                <a:gd name="connsiteY3" fmla="*/ 10515 h 10760"/>
                <a:gd name="connsiteX4" fmla="*/ 5640 w 13047"/>
                <a:gd name="connsiteY4" fmla="*/ 10434 h 10760"/>
                <a:gd name="connsiteX5" fmla="*/ 4484 w 13047"/>
                <a:gd name="connsiteY5" fmla="*/ 10568 h 10760"/>
                <a:gd name="connsiteX6" fmla="*/ 4061 w 13047"/>
                <a:gd name="connsiteY6" fmla="*/ 10253 h 10760"/>
                <a:gd name="connsiteX7" fmla="*/ 3596 w 13047"/>
                <a:gd name="connsiteY7" fmla="*/ 10071 h 10760"/>
                <a:gd name="connsiteX8" fmla="*/ 2804 w 13047"/>
                <a:gd name="connsiteY8" fmla="*/ 10638 h 10760"/>
                <a:gd name="connsiteX9" fmla="*/ 2162 w 13047"/>
                <a:gd name="connsiteY9" fmla="*/ 10261 h 10760"/>
                <a:gd name="connsiteX10" fmla="*/ 2128 w 13047"/>
                <a:gd name="connsiteY10" fmla="*/ 9942 h 10760"/>
                <a:gd name="connsiteX11" fmla="*/ 2292 w 13047"/>
                <a:gd name="connsiteY11" fmla="*/ 8840 h 10760"/>
                <a:gd name="connsiteX12" fmla="*/ 3323 w 13047"/>
                <a:gd name="connsiteY12" fmla="*/ 8284 h 10760"/>
                <a:gd name="connsiteX13" fmla="*/ 2519 w 13047"/>
                <a:gd name="connsiteY13" fmla="*/ 8079 h 10760"/>
                <a:gd name="connsiteX14" fmla="*/ 747 w 13047"/>
                <a:gd name="connsiteY14" fmla="*/ 8018 h 10760"/>
                <a:gd name="connsiteX15" fmla="*/ 596 w 13047"/>
                <a:gd name="connsiteY15" fmla="*/ 7611 h 10760"/>
                <a:gd name="connsiteX16" fmla="*/ 0 w 13047"/>
                <a:gd name="connsiteY16" fmla="*/ 6872 h 10760"/>
                <a:gd name="connsiteX17" fmla="*/ 256 w 13047"/>
                <a:gd name="connsiteY17" fmla="*/ 6827 h 10760"/>
                <a:gd name="connsiteX18" fmla="*/ 765 w 13047"/>
                <a:gd name="connsiteY18" fmla="*/ 6422 h 10760"/>
                <a:gd name="connsiteX19" fmla="*/ 581 w 13047"/>
                <a:gd name="connsiteY19" fmla="*/ 6205 h 10760"/>
                <a:gd name="connsiteX20" fmla="*/ 344 w 13047"/>
                <a:gd name="connsiteY20" fmla="*/ 6058 h 10760"/>
                <a:gd name="connsiteX21" fmla="*/ 301 w 13047"/>
                <a:gd name="connsiteY21" fmla="*/ 5674 h 10760"/>
                <a:gd name="connsiteX22" fmla="*/ 304 w 13047"/>
                <a:gd name="connsiteY22" fmla="*/ 5040 h 10760"/>
                <a:gd name="connsiteX23" fmla="*/ 440 w 13047"/>
                <a:gd name="connsiteY23" fmla="*/ 4655 h 10760"/>
                <a:gd name="connsiteX24" fmla="*/ 1351 w 13047"/>
                <a:gd name="connsiteY24" fmla="*/ 4121 h 10760"/>
                <a:gd name="connsiteX25" fmla="*/ 1742 w 13047"/>
                <a:gd name="connsiteY25" fmla="*/ 3784 h 10760"/>
                <a:gd name="connsiteX26" fmla="*/ 1407 w 13047"/>
                <a:gd name="connsiteY26" fmla="*/ 3358 h 10760"/>
                <a:gd name="connsiteX27" fmla="*/ 1808 w 13047"/>
                <a:gd name="connsiteY27" fmla="*/ 2950 h 10760"/>
                <a:gd name="connsiteX28" fmla="*/ 1827 w 13047"/>
                <a:gd name="connsiteY28" fmla="*/ 2820 h 10760"/>
                <a:gd name="connsiteX29" fmla="*/ 1639 w 13047"/>
                <a:gd name="connsiteY29" fmla="*/ 2790 h 10760"/>
                <a:gd name="connsiteX30" fmla="*/ 1997 w 13047"/>
                <a:gd name="connsiteY30" fmla="*/ 1986 h 10760"/>
                <a:gd name="connsiteX31" fmla="*/ 2646 w 13047"/>
                <a:gd name="connsiteY31" fmla="*/ 1999 h 10760"/>
                <a:gd name="connsiteX32" fmla="*/ 3423 w 13047"/>
                <a:gd name="connsiteY32" fmla="*/ 2461 h 10760"/>
                <a:gd name="connsiteX33" fmla="*/ 2347 w 13047"/>
                <a:gd name="connsiteY33" fmla="*/ 2015 h 10760"/>
                <a:gd name="connsiteX34" fmla="*/ 2658 w 13047"/>
                <a:gd name="connsiteY34" fmla="*/ 2021 h 10760"/>
                <a:gd name="connsiteX35" fmla="*/ 2820 w 13047"/>
                <a:gd name="connsiteY35" fmla="*/ 2083 h 10760"/>
                <a:gd name="connsiteX36" fmla="*/ 3295 w 13047"/>
                <a:gd name="connsiteY36" fmla="*/ 2449 h 10760"/>
                <a:gd name="connsiteX37" fmla="*/ 3493 w 13047"/>
                <a:gd name="connsiteY37" fmla="*/ 2178 h 10760"/>
                <a:gd name="connsiteX38" fmla="*/ 3819 w 13047"/>
                <a:gd name="connsiteY38" fmla="*/ 1886 h 10760"/>
                <a:gd name="connsiteX39" fmla="*/ 3944 w 13047"/>
                <a:gd name="connsiteY39" fmla="*/ 1793 h 10760"/>
                <a:gd name="connsiteX40" fmla="*/ 4644 w 13047"/>
                <a:gd name="connsiteY40" fmla="*/ 1805 h 10760"/>
                <a:gd name="connsiteX41" fmla="*/ 4362 w 13047"/>
                <a:gd name="connsiteY41" fmla="*/ 1835 h 10760"/>
                <a:gd name="connsiteX42" fmla="*/ 4174 w 13047"/>
                <a:gd name="connsiteY42" fmla="*/ 1596 h 10760"/>
                <a:gd name="connsiteX43" fmla="*/ 4157 w 13047"/>
                <a:gd name="connsiteY43" fmla="*/ 1359 h 10760"/>
                <a:gd name="connsiteX44" fmla="*/ 4205 w 13047"/>
                <a:gd name="connsiteY44" fmla="*/ 1009 h 10760"/>
                <a:gd name="connsiteX45" fmla="*/ 3939 w 13047"/>
                <a:gd name="connsiteY45" fmla="*/ 1059 h 10760"/>
                <a:gd name="connsiteX46" fmla="*/ 3893 w 13047"/>
                <a:gd name="connsiteY46" fmla="*/ 879 h 10760"/>
                <a:gd name="connsiteX47" fmla="*/ 4008 w 13047"/>
                <a:gd name="connsiteY47" fmla="*/ 580 h 10760"/>
                <a:gd name="connsiteX48" fmla="*/ 3906 w 13047"/>
                <a:gd name="connsiteY48" fmla="*/ 0 h 10760"/>
                <a:gd name="connsiteX49" fmla="*/ 5204 w 13047"/>
                <a:gd name="connsiteY49" fmla="*/ 195 h 10760"/>
                <a:gd name="connsiteX50" fmla="*/ 6240 w 13047"/>
                <a:gd name="connsiteY50" fmla="*/ 1088 h 10760"/>
                <a:gd name="connsiteX51" fmla="*/ 6500 w 13047"/>
                <a:gd name="connsiteY51" fmla="*/ 1091 h 10760"/>
                <a:gd name="connsiteX52" fmla="*/ 6566 w 13047"/>
                <a:gd name="connsiteY52" fmla="*/ 1196 h 10760"/>
                <a:gd name="connsiteX53" fmla="*/ 6782 w 13047"/>
                <a:gd name="connsiteY53" fmla="*/ 1300 h 10760"/>
                <a:gd name="connsiteX54" fmla="*/ 7223 w 13047"/>
                <a:gd name="connsiteY54" fmla="*/ 1256 h 10760"/>
                <a:gd name="connsiteX55" fmla="*/ 7273 w 13047"/>
                <a:gd name="connsiteY55" fmla="*/ 1745 h 10760"/>
                <a:gd name="connsiteX56" fmla="*/ 7554 w 13047"/>
                <a:gd name="connsiteY56" fmla="*/ 1596 h 10760"/>
                <a:gd name="connsiteX57" fmla="*/ 8069 w 13047"/>
                <a:gd name="connsiteY57" fmla="*/ 1755 h 10760"/>
                <a:gd name="connsiteX58" fmla="*/ 8806 w 13047"/>
                <a:gd name="connsiteY58" fmla="*/ 1218 h 10760"/>
                <a:gd name="connsiteX59" fmla="*/ 9230 w 13047"/>
                <a:gd name="connsiteY59" fmla="*/ 983 h 10760"/>
                <a:gd name="connsiteX60" fmla="*/ 10248 w 13047"/>
                <a:gd name="connsiteY60" fmla="*/ 1065 h 10760"/>
                <a:gd name="connsiteX61" fmla="*/ 10625 w 13047"/>
                <a:gd name="connsiteY61" fmla="*/ 1177 h 10760"/>
                <a:gd name="connsiteX62" fmla="*/ 10951 w 13047"/>
                <a:gd name="connsiteY62" fmla="*/ 721 h 10760"/>
                <a:gd name="connsiteX63" fmla="*/ 11233 w 13047"/>
                <a:gd name="connsiteY63" fmla="*/ 1213 h 10760"/>
                <a:gd name="connsiteX64" fmla="*/ 10845 w 13047"/>
                <a:gd name="connsiteY64" fmla="*/ 1544 h 10760"/>
                <a:gd name="connsiteX65" fmla="*/ 11465 w 13047"/>
                <a:gd name="connsiteY65" fmla="*/ 1477 h 10760"/>
                <a:gd name="connsiteX66" fmla="*/ 12043 w 13047"/>
                <a:gd name="connsiteY66" fmla="*/ 1744 h 10760"/>
                <a:gd name="connsiteX67" fmla="*/ 12498 w 13047"/>
                <a:gd name="connsiteY67" fmla="*/ 4405 h 10760"/>
                <a:gd name="connsiteX68" fmla="*/ 13046 w 13047"/>
                <a:gd name="connsiteY68" fmla="*/ 5293 h 10760"/>
                <a:gd name="connsiteX69" fmla="*/ 12634 w 13047"/>
                <a:gd name="connsiteY69" fmla="*/ 5967 h 10760"/>
                <a:gd name="connsiteX70" fmla="*/ 11251 w 13047"/>
                <a:gd name="connsiteY70" fmla="*/ 6232 h 10760"/>
                <a:gd name="connsiteX71" fmla="*/ 10035 w 13047"/>
                <a:gd name="connsiteY71" fmla="*/ 6788 h 10760"/>
                <a:gd name="connsiteX72" fmla="*/ 9398 w 13047"/>
                <a:gd name="connsiteY72" fmla="*/ 6901 h 10760"/>
                <a:gd name="connsiteX73" fmla="*/ 8869 w 13047"/>
                <a:gd name="connsiteY73" fmla="*/ 7088 h 10760"/>
                <a:gd name="connsiteX74" fmla="*/ 9432 w 13047"/>
                <a:gd name="connsiteY74" fmla="*/ 7238 h 10760"/>
                <a:gd name="connsiteX75" fmla="*/ 9902 w 13047"/>
                <a:gd name="connsiteY75" fmla="*/ 7626 h 10760"/>
                <a:gd name="connsiteX76" fmla="*/ 10277 w 13047"/>
                <a:gd name="connsiteY76" fmla="*/ 8372 h 10760"/>
                <a:gd name="connsiteX77" fmla="*/ 10653 w 13047"/>
                <a:gd name="connsiteY77" fmla="*/ 8342 h 10760"/>
                <a:gd name="connsiteX78" fmla="*/ 11639 w 13047"/>
                <a:gd name="connsiteY78" fmla="*/ 9088 h 10760"/>
                <a:gd name="connsiteX79" fmla="*/ 10465 w 13047"/>
                <a:gd name="connsiteY79" fmla="*/ 9894 h 10760"/>
                <a:gd name="connsiteX80" fmla="*/ 10935 w 13047"/>
                <a:gd name="connsiteY80" fmla="*/ 10491 h 10760"/>
                <a:gd name="connsiteX81" fmla="*/ 10747 w 13047"/>
                <a:gd name="connsiteY81" fmla="*/ 10730 h 10760"/>
                <a:gd name="connsiteX82" fmla="*/ 10465 w 13047"/>
                <a:gd name="connsiteY82" fmla="*/ 10491 h 10760"/>
                <a:gd name="connsiteX83" fmla="*/ 8587 w 13047"/>
                <a:gd name="connsiteY83" fmla="*/ 10461 h 10760"/>
                <a:gd name="connsiteX84" fmla="*/ 8259 w 13047"/>
                <a:gd name="connsiteY84" fmla="*/ 10760 h 10760"/>
                <a:gd name="connsiteX85" fmla="*/ 7695 w 13047"/>
                <a:gd name="connsiteY85" fmla="*/ 10730 h 10760"/>
                <a:gd name="connsiteX0" fmla="*/ 7695 w 13047"/>
                <a:gd name="connsiteY0" fmla="*/ 10730 h 10760"/>
                <a:gd name="connsiteX1" fmla="*/ 7466 w 13047"/>
                <a:gd name="connsiteY1" fmla="*/ 10431 h 10760"/>
                <a:gd name="connsiteX2" fmla="*/ 6858 w 13047"/>
                <a:gd name="connsiteY2" fmla="*/ 10518 h 10760"/>
                <a:gd name="connsiteX3" fmla="*/ 6006 w 13047"/>
                <a:gd name="connsiteY3" fmla="*/ 10515 h 10760"/>
                <a:gd name="connsiteX4" fmla="*/ 5640 w 13047"/>
                <a:gd name="connsiteY4" fmla="*/ 10434 h 10760"/>
                <a:gd name="connsiteX5" fmla="*/ 4401 w 13047"/>
                <a:gd name="connsiteY5" fmla="*/ 10645 h 10760"/>
                <a:gd name="connsiteX6" fmla="*/ 4061 w 13047"/>
                <a:gd name="connsiteY6" fmla="*/ 10253 h 10760"/>
                <a:gd name="connsiteX7" fmla="*/ 3596 w 13047"/>
                <a:gd name="connsiteY7" fmla="*/ 10071 h 10760"/>
                <a:gd name="connsiteX8" fmla="*/ 2804 w 13047"/>
                <a:gd name="connsiteY8" fmla="*/ 10638 h 10760"/>
                <a:gd name="connsiteX9" fmla="*/ 2162 w 13047"/>
                <a:gd name="connsiteY9" fmla="*/ 10261 h 10760"/>
                <a:gd name="connsiteX10" fmla="*/ 2128 w 13047"/>
                <a:gd name="connsiteY10" fmla="*/ 9942 h 10760"/>
                <a:gd name="connsiteX11" fmla="*/ 2292 w 13047"/>
                <a:gd name="connsiteY11" fmla="*/ 8840 h 10760"/>
                <a:gd name="connsiteX12" fmla="*/ 3323 w 13047"/>
                <a:gd name="connsiteY12" fmla="*/ 8284 h 10760"/>
                <a:gd name="connsiteX13" fmla="*/ 2519 w 13047"/>
                <a:gd name="connsiteY13" fmla="*/ 8079 h 10760"/>
                <a:gd name="connsiteX14" fmla="*/ 747 w 13047"/>
                <a:gd name="connsiteY14" fmla="*/ 8018 h 10760"/>
                <a:gd name="connsiteX15" fmla="*/ 596 w 13047"/>
                <a:gd name="connsiteY15" fmla="*/ 7611 h 10760"/>
                <a:gd name="connsiteX16" fmla="*/ 0 w 13047"/>
                <a:gd name="connsiteY16" fmla="*/ 6872 h 10760"/>
                <a:gd name="connsiteX17" fmla="*/ 256 w 13047"/>
                <a:gd name="connsiteY17" fmla="*/ 6827 h 10760"/>
                <a:gd name="connsiteX18" fmla="*/ 765 w 13047"/>
                <a:gd name="connsiteY18" fmla="*/ 6422 h 10760"/>
                <a:gd name="connsiteX19" fmla="*/ 581 w 13047"/>
                <a:gd name="connsiteY19" fmla="*/ 6205 h 10760"/>
                <a:gd name="connsiteX20" fmla="*/ 344 w 13047"/>
                <a:gd name="connsiteY20" fmla="*/ 6058 h 10760"/>
                <a:gd name="connsiteX21" fmla="*/ 301 w 13047"/>
                <a:gd name="connsiteY21" fmla="*/ 5674 h 10760"/>
                <a:gd name="connsiteX22" fmla="*/ 304 w 13047"/>
                <a:gd name="connsiteY22" fmla="*/ 5040 h 10760"/>
                <a:gd name="connsiteX23" fmla="*/ 440 w 13047"/>
                <a:gd name="connsiteY23" fmla="*/ 4655 h 10760"/>
                <a:gd name="connsiteX24" fmla="*/ 1351 w 13047"/>
                <a:gd name="connsiteY24" fmla="*/ 4121 h 10760"/>
                <a:gd name="connsiteX25" fmla="*/ 1742 w 13047"/>
                <a:gd name="connsiteY25" fmla="*/ 3784 h 10760"/>
                <a:gd name="connsiteX26" fmla="*/ 1407 w 13047"/>
                <a:gd name="connsiteY26" fmla="*/ 3358 h 10760"/>
                <a:gd name="connsiteX27" fmla="*/ 1808 w 13047"/>
                <a:gd name="connsiteY27" fmla="*/ 2950 h 10760"/>
                <a:gd name="connsiteX28" fmla="*/ 1827 w 13047"/>
                <a:gd name="connsiteY28" fmla="*/ 2820 h 10760"/>
                <a:gd name="connsiteX29" fmla="*/ 1639 w 13047"/>
                <a:gd name="connsiteY29" fmla="*/ 2790 h 10760"/>
                <a:gd name="connsiteX30" fmla="*/ 1997 w 13047"/>
                <a:gd name="connsiteY30" fmla="*/ 1986 h 10760"/>
                <a:gd name="connsiteX31" fmla="*/ 2646 w 13047"/>
                <a:gd name="connsiteY31" fmla="*/ 1999 h 10760"/>
                <a:gd name="connsiteX32" fmla="*/ 3423 w 13047"/>
                <a:gd name="connsiteY32" fmla="*/ 2461 h 10760"/>
                <a:gd name="connsiteX33" fmla="*/ 2347 w 13047"/>
                <a:gd name="connsiteY33" fmla="*/ 2015 h 10760"/>
                <a:gd name="connsiteX34" fmla="*/ 2658 w 13047"/>
                <a:gd name="connsiteY34" fmla="*/ 2021 h 10760"/>
                <a:gd name="connsiteX35" fmla="*/ 2820 w 13047"/>
                <a:gd name="connsiteY35" fmla="*/ 2083 h 10760"/>
                <a:gd name="connsiteX36" fmla="*/ 3295 w 13047"/>
                <a:gd name="connsiteY36" fmla="*/ 2449 h 10760"/>
                <a:gd name="connsiteX37" fmla="*/ 3493 w 13047"/>
                <a:gd name="connsiteY37" fmla="*/ 2178 h 10760"/>
                <a:gd name="connsiteX38" fmla="*/ 3819 w 13047"/>
                <a:gd name="connsiteY38" fmla="*/ 1886 h 10760"/>
                <a:gd name="connsiteX39" fmla="*/ 3944 w 13047"/>
                <a:gd name="connsiteY39" fmla="*/ 1793 h 10760"/>
                <a:gd name="connsiteX40" fmla="*/ 4644 w 13047"/>
                <a:gd name="connsiteY40" fmla="*/ 1805 h 10760"/>
                <a:gd name="connsiteX41" fmla="*/ 4362 w 13047"/>
                <a:gd name="connsiteY41" fmla="*/ 1835 h 10760"/>
                <a:gd name="connsiteX42" fmla="*/ 4174 w 13047"/>
                <a:gd name="connsiteY42" fmla="*/ 1596 h 10760"/>
                <a:gd name="connsiteX43" fmla="*/ 4157 w 13047"/>
                <a:gd name="connsiteY43" fmla="*/ 1359 h 10760"/>
                <a:gd name="connsiteX44" fmla="*/ 4205 w 13047"/>
                <a:gd name="connsiteY44" fmla="*/ 1009 h 10760"/>
                <a:gd name="connsiteX45" fmla="*/ 3939 w 13047"/>
                <a:gd name="connsiteY45" fmla="*/ 1059 h 10760"/>
                <a:gd name="connsiteX46" fmla="*/ 3893 w 13047"/>
                <a:gd name="connsiteY46" fmla="*/ 879 h 10760"/>
                <a:gd name="connsiteX47" fmla="*/ 4008 w 13047"/>
                <a:gd name="connsiteY47" fmla="*/ 580 h 10760"/>
                <a:gd name="connsiteX48" fmla="*/ 3906 w 13047"/>
                <a:gd name="connsiteY48" fmla="*/ 0 h 10760"/>
                <a:gd name="connsiteX49" fmla="*/ 5204 w 13047"/>
                <a:gd name="connsiteY49" fmla="*/ 195 h 10760"/>
                <a:gd name="connsiteX50" fmla="*/ 6240 w 13047"/>
                <a:gd name="connsiteY50" fmla="*/ 1088 h 10760"/>
                <a:gd name="connsiteX51" fmla="*/ 6500 w 13047"/>
                <a:gd name="connsiteY51" fmla="*/ 1091 h 10760"/>
                <a:gd name="connsiteX52" fmla="*/ 6566 w 13047"/>
                <a:gd name="connsiteY52" fmla="*/ 1196 h 10760"/>
                <a:gd name="connsiteX53" fmla="*/ 6782 w 13047"/>
                <a:gd name="connsiteY53" fmla="*/ 1300 h 10760"/>
                <a:gd name="connsiteX54" fmla="*/ 7223 w 13047"/>
                <a:gd name="connsiteY54" fmla="*/ 1256 h 10760"/>
                <a:gd name="connsiteX55" fmla="*/ 7273 w 13047"/>
                <a:gd name="connsiteY55" fmla="*/ 1745 h 10760"/>
                <a:gd name="connsiteX56" fmla="*/ 7554 w 13047"/>
                <a:gd name="connsiteY56" fmla="*/ 1596 h 10760"/>
                <a:gd name="connsiteX57" fmla="*/ 8069 w 13047"/>
                <a:gd name="connsiteY57" fmla="*/ 1755 h 10760"/>
                <a:gd name="connsiteX58" fmla="*/ 8806 w 13047"/>
                <a:gd name="connsiteY58" fmla="*/ 1218 h 10760"/>
                <a:gd name="connsiteX59" fmla="*/ 9230 w 13047"/>
                <a:gd name="connsiteY59" fmla="*/ 983 h 10760"/>
                <a:gd name="connsiteX60" fmla="*/ 10248 w 13047"/>
                <a:gd name="connsiteY60" fmla="*/ 1065 h 10760"/>
                <a:gd name="connsiteX61" fmla="*/ 10625 w 13047"/>
                <a:gd name="connsiteY61" fmla="*/ 1177 h 10760"/>
                <a:gd name="connsiteX62" fmla="*/ 10951 w 13047"/>
                <a:gd name="connsiteY62" fmla="*/ 721 h 10760"/>
                <a:gd name="connsiteX63" fmla="*/ 11233 w 13047"/>
                <a:gd name="connsiteY63" fmla="*/ 1213 h 10760"/>
                <a:gd name="connsiteX64" fmla="*/ 10845 w 13047"/>
                <a:gd name="connsiteY64" fmla="*/ 1544 h 10760"/>
                <a:gd name="connsiteX65" fmla="*/ 11465 w 13047"/>
                <a:gd name="connsiteY65" fmla="*/ 1477 h 10760"/>
                <a:gd name="connsiteX66" fmla="*/ 12043 w 13047"/>
                <a:gd name="connsiteY66" fmla="*/ 1744 h 10760"/>
                <a:gd name="connsiteX67" fmla="*/ 12498 w 13047"/>
                <a:gd name="connsiteY67" fmla="*/ 4405 h 10760"/>
                <a:gd name="connsiteX68" fmla="*/ 13046 w 13047"/>
                <a:gd name="connsiteY68" fmla="*/ 5293 h 10760"/>
                <a:gd name="connsiteX69" fmla="*/ 12634 w 13047"/>
                <a:gd name="connsiteY69" fmla="*/ 5967 h 10760"/>
                <a:gd name="connsiteX70" fmla="*/ 11251 w 13047"/>
                <a:gd name="connsiteY70" fmla="*/ 6232 h 10760"/>
                <a:gd name="connsiteX71" fmla="*/ 10035 w 13047"/>
                <a:gd name="connsiteY71" fmla="*/ 6788 h 10760"/>
                <a:gd name="connsiteX72" fmla="*/ 9398 w 13047"/>
                <a:gd name="connsiteY72" fmla="*/ 6901 h 10760"/>
                <a:gd name="connsiteX73" fmla="*/ 8869 w 13047"/>
                <a:gd name="connsiteY73" fmla="*/ 7088 h 10760"/>
                <a:gd name="connsiteX74" fmla="*/ 9432 w 13047"/>
                <a:gd name="connsiteY74" fmla="*/ 7238 h 10760"/>
                <a:gd name="connsiteX75" fmla="*/ 9902 w 13047"/>
                <a:gd name="connsiteY75" fmla="*/ 7626 h 10760"/>
                <a:gd name="connsiteX76" fmla="*/ 10277 w 13047"/>
                <a:gd name="connsiteY76" fmla="*/ 8372 h 10760"/>
                <a:gd name="connsiteX77" fmla="*/ 10653 w 13047"/>
                <a:gd name="connsiteY77" fmla="*/ 8342 h 10760"/>
                <a:gd name="connsiteX78" fmla="*/ 11639 w 13047"/>
                <a:gd name="connsiteY78" fmla="*/ 9088 h 10760"/>
                <a:gd name="connsiteX79" fmla="*/ 10465 w 13047"/>
                <a:gd name="connsiteY79" fmla="*/ 9894 h 10760"/>
                <a:gd name="connsiteX80" fmla="*/ 10935 w 13047"/>
                <a:gd name="connsiteY80" fmla="*/ 10491 h 10760"/>
                <a:gd name="connsiteX81" fmla="*/ 10747 w 13047"/>
                <a:gd name="connsiteY81" fmla="*/ 10730 h 10760"/>
                <a:gd name="connsiteX82" fmla="*/ 10465 w 13047"/>
                <a:gd name="connsiteY82" fmla="*/ 10491 h 10760"/>
                <a:gd name="connsiteX83" fmla="*/ 8587 w 13047"/>
                <a:gd name="connsiteY83" fmla="*/ 10461 h 10760"/>
                <a:gd name="connsiteX84" fmla="*/ 8259 w 13047"/>
                <a:gd name="connsiteY84" fmla="*/ 10760 h 10760"/>
                <a:gd name="connsiteX85" fmla="*/ 7695 w 13047"/>
                <a:gd name="connsiteY85" fmla="*/ 10730 h 1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47" h="10760">
                  <a:moveTo>
                    <a:pt x="7695" y="10730"/>
                  </a:moveTo>
                  <a:cubicBezTo>
                    <a:pt x="7556" y="10641"/>
                    <a:pt x="7606" y="10466"/>
                    <a:pt x="7466" y="10431"/>
                  </a:cubicBezTo>
                  <a:lnTo>
                    <a:pt x="6858" y="10518"/>
                  </a:lnTo>
                  <a:lnTo>
                    <a:pt x="6006" y="10515"/>
                  </a:lnTo>
                  <a:lnTo>
                    <a:pt x="5640" y="10434"/>
                  </a:lnTo>
                  <a:lnTo>
                    <a:pt x="4401" y="10645"/>
                  </a:lnTo>
                  <a:lnTo>
                    <a:pt x="4061" y="10253"/>
                  </a:lnTo>
                  <a:cubicBezTo>
                    <a:pt x="4092" y="10313"/>
                    <a:pt x="3565" y="10011"/>
                    <a:pt x="3596" y="10071"/>
                  </a:cubicBezTo>
                  <a:lnTo>
                    <a:pt x="2804" y="10638"/>
                  </a:lnTo>
                  <a:cubicBezTo>
                    <a:pt x="2788" y="10409"/>
                    <a:pt x="2178" y="10490"/>
                    <a:pt x="2162" y="10261"/>
                  </a:cubicBezTo>
                  <a:cubicBezTo>
                    <a:pt x="2151" y="10155"/>
                    <a:pt x="2139" y="10048"/>
                    <a:pt x="2128" y="9942"/>
                  </a:cubicBezTo>
                  <a:cubicBezTo>
                    <a:pt x="2279" y="9566"/>
                    <a:pt x="2237" y="9207"/>
                    <a:pt x="2292" y="8840"/>
                  </a:cubicBezTo>
                  <a:cubicBezTo>
                    <a:pt x="2135" y="9034"/>
                    <a:pt x="3560" y="8109"/>
                    <a:pt x="3323" y="8284"/>
                  </a:cubicBezTo>
                  <a:lnTo>
                    <a:pt x="2519" y="8079"/>
                  </a:lnTo>
                  <a:lnTo>
                    <a:pt x="747" y="8018"/>
                  </a:lnTo>
                  <a:cubicBezTo>
                    <a:pt x="697" y="7882"/>
                    <a:pt x="646" y="7747"/>
                    <a:pt x="596" y="7611"/>
                  </a:cubicBezTo>
                  <a:lnTo>
                    <a:pt x="0" y="6872"/>
                  </a:lnTo>
                  <a:cubicBezTo>
                    <a:pt x="63" y="6683"/>
                    <a:pt x="193" y="7016"/>
                    <a:pt x="256" y="6827"/>
                  </a:cubicBezTo>
                  <a:cubicBezTo>
                    <a:pt x="186" y="6692"/>
                    <a:pt x="835" y="6557"/>
                    <a:pt x="765" y="6422"/>
                  </a:cubicBezTo>
                  <a:lnTo>
                    <a:pt x="581" y="6205"/>
                  </a:lnTo>
                  <a:lnTo>
                    <a:pt x="344" y="6058"/>
                  </a:lnTo>
                  <a:cubicBezTo>
                    <a:pt x="330" y="5930"/>
                    <a:pt x="315" y="5802"/>
                    <a:pt x="301" y="5674"/>
                  </a:cubicBezTo>
                  <a:cubicBezTo>
                    <a:pt x="259" y="5635"/>
                    <a:pt x="260" y="4972"/>
                    <a:pt x="304" y="5040"/>
                  </a:cubicBezTo>
                  <a:cubicBezTo>
                    <a:pt x="252" y="5028"/>
                    <a:pt x="402" y="4882"/>
                    <a:pt x="440" y="4655"/>
                  </a:cubicBezTo>
                  <a:cubicBezTo>
                    <a:pt x="409" y="4575"/>
                    <a:pt x="1382" y="4201"/>
                    <a:pt x="1351" y="4121"/>
                  </a:cubicBezTo>
                  <a:lnTo>
                    <a:pt x="1742" y="3784"/>
                  </a:lnTo>
                  <a:lnTo>
                    <a:pt x="1407" y="3358"/>
                  </a:lnTo>
                  <a:lnTo>
                    <a:pt x="1808" y="2950"/>
                  </a:lnTo>
                  <a:cubicBezTo>
                    <a:pt x="1878" y="2860"/>
                    <a:pt x="1855" y="2847"/>
                    <a:pt x="1827" y="2820"/>
                  </a:cubicBezTo>
                  <a:lnTo>
                    <a:pt x="1639" y="2790"/>
                  </a:lnTo>
                  <a:lnTo>
                    <a:pt x="1997" y="1986"/>
                  </a:lnTo>
                  <a:lnTo>
                    <a:pt x="2646" y="1999"/>
                  </a:lnTo>
                  <a:cubicBezTo>
                    <a:pt x="3015" y="2143"/>
                    <a:pt x="3164" y="2307"/>
                    <a:pt x="3423" y="2461"/>
                  </a:cubicBezTo>
                  <a:lnTo>
                    <a:pt x="2347" y="2015"/>
                  </a:lnTo>
                  <a:cubicBezTo>
                    <a:pt x="2331" y="2045"/>
                    <a:pt x="2674" y="1991"/>
                    <a:pt x="2658" y="2021"/>
                  </a:cubicBezTo>
                  <a:lnTo>
                    <a:pt x="2820" y="2083"/>
                  </a:lnTo>
                  <a:cubicBezTo>
                    <a:pt x="2978" y="2205"/>
                    <a:pt x="2982" y="2111"/>
                    <a:pt x="3295" y="2449"/>
                  </a:cubicBezTo>
                  <a:cubicBezTo>
                    <a:pt x="3224" y="2235"/>
                    <a:pt x="3564" y="2392"/>
                    <a:pt x="3493" y="2178"/>
                  </a:cubicBezTo>
                  <a:lnTo>
                    <a:pt x="3819" y="1886"/>
                  </a:lnTo>
                  <a:lnTo>
                    <a:pt x="3944" y="1793"/>
                  </a:lnTo>
                  <a:lnTo>
                    <a:pt x="4644" y="1805"/>
                  </a:lnTo>
                  <a:lnTo>
                    <a:pt x="4362" y="1835"/>
                  </a:lnTo>
                  <a:lnTo>
                    <a:pt x="4174" y="1596"/>
                  </a:lnTo>
                  <a:cubicBezTo>
                    <a:pt x="4168" y="1517"/>
                    <a:pt x="4163" y="1438"/>
                    <a:pt x="4157" y="1359"/>
                  </a:cubicBezTo>
                  <a:cubicBezTo>
                    <a:pt x="4210" y="1239"/>
                    <a:pt x="4152" y="1129"/>
                    <a:pt x="4205" y="1009"/>
                  </a:cubicBezTo>
                  <a:lnTo>
                    <a:pt x="3939" y="1059"/>
                  </a:lnTo>
                  <a:cubicBezTo>
                    <a:pt x="3924" y="999"/>
                    <a:pt x="3908" y="939"/>
                    <a:pt x="3893" y="879"/>
                  </a:cubicBezTo>
                  <a:cubicBezTo>
                    <a:pt x="3931" y="779"/>
                    <a:pt x="3970" y="680"/>
                    <a:pt x="4008" y="580"/>
                  </a:cubicBezTo>
                  <a:lnTo>
                    <a:pt x="3906" y="0"/>
                  </a:lnTo>
                  <a:lnTo>
                    <a:pt x="5204" y="195"/>
                  </a:lnTo>
                  <a:lnTo>
                    <a:pt x="6240" y="1088"/>
                  </a:lnTo>
                  <a:cubicBezTo>
                    <a:pt x="6271" y="1188"/>
                    <a:pt x="6469" y="991"/>
                    <a:pt x="6500" y="1091"/>
                  </a:cubicBezTo>
                  <a:lnTo>
                    <a:pt x="6566" y="1196"/>
                  </a:lnTo>
                  <a:cubicBezTo>
                    <a:pt x="6660" y="1176"/>
                    <a:pt x="6688" y="1320"/>
                    <a:pt x="6782" y="1300"/>
                  </a:cubicBezTo>
                  <a:lnTo>
                    <a:pt x="7223" y="1256"/>
                  </a:lnTo>
                  <a:cubicBezTo>
                    <a:pt x="7247" y="1393"/>
                    <a:pt x="7249" y="1608"/>
                    <a:pt x="7273" y="1745"/>
                  </a:cubicBezTo>
                  <a:lnTo>
                    <a:pt x="7554" y="1596"/>
                  </a:lnTo>
                  <a:cubicBezTo>
                    <a:pt x="7617" y="1705"/>
                    <a:pt x="8006" y="1646"/>
                    <a:pt x="8069" y="1755"/>
                  </a:cubicBezTo>
                  <a:cubicBezTo>
                    <a:pt x="7855" y="1911"/>
                    <a:pt x="9056" y="1082"/>
                    <a:pt x="8806" y="1218"/>
                  </a:cubicBezTo>
                  <a:lnTo>
                    <a:pt x="9230" y="983"/>
                  </a:lnTo>
                  <a:cubicBezTo>
                    <a:pt x="9199" y="1122"/>
                    <a:pt x="10279" y="926"/>
                    <a:pt x="10248" y="1065"/>
                  </a:cubicBezTo>
                  <a:lnTo>
                    <a:pt x="10625" y="1177"/>
                  </a:lnTo>
                  <a:cubicBezTo>
                    <a:pt x="10603" y="1137"/>
                    <a:pt x="10956" y="671"/>
                    <a:pt x="10951" y="721"/>
                  </a:cubicBezTo>
                  <a:cubicBezTo>
                    <a:pt x="10975" y="746"/>
                    <a:pt x="11919" y="799"/>
                    <a:pt x="11233" y="1213"/>
                  </a:cubicBezTo>
                  <a:lnTo>
                    <a:pt x="10845" y="1544"/>
                  </a:lnTo>
                  <a:cubicBezTo>
                    <a:pt x="10882" y="1546"/>
                    <a:pt x="11469" y="1517"/>
                    <a:pt x="11465" y="1477"/>
                  </a:cubicBezTo>
                  <a:cubicBezTo>
                    <a:pt x="11457" y="1424"/>
                    <a:pt x="11987" y="1803"/>
                    <a:pt x="12043" y="1744"/>
                  </a:cubicBezTo>
                  <a:cubicBezTo>
                    <a:pt x="12074" y="1833"/>
                    <a:pt x="12467" y="4316"/>
                    <a:pt x="12498" y="4405"/>
                  </a:cubicBezTo>
                  <a:cubicBezTo>
                    <a:pt x="12465" y="4484"/>
                    <a:pt x="13079" y="5214"/>
                    <a:pt x="13046" y="5293"/>
                  </a:cubicBezTo>
                  <a:cubicBezTo>
                    <a:pt x="13077" y="5532"/>
                    <a:pt x="12603" y="5728"/>
                    <a:pt x="12634" y="5967"/>
                  </a:cubicBezTo>
                  <a:cubicBezTo>
                    <a:pt x="12173" y="6055"/>
                    <a:pt x="11203" y="6215"/>
                    <a:pt x="11251" y="6232"/>
                  </a:cubicBezTo>
                  <a:cubicBezTo>
                    <a:pt x="11192" y="6231"/>
                    <a:pt x="10077" y="6699"/>
                    <a:pt x="10035" y="6788"/>
                  </a:cubicBezTo>
                  <a:lnTo>
                    <a:pt x="9398" y="6901"/>
                  </a:lnTo>
                  <a:lnTo>
                    <a:pt x="8869" y="7088"/>
                  </a:lnTo>
                  <a:lnTo>
                    <a:pt x="9432" y="7238"/>
                  </a:lnTo>
                  <a:lnTo>
                    <a:pt x="9902" y="7626"/>
                  </a:lnTo>
                  <a:lnTo>
                    <a:pt x="10277" y="8372"/>
                  </a:lnTo>
                  <a:lnTo>
                    <a:pt x="10653" y="8342"/>
                  </a:lnTo>
                  <a:lnTo>
                    <a:pt x="11639" y="9088"/>
                  </a:lnTo>
                  <a:lnTo>
                    <a:pt x="10465" y="9894"/>
                  </a:lnTo>
                  <a:lnTo>
                    <a:pt x="10935" y="10491"/>
                  </a:lnTo>
                  <a:lnTo>
                    <a:pt x="10747" y="10730"/>
                  </a:lnTo>
                  <a:lnTo>
                    <a:pt x="10465" y="10491"/>
                  </a:lnTo>
                  <a:lnTo>
                    <a:pt x="8587" y="10461"/>
                  </a:lnTo>
                  <a:lnTo>
                    <a:pt x="8259" y="10760"/>
                  </a:lnTo>
                  <a:lnTo>
                    <a:pt x="7695" y="10730"/>
                  </a:lnTo>
                  <a:close/>
                </a:path>
              </a:pathLst>
            </a:custGeom>
            <a:solidFill>
              <a:srgbClr val="1F497D"/>
            </a:solidFill>
            <a:ln w="3175" cap="flat" cmpd="sng" algn="ctr">
              <a:solidFill>
                <a:sysClr val="window" lastClr="FFFFFF"/>
              </a:solidFill>
              <a:prstDash val="solid"/>
              <a:headEnd type="none" w="med" len="med"/>
              <a:tailEnd type="none" w="med" len="med"/>
            </a:ln>
            <a:effectLst/>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endParaRPr lang="en-GB" kern="0" dirty="0">
                <a:solidFill>
                  <a:prstClr val="black"/>
                </a:solidFill>
                <a:latin typeface="Arial"/>
              </a:endParaRPr>
            </a:p>
          </p:txBody>
        </p:sp>
      </p:grpSp>
      <p:sp>
        <p:nvSpPr>
          <p:cNvPr id="131" name="Title 1"/>
          <p:cNvSpPr txBox="1">
            <a:spLocks/>
          </p:cNvSpPr>
          <p:nvPr/>
        </p:nvSpPr>
        <p:spPr>
          <a:xfrm>
            <a:off x="631372" y="836712"/>
            <a:ext cx="1064948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200" dirty="0" smtClean="0">
                <a:solidFill>
                  <a:srgbClr val="000000"/>
                </a:solidFill>
                <a:latin typeface="Calibri" panose="020F0502020204030204"/>
              </a:rPr>
              <a:t>Involved Parties – TSOs only</a:t>
            </a:r>
            <a:endParaRPr lang="en-US" sz="2200" dirty="0">
              <a:solidFill>
                <a:srgbClr val="000000"/>
              </a:solidFill>
              <a:latin typeface="Calibri" panose="020F0502020204030204"/>
            </a:endParaRPr>
          </a:p>
        </p:txBody>
      </p:sp>
      <p:graphicFrame>
        <p:nvGraphicFramePr>
          <p:cNvPr id="7" name="Table 6"/>
          <p:cNvGraphicFramePr>
            <a:graphicFrameLocks noGrp="1"/>
          </p:cNvGraphicFramePr>
          <p:nvPr>
            <p:extLst>
              <p:ext uri="{D42A27DB-BD31-4B8C-83A1-F6EECF244321}">
                <p14:modId xmlns:p14="http://schemas.microsoft.com/office/powerpoint/2010/main" val="4147657367"/>
              </p:ext>
            </p:extLst>
          </p:nvPr>
        </p:nvGraphicFramePr>
        <p:xfrm>
          <a:off x="680975" y="1867382"/>
          <a:ext cx="4032000" cy="4078984"/>
        </p:xfrm>
        <a:graphic>
          <a:graphicData uri="http://schemas.openxmlformats.org/drawingml/2006/table">
            <a:tbl>
              <a:tblPr firstRow="1" bandRow="1">
                <a:tableStyleId>{C4B1156A-380E-4F78-BDF5-A606A8083BF9}</a:tableStyleId>
              </a:tblPr>
              <a:tblGrid>
                <a:gridCol w="1008000"/>
                <a:gridCol w="1008000"/>
                <a:gridCol w="1008000"/>
                <a:gridCol w="1008000"/>
              </a:tblGrid>
              <a:tr h="290908">
                <a:tc gridSpan="4">
                  <a:txBody>
                    <a:bodyPr/>
                    <a:lstStyle/>
                    <a:p>
                      <a:pPr algn="ctr"/>
                      <a:r>
                        <a:rPr lang="sk-SK" dirty="0" smtClean="0">
                          <a:solidFill>
                            <a:schemeClr val="bg1"/>
                          </a:solidFill>
                        </a:rPr>
                        <a:t>MEMBERS </a:t>
                      </a:r>
                      <a:r>
                        <a:rPr lang="sk-SK" sz="1200" b="0" dirty="0" smtClean="0">
                          <a:solidFill>
                            <a:schemeClr val="bg1"/>
                          </a:solidFill>
                        </a:rPr>
                        <a:t>(25 </a:t>
                      </a:r>
                      <a:r>
                        <a:rPr lang="sk-SK" sz="1200" b="0" dirty="0" err="1" smtClean="0">
                          <a:solidFill>
                            <a:schemeClr val="bg1"/>
                          </a:solidFill>
                        </a:rPr>
                        <a:t>TSOs</a:t>
                      </a:r>
                      <a:r>
                        <a:rPr lang="sk-SK" sz="1200" b="0" dirty="0" smtClean="0">
                          <a:solidFill>
                            <a:schemeClr val="bg1"/>
                          </a:solidFill>
                        </a:rPr>
                        <a:t>)</a:t>
                      </a:r>
                      <a:endParaRPr lang="sk-SK" sz="1200" b="0" dirty="0">
                        <a:solidFill>
                          <a:schemeClr val="bg1"/>
                        </a:solidFill>
                      </a:endParaRPr>
                    </a:p>
                  </a:txBody>
                  <a:tcPr>
                    <a:solidFill>
                      <a:srgbClr val="1F497D"/>
                    </a:solidFill>
                  </a:tcPr>
                </a:tc>
                <a:tc hMerge="1">
                  <a:txBody>
                    <a:bodyPr/>
                    <a:lstStyle/>
                    <a:p>
                      <a:endParaRPr lang="sk-SK"/>
                    </a:p>
                  </a:txBody>
                  <a:tcPr/>
                </a:tc>
                <a:tc hMerge="1">
                  <a:txBody>
                    <a:bodyPr/>
                    <a:lstStyle/>
                    <a:p>
                      <a:endParaRPr lang="sk-SK"/>
                    </a:p>
                  </a:txBody>
                  <a:tcPr/>
                </a:tc>
                <a:tc hMerge="1">
                  <a:txBody>
                    <a:bodyPr/>
                    <a:lstStyle/>
                    <a:p>
                      <a:endParaRPr lang="sk-SK"/>
                    </a:p>
                  </a:txBody>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Austria</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dirty="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Latvia</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Belgium</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Lithuania</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Czech Republic</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Norway</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Denmark</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Netherlands</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Estonia</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Portugal</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Finland</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Poland</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France</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Romania</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rowSpan="4">
                  <a:txBody>
                    <a:bodyPr/>
                    <a:lstStyle/>
                    <a:p>
                      <a:pPr marL="0" algn="l" defTabSz="685800" rtl="0" eaLnBrk="1" latinLnBrk="0" hangingPunct="1">
                        <a:lnSpc>
                          <a:spcPts val="1300"/>
                        </a:lnSpc>
                      </a:pPr>
                      <a:r>
                        <a:rPr lang="sk-SK" sz="1100" kern="1200" cap="small">
                          <a:solidFill>
                            <a:schemeClr val="dk1"/>
                          </a:solidFill>
                          <a:latin typeface="+mn-lt"/>
                          <a:ea typeface="+mn-ea"/>
                          <a:cs typeface="+mn-cs"/>
                        </a:rPr>
                        <a:t>Germany</a:t>
                      </a:r>
                    </a:p>
                  </a:txBody>
                  <a:tcPr marL="36000" marR="36000" marT="36000" marB="36000" anchor="ctr"/>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Slovenia</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vMerge="1">
                  <a:txBody>
                    <a:bodyPr/>
                    <a:lstStyle/>
                    <a:p>
                      <a:endParaRPr lang="sk-SK"/>
                    </a:p>
                  </a:txBody>
                  <a:tcPr/>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Spain</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vMerge="1">
                  <a:txBody>
                    <a:bodyPr/>
                    <a:lstStyle/>
                    <a:p>
                      <a:endParaRPr lang="sk-SK"/>
                    </a:p>
                  </a:txBody>
                  <a:tcPr/>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Sweden</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vMerge="1">
                  <a:txBody>
                    <a:bodyPr/>
                    <a:lstStyle/>
                    <a:p>
                      <a:endParaRPr lang="sk-SK"/>
                    </a:p>
                  </a:txBody>
                  <a:tcPr/>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Switzerland</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Greece</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c>
                  <a:txBody>
                    <a:bodyPr/>
                    <a:lstStyle/>
                    <a:p>
                      <a:pPr marL="0" algn="l" defTabSz="685800" rtl="0" eaLnBrk="1" latinLnBrk="0" hangingPunct="1">
                        <a:lnSpc>
                          <a:spcPts val="1300"/>
                        </a:lnSpc>
                      </a:pPr>
                      <a:r>
                        <a:rPr lang="sk-SK" sz="1100" kern="1200" cap="small" smtClean="0">
                          <a:solidFill>
                            <a:schemeClr val="dk1"/>
                          </a:solidFill>
                          <a:latin typeface="+mn-lt"/>
                          <a:ea typeface="+mn-ea"/>
                          <a:cs typeface="+mn-cs"/>
                        </a:rPr>
                        <a:t>United Kingdom</a:t>
                      </a:r>
                      <a:endParaRPr lang="sk-SK" sz="1100" kern="1200" cap="small">
                        <a:solidFill>
                          <a:schemeClr val="dk1"/>
                        </a:solidFill>
                        <a:latin typeface="+mn-lt"/>
                        <a:ea typeface="+mn-ea"/>
                        <a:cs typeface="+mn-cs"/>
                      </a:endParaRPr>
                    </a:p>
                  </a:txBody>
                  <a:tcPr marL="36000" marR="36000" marT="36000" marB="36000"/>
                </a:tc>
                <a:tc>
                  <a:txBody>
                    <a:bodyPr/>
                    <a:lstStyle/>
                    <a:p>
                      <a:endParaRPr lang="sk-SK" sz="1100"/>
                    </a:p>
                  </a:txBody>
                  <a:tcPr marL="36000" marR="36000" marT="36000" marB="36000">
                    <a:noFill/>
                  </a:tcPr>
                </a:tc>
              </a:tr>
              <a:tr h="290908">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sk-SK" sz="1100" kern="1200" cap="small" smtClean="0">
                          <a:solidFill>
                            <a:schemeClr val="dk1"/>
                          </a:solidFill>
                          <a:latin typeface="+mn-lt"/>
                          <a:ea typeface="+mn-ea"/>
                          <a:cs typeface="+mn-cs"/>
                        </a:rPr>
                        <a:t>Italy</a:t>
                      </a:r>
                    </a:p>
                  </a:txBody>
                  <a:tcPr marL="36000" marR="36000" marT="36000" marB="36000"/>
                </a:tc>
                <a:tc>
                  <a:txBody>
                    <a:bodyPr/>
                    <a:lstStyle/>
                    <a:p>
                      <a:endParaRPr lang="sk-SK" sz="1100"/>
                    </a:p>
                  </a:txBody>
                  <a:tcPr marL="36000" marR="36000" marT="36000" marB="36000">
                    <a:noFill/>
                  </a:tcPr>
                </a:tc>
                <a:tc gridSpan="2">
                  <a:txBody>
                    <a:bodyPr/>
                    <a:lstStyle/>
                    <a:p>
                      <a:endParaRPr lang="sk-SK" sz="1100" dirty="0"/>
                    </a:p>
                  </a:txBody>
                  <a:tcPr marL="36000" marR="36000" marT="36000" marB="36000">
                    <a:lnR w="12700" cmpd="sng">
                      <a:noFill/>
                    </a:lnR>
                    <a:lnB w="12700" cmpd="sng">
                      <a:noFill/>
                    </a:lnB>
                    <a:noFill/>
                  </a:tcPr>
                </a:tc>
                <a:tc hMerge="1">
                  <a:txBody>
                    <a:bodyPr/>
                    <a:lstStyle/>
                    <a:p>
                      <a:endParaRPr lang="sk-SK" sz="1100"/>
                    </a:p>
                  </a:txBody>
                  <a:tcPr marL="36000" marR="36000" marT="36000" marB="36000">
                    <a:lnR w="12700" cmpd="sng">
                      <a:noFill/>
                    </a:lnR>
                    <a:noFill/>
                  </a:tcPr>
                </a:tc>
              </a:tr>
            </a:tbl>
          </a:graphicData>
        </a:graphic>
      </p:graphicFrame>
      <p:pic>
        <p:nvPicPr>
          <p:cNvPr id="231" name="Obrázek 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9043" y="2205080"/>
            <a:ext cx="316386" cy="205483"/>
          </a:xfrm>
          <a:prstGeom prst="rect">
            <a:avLst/>
          </a:prstGeom>
          <a:noFill/>
          <a:ln>
            <a:noFill/>
          </a:ln>
        </p:spPr>
      </p:pic>
      <p:pic>
        <p:nvPicPr>
          <p:cNvPr id="232" name="Picture 231" descr="elia_logo"/>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39948" y="2532054"/>
            <a:ext cx="514575" cy="181099"/>
          </a:xfrm>
          <a:prstGeom prst="rect">
            <a:avLst/>
          </a:prstGeom>
          <a:noFill/>
          <a:extLst/>
        </p:spPr>
      </p:pic>
      <p:pic>
        <p:nvPicPr>
          <p:cNvPr id="233" name="Picture 232"/>
          <p:cNvPicPr/>
          <p:nvPr/>
        </p:nvPicPr>
        <p:blipFill>
          <a:blip r:embed="rId4" cstate="print">
            <a:extLst>
              <a:ext uri="{28A0092B-C50C-407E-A947-70E740481C1C}">
                <a14:useLocalDpi xmlns:a14="http://schemas.microsoft.com/office/drawing/2010/main" val="0"/>
              </a:ext>
            </a:extLst>
          </a:blip>
          <a:stretch>
            <a:fillRect/>
          </a:stretch>
        </p:blipFill>
        <p:spPr>
          <a:xfrm>
            <a:off x="1939948" y="2779901"/>
            <a:ext cx="534065" cy="217229"/>
          </a:xfrm>
          <a:prstGeom prst="rect">
            <a:avLst/>
          </a:prstGeom>
        </p:spPr>
      </p:pic>
      <p:pic>
        <p:nvPicPr>
          <p:cNvPr id="234" name="Grafik 5"/>
          <p:cNvPicPr/>
          <p:nvPr/>
        </p:nvPicPr>
        <p:blipFill>
          <a:blip r:embed="rId5" cstate="print">
            <a:extLst>
              <a:ext uri="{28A0092B-C50C-407E-A947-70E740481C1C}">
                <a14:useLocalDpi xmlns:a14="http://schemas.microsoft.com/office/drawing/2010/main" val="0"/>
              </a:ext>
            </a:extLst>
          </a:blip>
          <a:stretch>
            <a:fillRect/>
          </a:stretch>
        </p:blipFill>
        <p:spPr>
          <a:xfrm>
            <a:off x="1890051" y="3703933"/>
            <a:ext cx="664337" cy="120250"/>
          </a:xfrm>
          <a:prstGeom prst="rect">
            <a:avLst/>
          </a:prstGeom>
        </p:spPr>
      </p:pic>
      <p:pic>
        <p:nvPicPr>
          <p:cNvPr id="235" name="Picture 234"/>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77943" y="3146347"/>
            <a:ext cx="838583" cy="99861"/>
          </a:xfrm>
          <a:prstGeom prst="rect">
            <a:avLst/>
          </a:prstGeom>
          <a:noFill/>
          <a:ln>
            <a:noFill/>
          </a:ln>
          <a:extLst/>
        </p:spPr>
      </p:pic>
      <p:pic>
        <p:nvPicPr>
          <p:cNvPr id="236" name="Picture 235" descr="TransnetBW_Logo_Panton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45753" y="5152602"/>
            <a:ext cx="902959" cy="107010"/>
          </a:xfrm>
          <a:prstGeom prst="rect">
            <a:avLst/>
          </a:prstGeom>
          <a:noFill/>
          <a:ln>
            <a:noFill/>
          </a:ln>
          <a:extLst/>
        </p:spPr>
      </p:pic>
      <p:pic>
        <p:nvPicPr>
          <p:cNvPr id="237" name="Picture 236" descr="Amprion_RGB_CO_50mm"/>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72944" y="4542260"/>
            <a:ext cx="479059" cy="200972"/>
          </a:xfrm>
          <a:prstGeom prst="rect">
            <a:avLst/>
          </a:prstGeom>
          <a:noFill/>
          <a:ln>
            <a:noFill/>
          </a:ln>
          <a:extLst/>
        </p:spPr>
      </p:pic>
      <p:pic>
        <p:nvPicPr>
          <p:cNvPr id="238" name="Picture 237" descr="Tennet_Logo"/>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18904" y="4857040"/>
            <a:ext cx="707553" cy="148961"/>
          </a:xfrm>
          <a:prstGeom prst="rect">
            <a:avLst/>
          </a:prstGeom>
          <a:noFill/>
          <a:ln>
            <a:noFill/>
          </a:ln>
          <a:extLst/>
        </p:spPr>
      </p:pic>
      <p:pic>
        <p:nvPicPr>
          <p:cNvPr id="239" name="Picture 238" descr="50hertzlogo_RGB"/>
          <p:cNvPicPr/>
          <p:nvPr/>
        </p:nvPicPr>
        <p:blipFill rotWithShape="1">
          <a:blip r:embed="rId10" cstate="print">
            <a:extLst>
              <a:ext uri="{28A0092B-C50C-407E-A947-70E740481C1C}">
                <a14:useLocalDpi xmlns:a14="http://schemas.microsoft.com/office/drawing/2010/main" val="0"/>
              </a:ext>
            </a:extLst>
          </a:blip>
          <a:srcRect l="7296" b="14322"/>
          <a:stretch/>
        </p:blipFill>
        <p:spPr bwMode="auto">
          <a:xfrm>
            <a:off x="1845110" y="4236777"/>
            <a:ext cx="655142" cy="225521"/>
          </a:xfrm>
          <a:prstGeom prst="rect">
            <a:avLst/>
          </a:prstGeom>
          <a:noFill/>
          <a:ln>
            <a:noFill/>
          </a:ln>
          <a:extLst>
            <a:ext uri="{53640926-AAD7-44D8-BBD7-CCE9431645EC}">
              <a14:shadowObscured xmlns:a14="http://schemas.microsoft.com/office/drawing/2010/main"/>
            </a:ext>
          </a:extLst>
        </p:spPr>
      </p:pic>
      <p:pic>
        <p:nvPicPr>
          <p:cNvPr id="240" name="Picture 239"/>
          <p:cNvPicPr/>
          <p:nvPr/>
        </p:nvPicPr>
        <p:blipFill rotWithShape="1">
          <a:blip r:embed="rId11" cstate="print">
            <a:clrChange>
              <a:clrFrom>
                <a:srgbClr val="FFFFFF"/>
              </a:clrFrom>
              <a:clrTo>
                <a:srgbClr val="FFFFFF">
                  <a:alpha val="0"/>
                </a:srgbClr>
              </a:clrTo>
            </a:clrChange>
          </a:blip>
          <a:srcRect l="-1641" t="7138" r="5736" b="7138"/>
          <a:stretch/>
        </p:blipFill>
        <p:spPr bwMode="auto">
          <a:xfrm>
            <a:off x="3733570" y="5417185"/>
            <a:ext cx="903407" cy="188489"/>
          </a:xfrm>
          <a:prstGeom prst="rect">
            <a:avLst/>
          </a:prstGeom>
          <a:noFill/>
          <a:ln w="9525">
            <a:noFill/>
            <a:miter lim="800000"/>
            <a:headEnd/>
            <a:tailEnd/>
          </a:ln>
        </p:spPr>
      </p:pic>
      <p:pic>
        <p:nvPicPr>
          <p:cNvPr id="241" name="Picture 240"/>
          <p:cNvPicPr/>
          <p:nvPr/>
        </p:nvPicPr>
        <p:blipFill>
          <a:blip r:embed="rId1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1945960" y="5706429"/>
            <a:ext cx="506043" cy="186612"/>
          </a:xfrm>
          <a:prstGeom prst="rect">
            <a:avLst/>
          </a:prstGeom>
          <a:noFill/>
          <a:ln w="9525">
            <a:noFill/>
            <a:miter lim="800000"/>
            <a:headEnd/>
            <a:tailEnd/>
          </a:ln>
        </p:spPr>
      </p:pic>
      <p:pic>
        <p:nvPicPr>
          <p:cNvPr id="242" name="Billede 3"/>
          <p:cNvPicPr/>
          <p:nvPr/>
        </p:nvPicPr>
        <p:blipFill rotWithShape="1">
          <a:blip r:embed="rId13"/>
          <a:srcRect l="16201" t="7150" r="76261" b="67025"/>
          <a:stretch/>
        </p:blipFill>
        <p:spPr bwMode="auto">
          <a:xfrm>
            <a:off x="2054283" y="5395659"/>
            <a:ext cx="316386" cy="244249"/>
          </a:xfrm>
          <a:prstGeom prst="rect">
            <a:avLst/>
          </a:prstGeom>
          <a:ln>
            <a:noFill/>
          </a:ln>
          <a:extLst>
            <a:ext uri="{53640926-AAD7-44D8-BBD7-CCE9431645EC}">
              <a14:shadowObscured xmlns:a14="http://schemas.microsoft.com/office/drawing/2010/main"/>
            </a:ext>
          </a:extLst>
        </p:spPr>
      </p:pic>
      <p:pic>
        <p:nvPicPr>
          <p:cNvPr id="243" name="Obrázek 17"/>
          <p:cNvPicPr/>
          <p:nvPr/>
        </p:nvPicPr>
        <p:blipFill>
          <a:blip r:embed="rId14" cstate="print">
            <a:extLst>
              <a:ext uri="{28A0092B-C50C-407E-A947-70E740481C1C}">
                <a14:useLocalDpi xmlns:a14="http://schemas.microsoft.com/office/drawing/2010/main" val="0"/>
              </a:ext>
            </a:extLst>
          </a:blip>
          <a:stretch>
            <a:fillRect/>
          </a:stretch>
        </p:blipFill>
        <p:spPr>
          <a:xfrm>
            <a:off x="2054283" y="3947641"/>
            <a:ext cx="236797" cy="228113"/>
          </a:xfrm>
          <a:prstGeom prst="rect">
            <a:avLst/>
          </a:prstGeom>
        </p:spPr>
      </p:pic>
      <p:pic>
        <p:nvPicPr>
          <p:cNvPr id="244" name="Picture 243" descr="Tennet_Logo"/>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28041" y="3114985"/>
            <a:ext cx="707553" cy="148961"/>
          </a:xfrm>
          <a:prstGeom prst="rect">
            <a:avLst/>
          </a:prstGeom>
          <a:noFill/>
          <a:ln>
            <a:noFill/>
          </a:ln>
          <a:extLst/>
        </p:spPr>
      </p:pic>
      <p:pic>
        <p:nvPicPr>
          <p:cNvPr id="245" name="Picture 244"/>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82290" y="3409217"/>
            <a:ext cx="599053" cy="150625"/>
          </a:xfrm>
          <a:prstGeom prst="rect">
            <a:avLst/>
          </a:prstGeom>
          <a:noFill/>
          <a:ln>
            <a:noFill/>
          </a:ln>
          <a:effectLst/>
          <a:extLst/>
        </p:spPr>
      </p:pic>
      <p:pic>
        <p:nvPicPr>
          <p:cNvPr id="246" name="Imagen 10"/>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815166" y="4542260"/>
            <a:ext cx="733300" cy="200140"/>
          </a:xfrm>
          <a:prstGeom prst="rect">
            <a:avLst/>
          </a:prstGeom>
          <a:noFill/>
          <a:ln w="9525">
            <a:noFill/>
            <a:miter lim="800000"/>
            <a:headEnd/>
            <a:tailEnd/>
          </a:ln>
        </p:spPr>
      </p:pic>
      <p:pic>
        <p:nvPicPr>
          <p:cNvPr id="247" name="Picture 246" descr="C:\Users\R998947\Desktop\Alles\mFRR_Gross\Orga\logo_liggande_76-160mm150dpi_black_eng.png"/>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845388" y="4836714"/>
            <a:ext cx="672613" cy="188489"/>
          </a:xfrm>
          <a:prstGeom prst="rect">
            <a:avLst/>
          </a:prstGeom>
          <a:noFill/>
          <a:extLst/>
        </p:spPr>
      </p:pic>
      <p:pic>
        <p:nvPicPr>
          <p:cNvPr id="248" name="Picture 247" descr="gfx_swissgrid_logo"/>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848038" y="5164910"/>
            <a:ext cx="667556" cy="128156"/>
          </a:xfrm>
          <a:prstGeom prst="rect">
            <a:avLst/>
          </a:prstGeom>
          <a:noFill/>
          <a:extLst/>
        </p:spPr>
      </p:pic>
      <p:pic>
        <p:nvPicPr>
          <p:cNvPr id="249" name="Picture 24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840198" y="2818174"/>
            <a:ext cx="683236" cy="137607"/>
          </a:xfrm>
          <a:prstGeom prst="rect">
            <a:avLst/>
          </a:prstGeom>
        </p:spPr>
      </p:pic>
      <p:pic>
        <p:nvPicPr>
          <p:cNvPr id="251" name="Picture 250"/>
          <p:cNvPicPr/>
          <p:nvPr/>
        </p:nvPicPr>
        <p:blipFill>
          <a:blip r:embed="rId20" cstate="print">
            <a:extLst>
              <a:ext uri="{28A0092B-C50C-407E-A947-70E740481C1C}">
                <a14:useLocalDpi xmlns:a14="http://schemas.microsoft.com/office/drawing/2010/main" val="0"/>
              </a:ext>
            </a:extLst>
          </a:blip>
          <a:stretch>
            <a:fillRect/>
          </a:stretch>
        </p:blipFill>
        <p:spPr>
          <a:xfrm>
            <a:off x="3871316" y="4243869"/>
            <a:ext cx="634320" cy="211799"/>
          </a:xfrm>
          <a:prstGeom prst="rect">
            <a:avLst/>
          </a:prstGeom>
        </p:spPr>
      </p:pic>
      <p:pic>
        <p:nvPicPr>
          <p:cNvPr id="252" name="Picture 251"/>
          <p:cNvPicPr/>
          <p:nvPr/>
        </p:nvPicPr>
        <p:blipFill>
          <a:blip r:embed="rId21" cstate="print">
            <a:extLst>
              <a:ext uri="{28A0092B-C50C-407E-A947-70E740481C1C}">
                <a14:useLocalDpi xmlns:a14="http://schemas.microsoft.com/office/drawing/2010/main" val="0"/>
              </a:ext>
            </a:extLst>
          </a:blip>
          <a:stretch>
            <a:fillRect/>
          </a:stretch>
        </p:blipFill>
        <p:spPr>
          <a:xfrm>
            <a:off x="1922554" y="3363232"/>
            <a:ext cx="500251" cy="222938"/>
          </a:xfrm>
          <a:prstGeom prst="rect">
            <a:avLst/>
          </a:prstGeom>
        </p:spPr>
      </p:pic>
      <p:pic>
        <p:nvPicPr>
          <p:cNvPr id="253" name="Picture 9"/>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12781" t="52388" r="79235" b="38337"/>
          <a:stretch/>
        </p:blipFill>
        <p:spPr bwMode="auto">
          <a:xfrm>
            <a:off x="4013027" y="2197339"/>
            <a:ext cx="349754" cy="228853"/>
          </a:xfrm>
          <a:prstGeom prst="rect">
            <a:avLst/>
          </a:prstGeom>
          <a:noFill/>
          <a:extLst>
            <a:ext uri="{909E8E84-426E-40DD-AFC4-6F175D3DCCD1}">
              <a14:hiddenFill xmlns:a14="http://schemas.microsoft.com/office/drawing/2010/main">
                <a:solidFill>
                  <a:srgbClr val="FFFFFF"/>
                </a:solidFill>
              </a14:hiddenFill>
            </a:ext>
          </a:extLst>
        </p:spPr>
      </p:pic>
      <p:pic>
        <p:nvPicPr>
          <p:cNvPr id="254" name="Picture 253" descr="Litgrid_CMYK_sodri_melyna_300"/>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098459" y="2470668"/>
            <a:ext cx="173520" cy="251739"/>
          </a:xfrm>
          <a:prstGeom prst="rect">
            <a:avLst/>
          </a:prstGeom>
          <a:noFill/>
        </p:spPr>
      </p:pic>
      <p:pic>
        <p:nvPicPr>
          <p:cNvPr id="255" name="Picture 254"/>
          <p:cNvPicPr/>
          <p:nvPr/>
        </p:nvPicPr>
        <p:blipFill>
          <a:blip r:embed="rId24" cstate="print">
            <a:extLst>
              <a:ext uri="{28A0092B-C50C-407E-A947-70E740481C1C}">
                <a14:useLocalDpi xmlns:a14="http://schemas.microsoft.com/office/drawing/2010/main" val="0"/>
              </a:ext>
            </a:extLst>
          </a:blip>
          <a:stretch>
            <a:fillRect/>
          </a:stretch>
        </p:blipFill>
        <p:spPr>
          <a:xfrm>
            <a:off x="4034548" y="3927562"/>
            <a:ext cx="283801" cy="253477"/>
          </a:xfrm>
          <a:prstGeom prst="rect">
            <a:avLst/>
          </a:prstGeom>
        </p:spPr>
      </p:pic>
      <p:pic>
        <p:nvPicPr>
          <p:cNvPr id="256" name="Obraz 2"/>
          <p:cNvPicPr/>
          <p:nvPr/>
        </p:nvPicPr>
        <p:blipFill rotWithShape="1">
          <a:blip r:embed="rId25" cstate="print">
            <a:extLst>
              <a:ext uri="{28A0092B-C50C-407E-A947-70E740481C1C}">
                <a14:useLocalDpi xmlns:a14="http://schemas.microsoft.com/office/drawing/2010/main" val="0"/>
              </a:ext>
            </a:extLst>
          </a:blip>
          <a:srcRect l="60508" t="17284" r="27059" b="16193"/>
          <a:stretch/>
        </p:blipFill>
        <p:spPr bwMode="auto">
          <a:xfrm>
            <a:off x="3922132" y="3655928"/>
            <a:ext cx="508635" cy="213995"/>
          </a:xfrm>
          <a:prstGeom prst="rect">
            <a:avLst/>
          </a:prstGeom>
          <a:noFill/>
          <a:ln>
            <a:noFill/>
          </a:ln>
          <a:extLst>
            <a:ext uri="{53640926-AAD7-44D8-BBD7-CCE9431645EC}">
              <a14:shadowObscured xmlns:a14="http://schemas.microsoft.com/office/drawing/2010/main"/>
            </a:ext>
          </a:extLst>
        </p:spPr>
      </p:pic>
      <p:graphicFrame>
        <p:nvGraphicFramePr>
          <p:cNvPr id="257" name="Table 256"/>
          <p:cNvGraphicFramePr>
            <a:graphicFrameLocks noGrp="1"/>
          </p:cNvGraphicFramePr>
          <p:nvPr>
            <p:extLst>
              <p:ext uri="{D42A27DB-BD31-4B8C-83A1-F6EECF244321}">
                <p14:modId xmlns:p14="http://schemas.microsoft.com/office/powerpoint/2010/main" val="578775901"/>
              </p:ext>
            </p:extLst>
          </p:nvPr>
        </p:nvGraphicFramePr>
        <p:xfrm>
          <a:off x="5006473" y="3158846"/>
          <a:ext cx="2244488" cy="1440720"/>
        </p:xfrm>
        <a:graphic>
          <a:graphicData uri="http://schemas.openxmlformats.org/drawingml/2006/table">
            <a:tbl>
              <a:tblPr firstRow="1" bandRow="1">
                <a:tableStyleId>{C4B1156A-380E-4F78-BDF5-A606A8083BF9}</a:tableStyleId>
              </a:tblPr>
              <a:tblGrid>
                <a:gridCol w="830560"/>
                <a:gridCol w="1413928"/>
              </a:tblGrid>
              <a:tr h="230401">
                <a:tc gridSpan="2">
                  <a:txBody>
                    <a:bodyPr/>
                    <a:lstStyle/>
                    <a:p>
                      <a:pPr algn="ctr"/>
                      <a:r>
                        <a:rPr lang="en-US" sz="1200" dirty="0" smtClean="0">
                          <a:solidFill>
                            <a:schemeClr val="bg1"/>
                          </a:solidFill>
                        </a:rPr>
                        <a:t>OBSERVERS</a:t>
                      </a:r>
                      <a:r>
                        <a:rPr lang="sk-SK" sz="1200" b="0" baseline="0" dirty="0" smtClean="0">
                          <a:solidFill>
                            <a:schemeClr val="bg1"/>
                          </a:solidFill>
                        </a:rPr>
                        <a:t> </a:t>
                      </a:r>
                      <a:r>
                        <a:rPr lang="sk-SK" sz="1100" b="0" baseline="0" dirty="0" smtClean="0">
                          <a:solidFill>
                            <a:schemeClr val="bg1"/>
                          </a:solidFill>
                        </a:rPr>
                        <a:t>(</a:t>
                      </a:r>
                      <a:r>
                        <a:rPr lang="en-US" sz="1100" b="0" baseline="0" dirty="0" smtClean="0">
                          <a:solidFill>
                            <a:schemeClr val="bg1"/>
                          </a:solidFill>
                        </a:rPr>
                        <a:t>3</a:t>
                      </a:r>
                      <a:r>
                        <a:rPr lang="sk-SK" sz="1100" b="0" baseline="0" dirty="0" smtClean="0">
                          <a:solidFill>
                            <a:schemeClr val="bg1"/>
                          </a:solidFill>
                        </a:rPr>
                        <a:t> </a:t>
                      </a:r>
                      <a:r>
                        <a:rPr lang="sk-SK" sz="1100" b="0" baseline="0" dirty="0" err="1" smtClean="0">
                          <a:solidFill>
                            <a:schemeClr val="bg1"/>
                          </a:solidFill>
                        </a:rPr>
                        <a:t>TSOs</a:t>
                      </a:r>
                      <a:r>
                        <a:rPr lang="sk-SK" sz="1100" b="0" baseline="0" dirty="0" smtClean="0">
                          <a:solidFill>
                            <a:schemeClr val="bg1"/>
                          </a:solidFill>
                        </a:rPr>
                        <a:t> + ENTSO-E)</a:t>
                      </a:r>
                      <a:endParaRPr lang="cs-CZ" sz="1100" dirty="0">
                        <a:solidFill>
                          <a:schemeClr val="bg1"/>
                        </a:solidFill>
                      </a:endParaRPr>
                    </a:p>
                  </a:txBody>
                  <a:tcPr>
                    <a:solidFill>
                      <a:schemeClr val="tx1">
                        <a:lumMod val="65000"/>
                        <a:lumOff val="35000"/>
                      </a:schemeClr>
                    </a:solidFill>
                  </a:tcPr>
                </a:tc>
                <a:tc hMerge="1">
                  <a:txBody>
                    <a:bodyPr/>
                    <a:lstStyle/>
                    <a:p>
                      <a:endParaRPr lang="cs-CZ" dirty="0"/>
                    </a:p>
                  </a:txBody>
                  <a:tcPr>
                    <a:solidFill>
                      <a:schemeClr val="bg1">
                        <a:lumMod val="50000"/>
                      </a:schemeClr>
                    </a:solidFill>
                  </a:tcPr>
                </a:tc>
              </a:tr>
              <a:tr h="291600">
                <a:tc>
                  <a:txBody>
                    <a:bodyPr/>
                    <a:lstStyle/>
                    <a:p>
                      <a:pPr>
                        <a:lnSpc>
                          <a:spcPts val="1300"/>
                        </a:lnSpc>
                      </a:pPr>
                      <a:r>
                        <a:rPr lang="cs-CZ" sz="1100" cap="small" smtClean="0"/>
                        <a:t>Bulgaria</a:t>
                      </a:r>
                      <a:endParaRPr lang="cs-CZ" sz="1100" cap="small" dirty="0"/>
                    </a:p>
                  </a:txBody>
                  <a:tcPr marL="36000" marR="36000" marT="36000" marB="36000" anchor="ctr"/>
                </a:tc>
                <a:tc>
                  <a:txBody>
                    <a:bodyPr/>
                    <a:lstStyle/>
                    <a:p>
                      <a:pPr>
                        <a:lnSpc>
                          <a:spcPts val="1300"/>
                        </a:lnSpc>
                      </a:pPr>
                      <a:endParaRPr lang="cs-CZ" sz="1100" dirty="0"/>
                    </a:p>
                  </a:txBody>
                  <a:tcPr>
                    <a:solidFill>
                      <a:schemeClr val="bg1"/>
                    </a:solidFill>
                  </a:tcPr>
                </a:tc>
              </a:tr>
              <a:tr h="2916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cap="small" dirty="0" smtClean="0"/>
                        <a:t>Serbia</a:t>
                      </a:r>
                      <a:endParaRPr lang="cs-CZ" sz="1100" cap="small" dirty="0" smtClean="0"/>
                    </a:p>
                  </a:txBody>
                  <a:tcPr marL="36000" marR="36000" marT="36000" marB="36000" anchor="ctr"/>
                </a:tc>
                <a:tc>
                  <a:txBody>
                    <a:bodyPr/>
                    <a:lstStyle/>
                    <a:p>
                      <a:pPr>
                        <a:lnSpc>
                          <a:spcPts val="1300"/>
                        </a:lnSpc>
                      </a:pPr>
                      <a:endParaRPr lang="cs-CZ" sz="1100" dirty="0"/>
                    </a:p>
                  </a:txBody>
                  <a:tcPr>
                    <a:solidFill>
                      <a:schemeClr val="bg1"/>
                    </a:solidFill>
                  </a:tcPr>
                </a:tc>
              </a:tr>
              <a:tr h="291600">
                <a:tc>
                  <a:txBody>
                    <a:bodyPr/>
                    <a:lstStyle/>
                    <a:p>
                      <a:pPr>
                        <a:lnSpc>
                          <a:spcPts val="1300"/>
                        </a:lnSpc>
                      </a:pPr>
                      <a:r>
                        <a:rPr lang="en-US" sz="1100" cap="small" dirty="0" smtClean="0"/>
                        <a:t>Slovakia</a:t>
                      </a:r>
                      <a:endParaRPr lang="cs-CZ" sz="1100" cap="small" dirty="0"/>
                    </a:p>
                  </a:txBody>
                  <a:tcPr marL="36000" marR="36000" marT="36000" marB="36000" anchor="ctr"/>
                </a:tc>
                <a:tc>
                  <a:txBody>
                    <a:bodyPr/>
                    <a:lstStyle/>
                    <a:p>
                      <a:pPr>
                        <a:lnSpc>
                          <a:spcPts val="1300"/>
                        </a:lnSpc>
                      </a:pPr>
                      <a:endParaRPr lang="cs-CZ" sz="1100" dirty="0"/>
                    </a:p>
                  </a:txBody>
                  <a:tcPr>
                    <a:solidFill>
                      <a:schemeClr val="bg1"/>
                    </a:solidFill>
                  </a:tcPr>
                </a:tc>
              </a:tr>
              <a:tr h="2916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sk-SK" sz="1100" cap="small" dirty="0" err="1" smtClean="0"/>
                        <a:t>Entso</a:t>
                      </a:r>
                      <a:r>
                        <a:rPr lang="sk-SK" sz="1100" cap="small" dirty="0" smtClean="0"/>
                        <a:t>-E</a:t>
                      </a:r>
                      <a:endParaRPr lang="cs-CZ" sz="1100" cap="none" dirty="0" smtClean="0"/>
                    </a:p>
                  </a:txBody>
                  <a:tcPr marL="36000" marR="36000" marT="36000" marB="36000" anchor="ctr"/>
                </a:tc>
                <a:tc>
                  <a:txBody>
                    <a:bodyPr/>
                    <a:lstStyle/>
                    <a:p>
                      <a:pPr>
                        <a:lnSpc>
                          <a:spcPts val="1300"/>
                        </a:lnSpc>
                      </a:pPr>
                      <a:endParaRPr lang="cs-CZ" sz="1100" dirty="0"/>
                    </a:p>
                  </a:txBody>
                  <a:tcPr>
                    <a:solidFill>
                      <a:schemeClr val="bg1"/>
                    </a:solidFill>
                  </a:tcPr>
                </a:tc>
              </a:tr>
            </a:tbl>
          </a:graphicData>
        </a:graphic>
      </p:graphicFrame>
      <p:pic>
        <p:nvPicPr>
          <p:cNvPr id="259" name="Picture 258"/>
          <p:cNvPicPr/>
          <p:nvPr/>
        </p:nvPicPr>
        <p:blipFill rotWithShape="1">
          <a:blip r:embed="rId26"/>
          <a:srcRect l="15494" t="32057" r="11477" b="27080"/>
          <a:stretch/>
        </p:blipFill>
        <p:spPr bwMode="auto">
          <a:xfrm>
            <a:off x="6151444" y="3801136"/>
            <a:ext cx="643255" cy="202565"/>
          </a:xfrm>
          <a:prstGeom prst="rect">
            <a:avLst/>
          </a:prstGeom>
          <a:ln>
            <a:noFill/>
          </a:ln>
          <a:extLst>
            <a:ext uri="{53640926-AAD7-44D8-BBD7-CCE9431645EC}">
              <a14:shadowObscured xmlns:a14="http://schemas.microsoft.com/office/drawing/2010/main"/>
            </a:ext>
          </a:extLst>
        </p:spPr>
      </p:pic>
      <p:pic>
        <p:nvPicPr>
          <p:cNvPr id="260" name="Picture 259" descr="H:\PMO\loga2\3.PNG"/>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350787" y="4038649"/>
            <a:ext cx="414134" cy="254496"/>
          </a:xfrm>
          <a:prstGeom prst="rect">
            <a:avLst/>
          </a:prstGeom>
          <a:noFill/>
          <a:extLst/>
        </p:spPr>
      </p:pic>
      <p:pic>
        <p:nvPicPr>
          <p:cNvPr id="13" name="Picture 12"/>
          <p:cNvPicPr>
            <a:picLocks noChangeAspect="1"/>
          </p:cNvPicPr>
          <p:nvPr/>
        </p:nvPicPr>
        <p:blipFill>
          <a:blip r:embed="rId28"/>
          <a:stretch>
            <a:fillRect/>
          </a:stretch>
        </p:blipFill>
        <p:spPr>
          <a:xfrm>
            <a:off x="6234540" y="4340680"/>
            <a:ext cx="614934" cy="233251"/>
          </a:xfrm>
          <a:prstGeom prst="rect">
            <a:avLst/>
          </a:prstGeom>
        </p:spPr>
      </p:pic>
      <p:pic>
        <p:nvPicPr>
          <p:cNvPr id="20" name="Picture 19"/>
          <p:cNvPicPr>
            <a:picLocks noChangeAspect="1"/>
          </p:cNvPicPr>
          <p:nvPr/>
        </p:nvPicPr>
        <p:blipFill>
          <a:blip r:embed="rId29"/>
          <a:stretch>
            <a:fillRect/>
          </a:stretch>
        </p:blipFill>
        <p:spPr>
          <a:xfrm>
            <a:off x="6201249" y="3498589"/>
            <a:ext cx="624600" cy="188007"/>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720692462"/>
              </p:ext>
            </p:extLst>
          </p:nvPr>
        </p:nvGraphicFramePr>
        <p:xfrm>
          <a:off x="5018828" y="1887132"/>
          <a:ext cx="2244488" cy="1040400"/>
        </p:xfrm>
        <a:graphic>
          <a:graphicData uri="http://schemas.openxmlformats.org/drawingml/2006/table">
            <a:tbl>
              <a:tblPr firstRow="1" bandRow="1">
                <a:tableStyleId>{C4B1156A-380E-4F78-BDF5-A606A8083BF9}</a:tableStyleId>
              </a:tblPr>
              <a:tblGrid>
                <a:gridCol w="830560"/>
                <a:gridCol w="1413928"/>
              </a:tblGrid>
              <a:tr h="230401">
                <a:tc gridSpan="2">
                  <a:txBody>
                    <a:bodyPr/>
                    <a:lstStyle/>
                    <a:p>
                      <a:pPr algn="ctr"/>
                      <a:r>
                        <a:rPr lang="en-US" sz="1200" dirty="0" smtClean="0">
                          <a:solidFill>
                            <a:schemeClr val="bg1"/>
                          </a:solidFill>
                        </a:rPr>
                        <a:t>TSOs in Process of Becoming</a:t>
                      </a:r>
                      <a:r>
                        <a:rPr lang="en-US" sz="1200" baseline="0" dirty="0" smtClean="0">
                          <a:solidFill>
                            <a:schemeClr val="bg1"/>
                          </a:solidFill>
                        </a:rPr>
                        <a:t> Members</a:t>
                      </a:r>
                      <a:endParaRPr lang="cs-CZ" sz="1100" dirty="0">
                        <a:solidFill>
                          <a:schemeClr val="bg1"/>
                        </a:solidFill>
                      </a:endParaRPr>
                    </a:p>
                  </a:txBody>
                  <a:tcPr>
                    <a:solidFill>
                      <a:schemeClr val="accent1">
                        <a:lumMod val="75000"/>
                      </a:schemeClr>
                    </a:solidFill>
                  </a:tcPr>
                </a:tc>
                <a:tc hMerge="1">
                  <a:txBody>
                    <a:bodyPr/>
                    <a:lstStyle/>
                    <a:p>
                      <a:endParaRPr lang="cs-CZ" dirty="0"/>
                    </a:p>
                  </a:txBody>
                  <a:tcPr>
                    <a:solidFill>
                      <a:schemeClr val="bg1">
                        <a:lumMod val="50000"/>
                      </a:schemeClr>
                    </a:solidFill>
                  </a:tcPr>
                </a:tc>
              </a:tr>
              <a:tr h="291600">
                <a:tc>
                  <a:txBody>
                    <a:bodyPr/>
                    <a:lstStyle/>
                    <a:p>
                      <a:pPr>
                        <a:lnSpc>
                          <a:spcPts val="1300"/>
                        </a:lnSpc>
                      </a:pPr>
                      <a:r>
                        <a:rPr lang="en-US" sz="1100" cap="small" dirty="0" smtClean="0"/>
                        <a:t>Hungary</a:t>
                      </a:r>
                      <a:endParaRPr lang="cs-CZ" sz="1100" cap="small" dirty="0"/>
                    </a:p>
                  </a:txBody>
                  <a:tcPr marL="36000" marR="36000" marT="36000" marB="36000" anchor="ctr"/>
                </a:tc>
                <a:tc>
                  <a:txBody>
                    <a:bodyPr/>
                    <a:lstStyle/>
                    <a:p>
                      <a:pPr>
                        <a:lnSpc>
                          <a:spcPts val="1300"/>
                        </a:lnSpc>
                      </a:pPr>
                      <a:endParaRPr lang="cs-CZ" sz="1100" dirty="0"/>
                    </a:p>
                  </a:txBody>
                  <a:tcPr>
                    <a:solidFill>
                      <a:schemeClr val="bg1"/>
                    </a:solidFill>
                  </a:tcPr>
                </a:tc>
              </a:tr>
              <a:tr h="291600">
                <a:tc>
                  <a:txBody>
                    <a:bodyPr/>
                    <a:lstStyle/>
                    <a:p>
                      <a:pPr>
                        <a:lnSpc>
                          <a:spcPts val="1300"/>
                        </a:lnSpc>
                      </a:pPr>
                      <a:r>
                        <a:rPr lang="en-US" sz="1100" cap="small" dirty="0" smtClean="0"/>
                        <a:t>Croatia</a:t>
                      </a:r>
                      <a:endParaRPr lang="cs-CZ" sz="1100" cap="small" dirty="0"/>
                    </a:p>
                  </a:txBody>
                  <a:tcPr marL="36000" marR="36000" marT="36000" marB="36000" anchor="ctr"/>
                </a:tc>
                <a:tc>
                  <a:txBody>
                    <a:bodyPr/>
                    <a:lstStyle/>
                    <a:p>
                      <a:pPr>
                        <a:lnSpc>
                          <a:spcPts val="1300"/>
                        </a:lnSpc>
                      </a:pPr>
                      <a:endParaRPr lang="cs-CZ" sz="1100" dirty="0"/>
                    </a:p>
                  </a:txBody>
                  <a:tcPr>
                    <a:solidFill>
                      <a:schemeClr val="bg1"/>
                    </a:solidFill>
                  </a:tcPr>
                </a:tc>
              </a:tr>
            </a:tbl>
          </a:graphicData>
        </a:graphic>
      </p:graphicFrame>
      <p:pic>
        <p:nvPicPr>
          <p:cNvPr id="258" name="Picture 257"/>
          <p:cNvPicPr/>
          <p:nvPr/>
        </p:nvPicPr>
        <p:blipFill rotWithShape="1">
          <a:blip r:embed="rId30" cstate="print">
            <a:extLst>
              <a:ext uri="{28A0092B-C50C-407E-A947-70E740481C1C}">
                <a14:useLocalDpi xmlns:a14="http://schemas.microsoft.com/office/drawing/2010/main" val="0"/>
              </a:ext>
            </a:extLst>
          </a:blip>
          <a:srcRect l="12734" t="20232" r="75723" b="70979"/>
          <a:stretch/>
        </p:blipFill>
        <p:spPr bwMode="auto">
          <a:xfrm>
            <a:off x="6315722" y="2645704"/>
            <a:ext cx="501852" cy="225531"/>
          </a:xfrm>
          <a:prstGeom prst="rect">
            <a:avLst/>
          </a:prstGeom>
          <a:ln>
            <a:noFill/>
          </a:ln>
          <a:extLst>
            <a:ext uri="{53640926-AAD7-44D8-BBD7-CCE9431645EC}">
              <a14:shadowObscured xmlns:a14="http://schemas.microsoft.com/office/drawing/2010/main"/>
            </a:ext>
          </a:extLst>
        </p:spPr>
      </p:pic>
      <p:pic>
        <p:nvPicPr>
          <p:cNvPr id="261" name="Picture 260" descr="cid:image003.jpg@01CF0E1A.B55AF790"/>
          <p:cNvPicPr/>
          <p:nvPr/>
        </p:nvPicPr>
        <p:blipFill>
          <a:blip r:embed="rId31" r:link="rId32" cstate="print">
            <a:extLst>
              <a:ext uri="{28A0092B-C50C-407E-A947-70E740481C1C}">
                <a14:useLocalDpi xmlns:a14="http://schemas.microsoft.com/office/drawing/2010/main" val="0"/>
              </a:ext>
            </a:extLst>
          </a:blip>
          <a:srcRect/>
          <a:stretch>
            <a:fillRect/>
          </a:stretch>
        </p:blipFill>
        <p:spPr bwMode="auto">
          <a:xfrm>
            <a:off x="6347829" y="2382424"/>
            <a:ext cx="397465" cy="221785"/>
          </a:xfrm>
          <a:prstGeom prst="rect">
            <a:avLst/>
          </a:prstGeom>
          <a:noFill/>
          <a:ln>
            <a:noFill/>
          </a:ln>
        </p:spPr>
      </p:pic>
    </p:spTree>
    <p:extLst>
      <p:ext uri="{BB962C8B-B14F-4D97-AF65-F5344CB8AC3E}">
        <p14:creationId xmlns:p14="http://schemas.microsoft.com/office/powerpoint/2010/main" val="22609924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4</a:t>
            </a:fld>
            <a:endParaRPr lang="cs-CZ">
              <a:solidFill>
                <a:srgbClr val="7F7E82">
                  <a:tint val="75000"/>
                </a:srgbClr>
              </a:solidFill>
            </a:endParaRPr>
          </a:p>
        </p:txBody>
      </p:sp>
      <p:sp>
        <p:nvSpPr>
          <p:cNvPr id="13" name="Espace réservé du contenu 2"/>
          <p:cNvSpPr txBox="1">
            <a:spLocks/>
          </p:cNvSpPr>
          <p:nvPr/>
        </p:nvSpPr>
        <p:spPr>
          <a:xfrm>
            <a:off x="631372" y="199856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285750" indent="-285750" algn="just">
              <a:spcAft>
                <a:spcPts val="1200"/>
              </a:spcAft>
              <a:buFont typeface="Wingdings" panose="05000000000000000000" pitchFamily="2" charset="2"/>
              <a:buChar char="¦"/>
            </a:pPr>
            <a:endParaRPr lang="cs-CZ" sz="1400" dirty="0">
              <a:solidFill>
                <a:srgbClr val="000000"/>
              </a:solidFill>
              <a:latin typeface="Calibri" panose="020F0502020204030204"/>
            </a:endParaRPr>
          </a:p>
          <a:p>
            <a:pPr marL="285750" indent="-285750" algn="just">
              <a:spcAft>
                <a:spcPts val="1200"/>
              </a:spcAft>
              <a:buFont typeface="Wingdings" panose="05000000000000000000" pitchFamily="2" charset="2"/>
              <a:buChar char="¦"/>
            </a:pPr>
            <a:endParaRPr lang="fr-FR" sz="1400" b="1" dirty="0">
              <a:solidFill>
                <a:srgbClr val="000000"/>
              </a:solidFill>
              <a:latin typeface="Calibri" panose="020F0502020204030204"/>
            </a:endParaRPr>
          </a:p>
          <a:p>
            <a:pPr algn="just">
              <a:spcAft>
                <a:spcPts val="1200"/>
              </a:spcAft>
            </a:pPr>
            <a:endParaRPr lang="fr-FR" sz="1400" b="1"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5" name="Rectangle 4"/>
          <p:cNvSpPr/>
          <p:nvPr/>
        </p:nvSpPr>
        <p:spPr>
          <a:xfrm>
            <a:off x="3962400" y="143924"/>
            <a:ext cx="6096000" cy="369332"/>
          </a:xfrm>
          <a:prstGeom prst="rect">
            <a:avLst/>
          </a:prstGeom>
        </p:spPr>
        <p:txBody>
          <a:bodyPr>
            <a:spAutoFit/>
          </a:bodyPr>
          <a:lstStyle/>
          <a:p>
            <a:r>
              <a:rPr lang="cs-CZ" dirty="0">
                <a:solidFill>
                  <a:srgbClr val="1F497D"/>
                </a:solidFill>
                <a:ea typeface="Calibri" panose="020F0502020204030204" pitchFamily="34" charset="0"/>
              </a:rPr>
              <a:t> </a:t>
            </a:r>
            <a:endParaRPr lang="cs-CZ" dirty="0">
              <a:solidFill>
                <a:srgbClr val="000000"/>
              </a:solidFill>
              <a:ea typeface="Calibri" panose="020F0502020204030204" pitchFamily="34" charset="0"/>
            </a:endParaRPr>
          </a:p>
        </p:txBody>
      </p:sp>
      <p:sp>
        <p:nvSpPr>
          <p:cNvPr id="9" name="Espace réservé du contenu 2"/>
          <p:cNvSpPr txBox="1">
            <a:spLocks/>
          </p:cNvSpPr>
          <p:nvPr/>
        </p:nvSpPr>
        <p:spPr>
          <a:xfrm>
            <a:off x="631372" y="199725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just">
              <a:spcAft>
                <a:spcPts val="800"/>
              </a:spcAft>
            </a:pPr>
            <a:r>
              <a:rPr lang="en-US" sz="3200" dirty="0" err="1" smtClean="0">
                <a:solidFill>
                  <a:srgbClr val="000000"/>
                </a:solidFill>
                <a:latin typeface="Calibri" panose="020F0502020204030204"/>
              </a:rPr>
              <a:t>mFRR</a:t>
            </a:r>
            <a:r>
              <a:rPr lang="en-US" sz="3200" dirty="0" smtClean="0">
                <a:solidFill>
                  <a:srgbClr val="000000"/>
                </a:solidFill>
                <a:latin typeface="Calibri" panose="020F0502020204030204"/>
              </a:rPr>
              <a:t> and </a:t>
            </a:r>
            <a:r>
              <a:rPr lang="en-US" sz="3200" dirty="0" err="1" smtClean="0">
                <a:solidFill>
                  <a:srgbClr val="000000"/>
                </a:solidFill>
                <a:latin typeface="Calibri" panose="020F0502020204030204"/>
              </a:rPr>
              <a:t>aFRR</a:t>
            </a:r>
            <a:r>
              <a:rPr lang="en-US" sz="3200" dirty="0" smtClean="0">
                <a:solidFill>
                  <a:srgbClr val="000000"/>
                </a:solidFill>
                <a:latin typeface="Calibri" panose="020F0502020204030204"/>
              </a:rPr>
              <a:t> Platform Submission Timeline</a:t>
            </a:r>
          </a:p>
        </p:txBody>
      </p:sp>
    </p:spTree>
    <p:extLst>
      <p:ext uri="{BB962C8B-B14F-4D97-AF65-F5344CB8AC3E}">
        <p14:creationId xmlns:p14="http://schemas.microsoft.com/office/powerpoint/2010/main" val="32990982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a:off x="631372" y="1796906"/>
            <a:ext cx="10979101" cy="4414288"/>
          </a:xfrm>
          <a:prstGeom prst="rect">
            <a:avLst/>
          </a:prstGeom>
          <a:solidFill>
            <a:schemeClr val="bg1">
              <a:lumMod val="95000"/>
            </a:schemeClr>
          </a:solidFill>
          <a:ln>
            <a:solidFill>
              <a:srgbClr val="66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 name="Slide Number Placeholder 3"/>
          <p:cNvSpPr>
            <a:spLocks noGrp="1"/>
          </p:cNvSpPr>
          <p:nvPr>
            <p:ph type="sldNum" sz="quarter" idx="12"/>
          </p:nvPr>
        </p:nvSpPr>
        <p:spPr>
          <a:xfrm>
            <a:off x="8598355" y="6356068"/>
            <a:ext cx="2743200" cy="365125"/>
          </a:xfrm>
        </p:spPr>
        <p:txBody>
          <a:bodyPr/>
          <a:lstStyle/>
          <a:p>
            <a:fld id="{FDED2080-A6AC-4D27-ABC0-DC394804A868}" type="slidenum">
              <a:rPr lang="cs-CZ" smtClean="0">
                <a:solidFill>
                  <a:srgbClr val="7F7E82">
                    <a:tint val="75000"/>
                  </a:srgbClr>
                </a:solidFill>
              </a:rPr>
              <a:pPr/>
              <a:t>5</a:t>
            </a:fld>
            <a:endParaRPr lang="cs-CZ">
              <a:solidFill>
                <a:srgbClr val="7F7E82">
                  <a:tint val="75000"/>
                </a:srgbClr>
              </a:solidFill>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131" name="Title 1"/>
          <p:cNvSpPr txBox="1">
            <a:spLocks/>
          </p:cNvSpPr>
          <p:nvPr/>
        </p:nvSpPr>
        <p:spPr>
          <a:xfrm>
            <a:off x="631372" y="836712"/>
            <a:ext cx="1064948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200" dirty="0" smtClean="0">
                <a:solidFill>
                  <a:srgbClr val="000000"/>
                </a:solidFill>
                <a:latin typeface="Calibri" panose="020F0502020204030204"/>
              </a:rPr>
              <a:t>PICASSO and MARI Timeline for IFs Submission</a:t>
            </a:r>
            <a:endParaRPr lang="en-US" sz="2200" dirty="0">
              <a:solidFill>
                <a:srgbClr val="000000"/>
              </a:solidFill>
              <a:latin typeface="Calibri" panose="020F0502020204030204"/>
            </a:endParaRPr>
          </a:p>
        </p:txBody>
      </p:sp>
      <p:grpSp>
        <p:nvGrpSpPr>
          <p:cNvPr id="135" name="Group 134"/>
          <p:cNvGrpSpPr/>
          <p:nvPr/>
        </p:nvGrpSpPr>
        <p:grpSpPr>
          <a:xfrm>
            <a:off x="10741452" y="2292191"/>
            <a:ext cx="103493" cy="1927917"/>
            <a:chOff x="1577504" y="2232668"/>
            <a:chExt cx="103493" cy="1927917"/>
          </a:xfrm>
        </p:grpSpPr>
        <p:sp>
          <p:nvSpPr>
            <p:cNvPr id="250" name="Line 55" descr="© INSCALE GmbH, 26.05.2010&#10;http://www.presentationload.com/"/>
            <p:cNvSpPr>
              <a:spLocks noChangeShapeType="1"/>
            </p:cNvSpPr>
            <p:nvPr/>
          </p:nvSpPr>
          <p:spPr bwMode="gray">
            <a:xfrm flipV="1">
              <a:off x="1629250" y="2232668"/>
              <a:ext cx="0" cy="1881933"/>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262" name="Gleichschenkliges Dreieck 63"/>
            <p:cNvSpPr/>
            <p:nvPr/>
          </p:nvSpPr>
          <p:spPr bwMode="auto">
            <a:xfrm>
              <a:off x="1577504" y="4068619"/>
              <a:ext cx="103493" cy="91966"/>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grpSp>
      <p:grpSp>
        <p:nvGrpSpPr>
          <p:cNvPr id="263" name="Group 262"/>
          <p:cNvGrpSpPr/>
          <p:nvPr/>
        </p:nvGrpSpPr>
        <p:grpSpPr>
          <a:xfrm>
            <a:off x="9647495" y="2318241"/>
            <a:ext cx="103493" cy="1927917"/>
            <a:chOff x="1577504" y="2232668"/>
            <a:chExt cx="103493" cy="1927917"/>
          </a:xfrm>
        </p:grpSpPr>
        <p:sp>
          <p:nvSpPr>
            <p:cNvPr id="264" name="Line 55" descr="© INSCALE GmbH, 26.05.2010&#10;http://www.presentationload.com/"/>
            <p:cNvSpPr>
              <a:spLocks noChangeShapeType="1"/>
            </p:cNvSpPr>
            <p:nvPr/>
          </p:nvSpPr>
          <p:spPr bwMode="gray">
            <a:xfrm flipV="1">
              <a:off x="1629250" y="2232668"/>
              <a:ext cx="0" cy="1881933"/>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265" name="Gleichschenkliges Dreieck 63"/>
            <p:cNvSpPr/>
            <p:nvPr/>
          </p:nvSpPr>
          <p:spPr bwMode="auto">
            <a:xfrm>
              <a:off x="1577504" y="4068619"/>
              <a:ext cx="103493" cy="91966"/>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grpSp>
      <p:grpSp>
        <p:nvGrpSpPr>
          <p:cNvPr id="266" name="Group 265"/>
          <p:cNvGrpSpPr/>
          <p:nvPr/>
        </p:nvGrpSpPr>
        <p:grpSpPr>
          <a:xfrm>
            <a:off x="6009426" y="2305441"/>
            <a:ext cx="103493" cy="1927917"/>
            <a:chOff x="1577504" y="2232668"/>
            <a:chExt cx="103493" cy="1927917"/>
          </a:xfrm>
        </p:grpSpPr>
        <p:sp>
          <p:nvSpPr>
            <p:cNvPr id="267" name="Line 55" descr="© INSCALE GmbH, 26.05.2010&#10;http://www.presentationload.com/"/>
            <p:cNvSpPr>
              <a:spLocks noChangeShapeType="1"/>
            </p:cNvSpPr>
            <p:nvPr/>
          </p:nvSpPr>
          <p:spPr bwMode="gray">
            <a:xfrm flipV="1">
              <a:off x="1629250" y="2232668"/>
              <a:ext cx="0" cy="1881933"/>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268" name="Gleichschenkliges Dreieck 63"/>
            <p:cNvSpPr/>
            <p:nvPr/>
          </p:nvSpPr>
          <p:spPr bwMode="auto">
            <a:xfrm>
              <a:off x="1577504" y="4068619"/>
              <a:ext cx="103493" cy="91966"/>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grpSp>
      <p:grpSp>
        <p:nvGrpSpPr>
          <p:cNvPr id="269" name="Group 268"/>
          <p:cNvGrpSpPr/>
          <p:nvPr/>
        </p:nvGrpSpPr>
        <p:grpSpPr>
          <a:xfrm>
            <a:off x="3404169" y="3202943"/>
            <a:ext cx="103493" cy="1043215"/>
            <a:chOff x="5513754" y="3131203"/>
            <a:chExt cx="103493" cy="1043215"/>
          </a:xfrm>
        </p:grpSpPr>
        <p:sp>
          <p:nvSpPr>
            <p:cNvPr id="270" name="Line 55" descr="© INSCALE GmbH, 26.05.2010&#10;http://www.presentationload.com/"/>
            <p:cNvSpPr>
              <a:spLocks noChangeShapeType="1"/>
            </p:cNvSpPr>
            <p:nvPr/>
          </p:nvSpPr>
          <p:spPr bwMode="gray">
            <a:xfrm flipV="1">
              <a:off x="5565499" y="3131203"/>
              <a:ext cx="1415" cy="997230"/>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271" name="Gleichschenkliges Dreieck 63"/>
            <p:cNvSpPr/>
            <p:nvPr/>
          </p:nvSpPr>
          <p:spPr bwMode="auto">
            <a:xfrm>
              <a:off x="5513754" y="4082452"/>
              <a:ext cx="103493" cy="91966"/>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grpSp>
      <p:grpSp>
        <p:nvGrpSpPr>
          <p:cNvPr id="272" name="Group 271"/>
          <p:cNvGrpSpPr/>
          <p:nvPr/>
        </p:nvGrpSpPr>
        <p:grpSpPr>
          <a:xfrm>
            <a:off x="6697037" y="3190143"/>
            <a:ext cx="103493" cy="1043215"/>
            <a:chOff x="5513754" y="3131203"/>
            <a:chExt cx="103493" cy="1043215"/>
          </a:xfrm>
        </p:grpSpPr>
        <p:sp>
          <p:nvSpPr>
            <p:cNvPr id="273" name="Line 55" descr="© INSCALE GmbH, 26.05.2010&#10;http://www.presentationload.com/"/>
            <p:cNvSpPr>
              <a:spLocks noChangeShapeType="1"/>
            </p:cNvSpPr>
            <p:nvPr/>
          </p:nvSpPr>
          <p:spPr bwMode="gray">
            <a:xfrm flipV="1">
              <a:off x="5565499" y="3131203"/>
              <a:ext cx="1415" cy="997230"/>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274" name="Gleichschenkliges Dreieck 63"/>
            <p:cNvSpPr/>
            <p:nvPr/>
          </p:nvSpPr>
          <p:spPr bwMode="auto">
            <a:xfrm>
              <a:off x="5513754" y="4082452"/>
              <a:ext cx="103493" cy="91966"/>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grpSp>
      <p:grpSp>
        <p:nvGrpSpPr>
          <p:cNvPr id="275" name="Group 274"/>
          <p:cNvGrpSpPr/>
          <p:nvPr/>
        </p:nvGrpSpPr>
        <p:grpSpPr>
          <a:xfrm>
            <a:off x="3958405" y="2289131"/>
            <a:ext cx="103493" cy="1927917"/>
            <a:chOff x="1577504" y="2232668"/>
            <a:chExt cx="103493" cy="1927917"/>
          </a:xfrm>
        </p:grpSpPr>
        <p:sp>
          <p:nvSpPr>
            <p:cNvPr id="276" name="Line 55" descr="© INSCALE GmbH, 26.05.2010&#10;http://www.presentationload.com/"/>
            <p:cNvSpPr>
              <a:spLocks noChangeShapeType="1"/>
            </p:cNvSpPr>
            <p:nvPr/>
          </p:nvSpPr>
          <p:spPr bwMode="gray">
            <a:xfrm flipV="1">
              <a:off x="1629250" y="2232668"/>
              <a:ext cx="0" cy="1881933"/>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277" name="Gleichschenkliges Dreieck 63"/>
            <p:cNvSpPr/>
            <p:nvPr/>
          </p:nvSpPr>
          <p:spPr bwMode="auto">
            <a:xfrm>
              <a:off x="1577504" y="4068619"/>
              <a:ext cx="103493" cy="91966"/>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grpSp>
      <p:sp>
        <p:nvSpPr>
          <p:cNvPr id="278" name="Gleichschenkliges Dreieck 123"/>
          <p:cNvSpPr/>
          <p:nvPr/>
        </p:nvSpPr>
        <p:spPr bwMode="auto">
          <a:xfrm flipH="1" flipV="1">
            <a:off x="6650492" y="4556074"/>
            <a:ext cx="147322" cy="94008"/>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sp>
        <p:nvSpPr>
          <p:cNvPr id="279" name="Rechteck 66"/>
          <p:cNvSpPr/>
          <p:nvPr/>
        </p:nvSpPr>
        <p:spPr bwMode="auto">
          <a:xfrm>
            <a:off x="1285810" y="4218667"/>
            <a:ext cx="977714" cy="368364"/>
          </a:xfrm>
          <a:prstGeom prst="rect">
            <a:avLst/>
          </a:prstGeom>
          <a:solidFill>
            <a:schemeClr val="bg1">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rgbClr val="000000"/>
                </a:solidFill>
              </a:rPr>
              <a:t>Mar</a:t>
            </a:r>
            <a:endParaRPr lang="en-US" sz="1600" noProof="1">
              <a:solidFill>
                <a:srgbClr val="000000"/>
              </a:solidFill>
            </a:endParaRPr>
          </a:p>
        </p:txBody>
      </p:sp>
      <p:sp>
        <p:nvSpPr>
          <p:cNvPr id="280" name="Rechteck 68"/>
          <p:cNvSpPr/>
          <p:nvPr/>
        </p:nvSpPr>
        <p:spPr bwMode="auto">
          <a:xfrm>
            <a:off x="2262377" y="4217917"/>
            <a:ext cx="977714" cy="368364"/>
          </a:xfrm>
          <a:prstGeom prst="rect">
            <a:avLst/>
          </a:prstGeom>
          <a:solidFill>
            <a:schemeClr val="tx1">
              <a:lumMod val="75000"/>
              <a:lumOff val="2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chemeClr val="bg1"/>
                </a:solidFill>
              </a:rPr>
              <a:t>Apr</a:t>
            </a:r>
            <a:endParaRPr lang="en-US" sz="1600" noProof="1">
              <a:solidFill>
                <a:schemeClr val="bg1"/>
              </a:solidFill>
            </a:endParaRPr>
          </a:p>
        </p:txBody>
      </p:sp>
      <p:sp>
        <p:nvSpPr>
          <p:cNvPr id="281" name="Rechteck 70"/>
          <p:cNvSpPr/>
          <p:nvPr/>
        </p:nvSpPr>
        <p:spPr bwMode="auto">
          <a:xfrm>
            <a:off x="3237475" y="4218667"/>
            <a:ext cx="977714" cy="368364"/>
          </a:xfrm>
          <a:prstGeom prst="rect">
            <a:avLst/>
          </a:prstGeom>
          <a:solidFill>
            <a:schemeClr val="bg1">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rgbClr val="000000"/>
                </a:solidFill>
              </a:rPr>
              <a:t>May</a:t>
            </a:r>
            <a:endParaRPr lang="en-US" sz="1600" noProof="1">
              <a:solidFill>
                <a:srgbClr val="000000"/>
              </a:solidFill>
            </a:endParaRPr>
          </a:p>
        </p:txBody>
      </p:sp>
      <p:sp>
        <p:nvSpPr>
          <p:cNvPr id="282" name="Rechteck 73"/>
          <p:cNvSpPr/>
          <p:nvPr/>
        </p:nvSpPr>
        <p:spPr bwMode="auto">
          <a:xfrm>
            <a:off x="4202251" y="4219289"/>
            <a:ext cx="977714" cy="368364"/>
          </a:xfrm>
          <a:prstGeom prst="rect">
            <a:avLst/>
          </a:prstGeom>
          <a:solidFill>
            <a:schemeClr val="tx1">
              <a:lumMod val="75000"/>
              <a:lumOff val="2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rgbClr val="FFFFFF"/>
                </a:solidFill>
              </a:rPr>
              <a:t>Jun</a:t>
            </a:r>
            <a:endParaRPr lang="en-US" sz="1600" noProof="1">
              <a:solidFill>
                <a:srgbClr val="FFFFFF"/>
              </a:solidFill>
            </a:endParaRPr>
          </a:p>
        </p:txBody>
      </p:sp>
      <p:sp>
        <p:nvSpPr>
          <p:cNvPr id="283" name="Rechteck 77"/>
          <p:cNvSpPr/>
          <p:nvPr/>
        </p:nvSpPr>
        <p:spPr bwMode="auto">
          <a:xfrm>
            <a:off x="5143209" y="4217625"/>
            <a:ext cx="977714" cy="368364"/>
          </a:xfrm>
          <a:prstGeom prst="rect">
            <a:avLst/>
          </a:prstGeom>
          <a:solidFill>
            <a:schemeClr val="bg1">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chemeClr val="tx1"/>
                </a:solidFill>
              </a:rPr>
              <a:t>Jul</a:t>
            </a:r>
            <a:endParaRPr lang="en-US" sz="1600" noProof="1">
              <a:solidFill>
                <a:schemeClr val="tx1"/>
              </a:solidFill>
            </a:endParaRPr>
          </a:p>
        </p:txBody>
      </p:sp>
      <p:sp>
        <p:nvSpPr>
          <p:cNvPr id="284" name="Rechteck 79"/>
          <p:cNvSpPr/>
          <p:nvPr/>
        </p:nvSpPr>
        <p:spPr bwMode="auto">
          <a:xfrm>
            <a:off x="6117494" y="4219289"/>
            <a:ext cx="977714" cy="368364"/>
          </a:xfrm>
          <a:prstGeom prst="rect">
            <a:avLst/>
          </a:prstGeom>
          <a:solidFill>
            <a:schemeClr val="tx1">
              <a:lumMod val="75000"/>
              <a:lumOff val="2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chemeClr val="bg1"/>
                </a:solidFill>
              </a:rPr>
              <a:t>Aug</a:t>
            </a:r>
            <a:endParaRPr lang="en-US" sz="1600" noProof="1">
              <a:solidFill>
                <a:schemeClr val="bg1"/>
              </a:solidFill>
            </a:endParaRPr>
          </a:p>
        </p:txBody>
      </p:sp>
      <p:sp>
        <p:nvSpPr>
          <p:cNvPr id="285" name="Rechteck 82"/>
          <p:cNvSpPr/>
          <p:nvPr/>
        </p:nvSpPr>
        <p:spPr bwMode="auto">
          <a:xfrm>
            <a:off x="7057929" y="4219289"/>
            <a:ext cx="977714" cy="368364"/>
          </a:xfrm>
          <a:prstGeom prst="rect">
            <a:avLst/>
          </a:prstGeom>
          <a:solidFill>
            <a:srgbClr val="C0C0C0"/>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rgbClr val="000000"/>
                </a:solidFill>
              </a:rPr>
              <a:t>Sep</a:t>
            </a:r>
            <a:endParaRPr lang="en-US" sz="1600" noProof="1">
              <a:solidFill>
                <a:srgbClr val="000000"/>
              </a:solidFill>
            </a:endParaRPr>
          </a:p>
        </p:txBody>
      </p:sp>
      <p:sp>
        <p:nvSpPr>
          <p:cNvPr id="286" name="Rechteck 74"/>
          <p:cNvSpPr/>
          <p:nvPr/>
        </p:nvSpPr>
        <p:spPr bwMode="auto">
          <a:xfrm>
            <a:off x="8030979" y="4219289"/>
            <a:ext cx="977714" cy="368364"/>
          </a:xfrm>
          <a:prstGeom prst="rect">
            <a:avLst/>
          </a:prstGeom>
          <a:solidFill>
            <a:schemeClr val="tx1">
              <a:lumMod val="75000"/>
              <a:lumOff val="2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chemeClr val="bg1"/>
                </a:solidFill>
              </a:rPr>
              <a:t>Oct</a:t>
            </a:r>
            <a:endParaRPr lang="en-US" sz="1600" noProof="1">
              <a:solidFill>
                <a:schemeClr val="bg1"/>
              </a:solidFill>
            </a:endParaRPr>
          </a:p>
        </p:txBody>
      </p:sp>
      <p:sp>
        <p:nvSpPr>
          <p:cNvPr id="287" name="Rechteck 75"/>
          <p:cNvSpPr/>
          <p:nvPr/>
        </p:nvSpPr>
        <p:spPr bwMode="auto">
          <a:xfrm>
            <a:off x="8999817" y="4219289"/>
            <a:ext cx="977714" cy="368364"/>
          </a:xfrm>
          <a:prstGeom prst="rect">
            <a:avLst/>
          </a:prstGeom>
          <a:solidFill>
            <a:schemeClr val="bg1">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chemeClr val="tx1"/>
                </a:solidFill>
              </a:rPr>
              <a:t>Nov</a:t>
            </a:r>
            <a:endParaRPr lang="en-US" sz="1600" noProof="1">
              <a:solidFill>
                <a:schemeClr val="tx1"/>
              </a:solidFill>
            </a:endParaRPr>
          </a:p>
        </p:txBody>
      </p:sp>
      <p:sp>
        <p:nvSpPr>
          <p:cNvPr id="288" name="Rechteck 76"/>
          <p:cNvSpPr/>
          <p:nvPr/>
        </p:nvSpPr>
        <p:spPr bwMode="auto">
          <a:xfrm>
            <a:off x="9968204" y="4220927"/>
            <a:ext cx="977714" cy="368364"/>
          </a:xfrm>
          <a:prstGeom prst="rect">
            <a:avLst/>
          </a:prstGeom>
          <a:solidFill>
            <a:schemeClr val="tx1">
              <a:lumMod val="75000"/>
              <a:lumOff val="2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rtlCol="0" anchor="ctr"/>
          <a:lstStyle/>
          <a:p>
            <a:pPr algn="ctr" fontAlgn="base">
              <a:spcBef>
                <a:spcPct val="0"/>
              </a:spcBef>
              <a:spcAft>
                <a:spcPct val="0"/>
              </a:spcAft>
            </a:pPr>
            <a:r>
              <a:rPr lang="en-US" sz="1600" noProof="1" smtClean="0">
                <a:solidFill>
                  <a:schemeClr val="bg1"/>
                </a:solidFill>
              </a:rPr>
              <a:t>Dec</a:t>
            </a:r>
            <a:endParaRPr lang="en-US" sz="1600" noProof="1">
              <a:solidFill>
                <a:schemeClr val="bg1"/>
              </a:solidFill>
            </a:endParaRPr>
          </a:p>
        </p:txBody>
      </p:sp>
      <p:sp>
        <p:nvSpPr>
          <p:cNvPr id="293" name="Text Box 56" descr="© INSCALE GmbH, 26.05.2010&#10;http://www.presentationload.com/"/>
          <p:cNvSpPr txBox="1">
            <a:spLocks noChangeArrowheads="1"/>
          </p:cNvSpPr>
          <p:nvPr/>
        </p:nvSpPr>
        <p:spPr bwMode="gray">
          <a:xfrm>
            <a:off x="1234226" y="5411895"/>
            <a:ext cx="1642877" cy="415498"/>
          </a:xfrm>
          <a:prstGeom prst="rect">
            <a:avLst/>
          </a:prstGeom>
          <a:solidFill>
            <a:srgbClr val="669900"/>
          </a:solidFill>
          <a:ln w="12700">
            <a:solidFill>
              <a:srgbClr val="C0C0C0"/>
            </a:solidFill>
            <a:miter lim="800000"/>
            <a:headEnd/>
            <a:tailEnd/>
          </a:ln>
          <a:effectLst/>
        </p:spPr>
        <p:txBody>
          <a:bodyPr vert="horz" wrap="square" lIns="90000" tIns="0" rIns="72000" bIns="0" anchor="ctr" anchorCtr="0"/>
          <a:lstStyle>
            <a:defPPr>
              <a:defRPr lang="de-DE"/>
            </a:defPPr>
            <a:lvl1pPr algn="ctr">
              <a:spcBef>
                <a:spcPct val="50000"/>
              </a:spcBef>
              <a:spcAft>
                <a:spcPts val="600"/>
              </a:spcAft>
              <a:buClr>
                <a:schemeClr val="bg1">
                  <a:lumMod val="50000"/>
                </a:scheme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defRPr sz="1100" b="1">
                <a:solidFill>
                  <a:schemeClr val="tx1">
                    <a:lumMod val="75000"/>
                    <a:lumOff val="25000"/>
                  </a:schemeClr>
                </a:solidFill>
              </a:defRPr>
            </a:lvl1pPr>
          </a:lstStyle>
          <a:p>
            <a:pPr fontAlgn="base">
              <a:buClr>
                <a:prstClr val="white">
                  <a:lumMod val="50000"/>
                </a:prstClr>
              </a:buClr>
            </a:pPr>
            <a:r>
              <a:rPr lang="en-US" sz="1000" noProof="1" smtClean="0">
                <a:solidFill>
                  <a:srgbClr val="000000"/>
                </a:solidFill>
                <a:latin typeface="Arial" panose="020B0604020202020204" pitchFamily="34" charset="0"/>
              </a:rPr>
              <a:t>Stakeholder Workshops</a:t>
            </a:r>
            <a:endParaRPr lang="en-US" sz="900" b="0" noProof="1">
              <a:solidFill>
                <a:srgbClr val="000000"/>
              </a:solidFill>
              <a:latin typeface="Arial" panose="020B0604020202020204" pitchFamily="34" charset="0"/>
            </a:endParaRPr>
          </a:p>
        </p:txBody>
      </p:sp>
      <p:grpSp>
        <p:nvGrpSpPr>
          <p:cNvPr id="294" name="Group 293"/>
          <p:cNvGrpSpPr/>
          <p:nvPr/>
        </p:nvGrpSpPr>
        <p:grpSpPr>
          <a:xfrm>
            <a:off x="1357076" y="2287258"/>
            <a:ext cx="138307" cy="1927917"/>
            <a:chOff x="1577504" y="2232668"/>
            <a:chExt cx="103493" cy="1927917"/>
          </a:xfrm>
        </p:grpSpPr>
        <p:sp>
          <p:nvSpPr>
            <p:cNvPr id="295" name="Line 55" descr="© INSCALE GmbH, 26.05.2010&#10;http://www.presentationload.com/"/>
            <p:cNvSpPr>
              <a:spLocks noChangeShapeType="1"/>
            </p:cNvSpPr>
            <p:nvPr/>
          </p:nvSpPr>
          <p:spPr bwMode="gray">
            <a:xfrm flipV="1">
              <a:off x="1629250" y="2232668"/>
              <a:ext cx="0" cy="1881933"/>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296" name="Gleichschenkliges Dreieck 63"/>
            <p:cNvSpPr/>
            <p:nvPr/>
          </p:nvSpPr>
          <p:spPr bwMode="auto">
            <a:xfrm>
              <a:off x="1577504" y="4068619"/>
              <a:ext cx="103493" cy="91966"/>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grpSp>
      <p:sp>
        <p:nvSpPr>
          <p:cNvPr id="297" name="Text Box 56" descr="© INSCALE GmbH, 26.05.2010&#10;http://www.presentationload.com/"/>
          <p:cNvSpPr txBox="1">
            <a:spLocks noChangeArrowheads="1"/>
          </p:cNvSpPr>
          <p:nvPr/>
        </p:nvSpPr>
        <p:spPr bwMode="gray">
          <a:xfrm>
            <a:off x="1264682" y="2613416"/>
            <a:ext cx="2822802" cy="327477"/>
          </a:xfrm>
          <a:prstGeom prst="rect">
            <a:avLst/>
          </a:prstGeom>
          <a:solidFill>
            <a:schemeClr val="accent1">
              <a:lumMod val="75000"/>
            </a:schemeClr>
          </a:solidFill>
          <a:ln w="12700">
            <a:noFill/>
            <a:miter lim="800000"/>
            <a:headEnd/>
            <a:tailEnd/>
          </a:ln>
          <a:effectLst/>
        </p:spPr>
        <p:txBody>
          <a:bodyPr vert="horz" wrap="square" lIns="90000" tIns="0" rIns="72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000" b="1" noProof="1" smtClean="0">
                <a:solidFill>
                  <a:srgbClr val="000000"/>
                </a:solidFill>
                <a:latin typeface="Arial" panose="020B0604020202020204" pitchFamily="34" charset="0"/>
              </a:rPr>
              <a:t>TSOs</a:t>
            </a:r>
            <a:endParaRPr lang="en-US" sz="700" noProof="1">
              <a:solidFill>
                <a:srgbClr val="000000"/>
              </a:solidFill>
              <a:latin typeface="Arial" panose="020B0604020202020204" pitchFamily="34" charset="0"/>
            </a:endParaRPr>
          </a:p>
        </p:txBody>
      </p:sp>
      <p:sp>
        <p:nvSpPr>
          <p:cNvPr id="298" name="Text Box 56" descr="© INSCALE GmbH, 26.05.2010&#10;http://www.presentationload.com/"/>
          <p:cNvSpPr txBox="1">
            <a:spLocks noChangeArrowheads="1"/>
          </p:cNvSpPr>
          <p:nvPr/>
        </p:nvSpPr>
        <p:spPr bwMode="gray">
          <a:xfrm>
            <a:off x="3428705" y="3588552"/>
            <a:ext cx="3626322" cy="415498"/>
          </a:xfrm>
          <a:prstGeom prst="rect">
            <a:avLst/>
          </a:prstGeom>
          <a:solidFill>
            <a:srgbClr val="669900"/>
          </a:solidFill>
          <a:ln w="12700">
            <a:noFill/>
            <a:miter lim="800000"/>
            <a:headEnd/>
            <a:tailEnd/>
          </a:ln>
          <a:effectLst/>
        </p:spPr>
        <p:txBody>
          <a:bodyPr vert="horz" wrap="square" lIns="90000" tIns="0" rIns="36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000" b="1" noProof="1" smtClean="0">
                <a:latin typeface="Arial" panose="020B0604020202020204" pitchFamily="34" charset="0"/>
              </a:rPr>
              <a:t>Stakeholders</a:t>
            </a:r>
            <a:endParaRPr lang="en-US" sz="700" b="1" noProof="1">
              <a:latin typeface="Arial" panose="020B0604020202020204" pitchFamily="34" charset="0"/>
            </a:endParaRPr>
          </a:p>
        </p:txBody>
      </p:sp>
      <p:sp>
        <p:nvSpPr>
          <p:cNvPr id="300" name="Text Box 56" descr="© INSCALE GmbH, 26.05.2010&#10;http://www.presentationload.com/"/>
          <p:cNvSpPr txBox="1">
            <a:spLocks noChangeArrowheads="1"/>
          </p:cNvSpPr>
          <p:nvPr/>
        </p:nvSpPr>
        <p:spPr bwMode="gray">
          <a:xfrm>
            <a:off x="9884447" y="2180878"/>
            <a:ext cx="1042608" cy="924406"/>
          </a:xfrm>
          <a:prstGeom prst="rect">
            <a:avLst/>
          </a:prstGeom>
          <a:solidFill>
            <a:schemeClr val="bg1">
              <a:lumMod val="65000"/>
            </a:schemeClr>
          </a:solidFill>
          <a:ln w="12700">
            <a:noFill/>
            <a:miter lim="800000"/>
            <a:headEnd/>
            <a:tailEnd/>
          </a:ln>
          <a:effectLst/>
        </p:spPr>
        <p:txBody>
          <a:bodyPr vert="horz" wrap="square" lIns="90000" tIns="0" rIns="72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400" noProof="1" smtClean="0"/>
              <a:t>IF Provision to NRAs</a:t>
            </a:r>
            <a:endParaRPr lang="en-US" sz="1400" noProof="1"/>
          </a:p>
        </p:txBody>
      </p:sp>
      <p:sp>
        <p:nvSpPr>
          <p:cNvPr id="301" name="Text Box 56" descr="© INSCALE GmbH, 26.05.2010&#10;http://www.presentationload.com/"/>
          <p:cNvSpPr txBox="1">
            <a:spLocks noChangeArrowheads="1"/>
          </p:cNvSpPr>
          <p:nvPr/>
        </p:nvSpPr>
        <p:spPr bwMode="gray">
          <a:xfrm>
            <a:off x="9884447" y="3103216"/>
            <a:ext cx="1042608" cy="415498"/>
          </a:xfrm>
          <a:prstGeom prst="rect">
            <a:avLst/>
          </a:prstGeom>
          <a:solidFill>
            <a:schemeClr val="accent1">
              <a:lumMod val="75000"/>
            </a:schemeClr>
          </a:solidFill>
          <a:ln w="12700">
            <a:noFill/>
            <a:miter lim="800000"/>
            <a:headEnd/>
            <a:tailEnd/>
          </a:ln>
          <a:effectLst/>
        </p:spPr>
        <p:txBody>
          <a:bodyPr vert="horz" wrap="square" lIns="90000" tIns="0" rIns="72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000" b="1" noProof="1" smtClean="0">
                <a:solidFill>
                  <a:srgbClr val="000000"/>
                </a:solidFill>
                <a:latin typeface="Arial" panose="020B0604020202020204" pitchFamily="34" charset="0"/>
              </a:rPr>
              <a:t>TSOs</a:t>
            </a:r>
            <a:endParaRPr lang="en-US" sz="700" noProof="1">
              <a:solidFill>
                <a:srgbClr val="000000"/>
              </a:solidFill>
              <a:latin typeface="Arial" panose="020B0604020202020204" pitchFamily="34" charset="0"/>
            </a:endParaRPr>
          </a:p>
        </p:txBody>
      </p:sp>
      <p:sp>
        <p:nvSpPr>
          <p:cNvPr id="302" name="Text Box 56" descr="© INSCALE GmbH, 26.05.2010&#10;http://www.presentationload.com/"/>
          <p:cNvSpPr txBox="1">
            <a:spLocks noChangeArrowheads="1"/>
          </p:cNvSpPr>
          <p:nvPr/>
        </p:nvSpPr>
        <p:spPr bwMode="gray">
          <a:xfrm>
            <a:off x="3419921" y="3174542"/>
            <a:ext cx="3638007" cy="415102"/>
          </a:xfrm>
          <a:prstGeom prst="rect">
            <a:avLst/>
          </a:prstGeom>
          <a:solidFill>
            <a:schemeClr val="bg1">
              <a:lumMod val="65000"/>
            </a:schemeClr>
          </a:solidFill>
          <a:ln w="12700">
            <a:noFill/>
            <a:miter lim="800000"/>
            <a:headEnd/>
            <a:tailEnd/>
          </a:ln>
          <a:effectLst/>
        </p:spPr>
        <p:txBody>
          <a:bodyPr vert="horz" wrap="square" lIns="90000" tIns="0" rIns="72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400" noProof="1" smtClean="0">
                <a:solidFill>
                  <a:srgbClr val="000000"/>
                </a:solidFill>
              </a:rPr>
              <a:t>Public Consultation – 2 Months</a:t>
            </a:r>
            <a:endParaRPr lang="en-US" sz="1400" noProof="1">
              <a:solidFill>
                <a:srgbClr val="000000"/>
              </a:solidFill>
            </a:endParaRPr>
          </a:p>
        </p:txBody>
      </p:sp>
      <p:sp>
        <p:nvSpPr>
          <p:cNvPr id="303" name="Text Box 56" descr="© INSCALE GmbH, 26.05.2010&#10;http://www.presentationload.com/"/>
          <p:cNvSpPr txBox="1">
            <a:spLocks noChangeArrowheads="1"/>
          </p:cNvSpPr>
          <p:nvPr/>
        </p:nvSpPr>
        <p:spPr bwMode="gray">
          <a:xfrm>
            <a:off x="1265805" y="2154601"/>
            <a:ext cx="2821301" cy="468829"/>
          </a:xfrm>
          <a:prstGeom prst="rect">
            <a:avLst/>
          </a:prstGeom>
          <a:solidFill>
            <a:schemeClr val="bg1">
              <a:lumMod val="65000"/>
            </a:schemeClr>
          </a:solidFill>
          <a:ln w="12700">
            <a:noFill/>
            <a:miter lim="800000"/>
            <a:headEnd/>
            <a:tailEnd/>
          </a:ln>
          <a:effectLst/>
        </p:spPr>
        <p:txBody>
          <a:bodyPr vert="horz" wrap="square" lIns="90000" tIns="0" rIns="72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400" noProof="1" smtClean="0">
                <a:solidFill>
                  <a:srgbClr val="000000"/>
                </a:solidFill>
              </a:rPr>
              <a:t>Implementation Framework Drafting</a:t>
            </a:r>
            <a:endParaRPr lang="en-US" sz="1400" noProof="1">
              <a:solidFill>
                <a:srgbClr val="000000"/>
              </a:solidFill>
            </a:endParaRPr>
          </a:p>
        </p:txBody>
      </p:sp>
      <p:sp>
        <p:nvSpPr>
          <p:cNvPr id="304" name="Text Box 56" descr="© INSCALE GmbH, 26.05.2010&#10;http://www.presentationload.com/"/>
          <p:cNvSpPr txBox="1">
            <a:spLocks noChangeArrowheads="1"/>
          </p:cNvSpPr>
          <p:nvPr/>
        </p:nvSpPr>
        <p:spPr bwMode="gray">
          <a:xfrm>
            <a:off x="5996759" y="2625015"/>
            <a:ext cx="3748543" cy="327477"/>
          </a:xfrm>
          <a:prstGeom prst="rect">
            <a:avLst/>
          </a:prstGeom>
          <a:solidFill>
            <a:schemeClr val="accent1">
              <a:lumMod val="75000"/>
            </a:schemeClr>
          </a:solidFill>
          <a:ln w="12700">
            <a:noFill/>
            <a:miter lim="800000"/>
            <a:headEnd/>
            <a:tailEnd/>
          </a:ln>
          <a:effectLst/>
        </p:spPr>
        <p:txBody>
          <a:bodyPr vert="horz" wrap="square" lIns="90000" tIns="0" rIns="72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000" b="1" noProof="1" smtClean="0">
                <a:solidFill>
                  <a:srgbClr val="000000"/>
                </a:solidFill>
                <a:latin typeface="Arial" panose="020B0604020202020204" pitchFamily="34" charset="0"/>
              </a:rPr>
              <a:t>TSOs</a:t>
            </a:r>
            <a:endParaRPr lang="en-US" sz="700" noProof="1">
              <a:solidFill>
                <a:srgbClr val="000000"/>
              </a:solidFill>
              <a:latin typeface="Arial" panose="020B0604020202020204" pitchFamily="34" charset="0"/>
            </a:endParaRPr>
          </a:p>
        </p:txBody>
      </p:sp>
      <p:sp>
        <p:nvSpPr>
          <p:cNvPr id="305" name="Text Box 56" descr="© INSCALE GmbH, 26.05.2010&#10;http://www.presentationload.com/"/>
          <p:cNvSpPr txBox="1">
            <a:spLocks noChangeArrowheads="1"/>
          </p:cNvSpPr>
          <p:nvPr/>
        </p:nvSpPr>
        <p:spPr bwMode="gray">
          <a:xfrm>
            <a:off x="5998003" y="2166475"/>
            <a:ext cx="3747299" cy="456955"/>
          </a:xfrm>
          <a:prstGeom prst="rect">
            <a:avLst/>
          </a:prstGeom>
          <a:solidFill>
            <a:schemeClr val="bg1">
              <a:lumMod val="65000"/>
            </a:schemeClr>
          </a:solidFill>
          <a:ln w="12700">
            <a:noFill/>
            <a:miter lim="800000"/>
            <a:headEnd/>
            <a:tailEnd/>
          </a:ln>
          <a:effectLst/>
        </p:spPr>
        <p:txBody>
          <a:bodyPr vert="horz" wrap="square" lIns="90000" tIns="0" rIns="72000" bIns="0" anchor="ctr" anchorCtr="0"/>
          <a:lstStyle/>
          <a:p>
            <a:pPr algn="ctr" fontAlgn="base">
              <a:spcBef>
                <a:spcPct val="50000"/>
              </a:spcBef>
              <a:spcAft>
                <a:spcPts val="600"/>
              </a:spcAft>
              <a:buClr>
                <a:prstClr val="white">
                  <a:lumMod val="50000"/>
                </a:prst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pPr>
            <a:r>
              <a:rPr lang="en-US" sz="1400" noProof="1" smtClean="0">
                <a:solidFill>
                  <a:srgbClr val="000000"/>
                </a:solidFill>
              </a:rPr>
              <a:t>Finalization on the Implementation Framework</a:t>
            </a:r>
            <a:endParaRPr lang="en-US" sz="1400" noProof="1">
              <a:solidFill>
                <a:srgbClr val="000000"/>
              </a:solidFill>
            </a:endParaRPr>
          </a:p>
        </p:txBody>
      </p:sp>
      <p:sp>
        <p:nvSpPr>
          <p:cNvPr id="308" name="Text Box 56" descr="© INSCALE GmbH, 26.05.2010&#10;http://www.presentationload.com/"/>
          <p:cNvSpPr txBox="1">
            <a:spLocks noChangeArrowheads="1"/>
          </p:cNvSpPr>
          <p:nvPr/>
        </p:nvSpPr>
        <p:spPr bwMode="gray">
          <a:xfrm>
            <a:off x="3958405" y="5434582"/>
            <a:ext cx="1642877" cy="415498"/>
          </a:xfrm>
          <a:prstGeom prst="rect">
            <a:avLst/>
          </a:prstGeom>
          <a:solidFill>
            <a:srgbClr val="669900"/>
          </a:solidFill>
          <a:ln w="12700">
            <a:solidFill>
              <a:srgbClr val="C0C0C0"/>
            </a:solidFill>
            <a:miter lim="800000"/>
            <a:headEnd/>
            <a:tailEnd/>
          </a:ln>
          <a:effectLst/>
        </p:spPr>
        <p:txBody>
          <a:bodyPr vert="horz" wrap="square" lIns="90000" tIns="0" rIns="72000" bIns="0" anchor="ctr" anchorCtr="0"/>
          <a:lstStyle>
            <a:defPPr>
              <a:defRPr lang="de-DE"/>
            </a:defPPr>
            <a:lvl1pPr algn="ctr">
              <a:spcBef>
                <a:spcPct val="50000"/>
              </a:spcBef>
              <a:spcAft>
                <a:spcPts val="600"/>
              </a:spcAft>
              <a:buClr>
                <a:schemeClr val="bg1">
                  <a:lumMod val="50000"/>
                </a:schemeClr>
              </a:buClr>
              <a:buSzPct val="80000"/>
              <a:tabLst>
                <a:tab pos="361950" algn="r"/>
                <a:tab pos="1076325" algn="r"/>
                <a:tab pos="1790700" algn="r"/>
                <a:tab pos="2514600" algn="r"/>
                <a:tab pos="3228975" algn="r"/>
                <a:tab pos="3943350" algn="r"/>
                <a:tab pos="4667250" algn="r"/>
                <a:tab pos="5381625" algn="r"/>
                <a:tab pos="6096000" algn="r"/>
                <a:tab pos="6819900" algn="r"/>
                <a:tab pos="7534275" algn="r"/>
              </a:tabLst>
              <a:defRPr sz="1100" b="1">
                <a:solidFill>
                  <a:schemeClr val="tx1">
                    <a:lumMod val="75000"/>
                    <a:lumOff val="25000"/>
                  </a:schemeClr>
                </a:solidFill>
              </a:defRPr>
            </a:lvl1pPr>
          </a:lstStyle>
          <a:p>
            <a:pPr fontAlgn="base">
              <a:buClr>
                <a:prstClr val="white">
                  <a:lumMod val="50000"/>
                </a:prstClr>
              </a:buClr>
            </a:pPr>
            <a:r>
              <a:rPr lang="en-US" sz="1000" noProof="1" smtClean="0">
                <a:solidFill>
                  <a:srgbClr val="000000"/>
                </a:solidFill>
                <a:latin typeface="Arial" panose="020B0604020202020204" pitchFamily="34" charset="0"/>
              </a:rPr>
              <a:t>Stakeholder Workshop</a:t>
            </a:r>
            <a:endParaRPr lang="en-US" sz="900" b="0" noProof="1">
              <a:solidFill>
                <a:srgbClr val="000000"/>
              </a:solidFill>
              <a:latin typeface="Arial" panose="020B0604020202020204" pitchFamily="34" charset="0"/>
            </a:endParaRPr>
          </a:p>
        </p:txBody>
      </p:sp>
      <p:sp>
        <p:nvSpPr>
          <p:cNvPr id="309" name="Line 55" descr="© INSCALE GmbH, 26.05.2010&#10;http://www.presentationload.com/"/>
          <p:cNvSpPr>
            <a:spLocks noChangeShapeType="1"/>
          </p:cNvSpPr>
          <p:nvPr/>
        </p:nvSpPr>
        <p:spPr bwMode="gray">
          <a:xfrm flipH="1" flipV="1">
            <a:off x="4887093" y="4595124"/>
            <a:ext cx="5699" cy="842356"/>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310" name="Gleichschenkliges Dreieck 67"/>
          <p:cNvSpPr/>
          <p:nvPr/>
        </p:nvSpPr>
        <p:spPr bwMode="auto">
          <a:xfrm flipH="1" flipV="1">
            <a:off x="4833115" y="4595126"/>
            <a:ext cx="147322" cy="94008"/>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sp>
        <p:nvSpPr>
          <p:cNvPr id="55" name="Line 55" descr="© INSCALE GmbH, 26.05.2010&#10;http://www.presentationload.com/"/>
          <p:cNvSpPr>
            <a:spLocks noChangeShapeType="1"/>
          </p:cNvSpPr>
          <p:nvPr/>
        </p:nvSpPr>
        <p:spPr bwMode="gray">
          <a:xfrm flipH="1" flipV="1">
            <a:off x="2035982" y="4573957"/>
            <a:ext cx="5699" cy="842356"/>
          </a:xfrm>
          <a:prstGeom prst="line">
            <a:avLst/>
          </a:prstGeom>
          <a:noFill/>
          <a:ln w="19050">
            <a:solidFill>
              <a:srgbClr val="808080"/>
            </a:solidFill>
            <a:prstDash val="sysDot"/>
            <a:round/>
            <a:headEnd/>
            <a:tailEnd/>
          </a:ln>
          <a:effectLst/>
        </p:spPr>
        <p:txBody>
          <a:bodyPr vert="horz" wrap="square" lIns="91440" tIns="45720" rIns="91440" bIns="45720" anchor="t"/>
          <a:lstStyle/>
          <a:p>
            <a:pPr algn="ctr" fontAlgn="base">
              <a:spcBef>
                <a:spcPct val="0"/>
              </a:spcBef>
              <a:spcAft>
                <a:spcPct val="0"/>
              </a:spcAft>
            </a:pPr>
            <a:endParaRPr lang="en-GB" sz="1600" dirty="0">
              <a:solidFill>
                <a:srgbClr val="646464"/>
              </a:solidFill>
              <a:cs typeface="Arial" panose="020B0604020202020204" pitchFamily="34" charset="0"/>
            </a:endParaRPr>
          </a:p>
        </p:txBody>
      </p:sp>
      <p:sp>
        <p:nvSpPr>
          <p:cNvPr id="56" name="Gleichschenkliges Dreieck 67"/>
          <p:cNvSpPr/>
          <p:nvPr/>
        </p:nvSpPr>
        <p:spPr bwMode="auto">
          <a:xfrm flipH="1" flipV="1">
            <a:off x="1982004" y="4573959"/>
            <a:ext cx="147322" cy="94008"/>
          </a:xfrm>
          <a:prstGeom prst="triangle">
            <a:avLst/>
          </a:prstGeom>
          <a:solidFill>
            <a:srgbClr val="808080"/>
          </a:solidFill>
          <a:ln w="12700">
            <a:noFill/>
            <a:round/>
            <a:headEnd/>
            <a:tailEnd/>
          </a:ln>
          <a:effectLst/>
        </p:spPr>
        <p:txBody>
          <a:bodyPr vert="horz" wrap="square" lIns="91440" tIns="45720" rIns="91440" bIns="45720" rtlCol="0" anchor="ctr"/>
          <a:lstStyle/>
          <a:p>
            <a:pPr algn="ctr" fontAlgn="base">
              <a:spcBef>
                <a:spcPct val="0"/>
              </a:spcBef>
              <a:spcAft>
                <a:spcPct val="0"/>
              </a:spcAft>
            </a:pPr>
            <a:endParaRPr lang="de-DE" sz="1600" dirty="0">
              <a:solidFill>
                <a:srgbClr val="000000"/>
              </a:solidFill>
            </a:endParaRPr>
          </a:p>
        </p:txBody>
      </p:sp>
    </p:spTree>
    <p:extLst>
      <p:ext uri="{BB962C8B-B14F-4D97-AF65-F5344CB8AC3E}">
        <p14:creationId xmlns:p14="http://schemas.microsoft.com/office/powerpoint/2010/main" val="10418975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6</a:t>
            </a:fld>
            <a:endParaRPr lang="cs-CZ">
              <a:solidFill>
                <a:srgbClr val="7F7E82">
                  <a:tint val="75000"/>
                </a:srgbClr>
              </a:solidFill>
            </a:endParaRPr>
          </a:p>
        </p:txBody>
      </p:sp>
      <p:sp>
        <p:nvSpPr>
          <p:cNvPr id="13" name="Espace réservé du contenu 2"/>
          <p:cNvSpPr txBox="1">
            <a:spLocks/>
          </p:cNvSpPr>
          <p:nvPr/>
        </p:nvSpPr>
        <p:spPr>
          <a:xfrm>
            <a:off x="631372" y="199856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285750" indent="-285750" algn="just">
              <a:spcAft>
                <a:spcPts val="1200"/>
              </a:spcAft>
              <a:buFont typeface="Wingdings" panose="05000000000000000000" pitchFamily="2" charset="2"/>
              <a:buChar char="¦"/>
            </a:pPr>
            <a:endParaRPr lang="cs-CZ" sz="1400" dirty="0">
              <a:solidFill>
                <a:srgbClr val="000000"/>
              </a:solidFill>
              <a:latin typeface="Calibri" panose="020F0502020204030204"/>
            </a:endParaRPr>
          </a:p>
          <a:p>
            <a:pPr marL="285750" indent="-285750" algn="just">
              <a:spcAft>
                <a:spcPts val="1200"/>
              </a:spcAft>
              <a:buFont typeface="Wingdings" panose="05000000000000000000" pitchFamily="2" charset="2"/>
              <a:buChar char="¦"/>
            </a:pPr>
            <a:endParaRPr lang="fr-FR" sz="1400" b="1" dirty="0">
              <a:solidFill>
                <a:srgbClr val="000000"/>
              </a:solidFill>
              <a:latin typeface="Calibri" panose="020F0502020204030204"/>
            </a:endParaRPr>
          </a:p>
          <a:p>
            <a:pPr algn="just">
              <a:spcAft>
                <a:spcPts val="1200"/>
              </a:spcAft>
            </a:pPr>
            <a:endParaRPr lang="fr-FR" sz="1400" b="1"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5" name="Rectangle 4"/>
          <p:cNvSpPr/>
          <p:nvPr/>
        </p:nvSpPr>
        <p:spPr>
          <a:xfrm>
            <a:off x="3962400" y="143924"/>
            <a:ext cx="6096000" cy="369332"/>
          </a:xfrm>
          <a:prstGeom prst="rect">
            <a:avLst/>
          </a:prstGeom>
        </p:spPr>
        <p:txBody>
          <a:bodyPr>
            <a:spAutoFit/>
          </a:bodyPr>
          <a:lstStyle/>
          <a:p>
            <a:r>
              <a:rPr lang="cs-CZ" dirty="0">
                <a:solidFill>
                  <a:srgbClr val="1F497D"/>
                </a:solidFill>
                <a:ea typeface="Calibri" panose="020F0502020204030204" pitchFamily="34" charset="0"/>
              </a:rPr>
              <a:t> </a:t>
            </a:r>
            <a:endParaRPr lang="cs-CZ" dirty="0">
              <a:solidFill>
                <a:srgbClr val="000000"/>
              </a:solidFill>
              <a:ea typeface="Calibri" panose="020F0502020204030204" pitchFamily="34" charset="0"/>
            </a:endParaRPr>
          </a:p>
        </p:txBody>
      </p:sp>
      <p:sp>
        <p:nvSpPr>
          <p:cNvPr id="9" name="Espace réservé du contenu 2"/>
          <p:cNvSpPr txBox="1">
            <a:spLocks/>
          </p:cNvSpPr>
          <p:nvPr/>
        </p:nvSpPr>
        <p:spPr>
          <a:xfrm>
            <a:off x="631372" y="199725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just">
              <a:spcAft>
                <a:spcPts val="800"/>
              </a:spcAft>
            </a:pPr>
            <a:r>
              <a:rPr lang="en-US" sz="3200" dirty="0" smtClean="0">
                <a:solidFill>
                  <a:srgbClr val="000000"/>
                </a:solidFill>
                <a:latin typeface="Calibri" panose="020F0502020204030204"/>
              </a:rPr>
              <a:t>Feedback from the Consultation</a:t>
            </a:r>
          </a:p>
        </p:txBody>
      </p:sp>
    </p:spTree>
    <p:extLst>
      <p:ext uri="{BB962C8B-B14F-4D97-AF65-F5344CB8AC3E}">
        <p14:creationId xmlns:p14="http://schemas.microsoft.com/office/powerpoint/2010/main" val="8541003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7</a:t>
            </a:fld>
            <a:endParaRPr lang="cs-CZ">
              <a:solidFill>
                <a:srgbClr val="7F7E82">
                  <a:tint val="75000"/>
                </a:srgbClr>
              </a:solidFill>
            </a:endParaRPr>
          </a:p>
        </p:txBody>
      </p:sp>
      <p:sp>
        <p:nvSpPr>
          <p:cNvPr id="7" name="Title 1"/>
          <p:cNvSpPr txBox="1">
            <a:spLocks/>
          </p:cNvSpPr>
          <p:nvPr/>
        </p:nvSpPr>
        <p:spPr>
          <a:xfrm>
            <a:off x="631370" y="433157"/>
            <a:ext cx="1064948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sk-SK" sz="2200" smtClean="0">
                <a:solidFill>
                  <a:srgbClr val="000000"/>
                </a:solidFill>
                <a:latin typeface="Calibri" panose="020F0502020204030204"/>
              </a:rPr>
              <a:t>General Statistics I</a:t>
            </a:r>
            <a:endParaRPr lang="en-US" sz="2200" dirty="0">
              <a:solidFill>
                <a:srgbClr val="000000"/>
              </a:solidFill>
              <a:latin typeface="Calibri" panose="020F0502020204030204"/>
            </a:endParaRPr>
          </a:p>
        </p:txBody>
      </p:sp>
      <p:sp>
        <p:nvSpPr>
          <p:cNvPr id="8" name="Slide Number Placeholder 3"/>
          <p:cNvSpPr txBox="1">
            <a:spLocks/>
          </p:cNvSpPr>
          <p:nvPr/>
        </p:nvSpPr>
        <p:spPr>
          <a:xfrm>
            <a:off x="8598355" y="6356068"/>
            <a:ext cx="2743200" cy="365125"/>
          </a:xfrm>
          <a:prstGeom prst="rect">
            <a:avLst/>
          </a:prstGeom>
        </p:spPr>
        <p:txBody>
          <a:bodyPr vert="horz" lIns="91440" tIns="45720" rIns="91440" bIns="45720" rtlCol="0" anchor="ctr"/>
          <a:lstStyle>
            <a:defPPr>
              <a:defRPr lang="cs-CZ"/>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solidFill>
                <a:srgbClr val="7F7E82">
                  <a:tint val="75000"/>
                </a:srgbClr>
              </a:solidFill>
            </a:endParaRPr>
          </a:p>
        </p:txBody>
      </p:sp>
      <p:cxnSp>
        <p:nvCxnSpPr>
          <p:cNvPr id="10" name="Straight Connector 9"/>
          <p:cNvCxnSpPr/>
          <p:nvPr/>
        </p:nvCxnSpPr>
        <p:spPr>
          <a:xfrm>
            <a:off x="631372" y="1012502"/>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graphicFrame>
        <p:nvGraphicFramePr>
          <p:cNvPr id="9" name="Chart 8"/>
          <p:cNvGraphicFramePr>
            <a:graphicFrameLocks/>
          </p:cNvGraphicFramePr>
          <p:nvPr>
            <p:extLst/>
          </p:nvPr>
        </p:nvGraphicFramePr>
        <p:xfrm>
          <a:off x="6099349" y="1075112"/>
          <a:ext cx="5506841" cy="2122348"/>
        </p:xfrm>
        <a:graphic>
          <a:graphicData uri="http://schemas.openxmlformats.org/drawingml/2006/chart">
            <c:chart xmlns:c="http://schemas.openxmlformats.org/drawingml/2006/chart" xmlns:r="http://schemas.openxmlformats.org/officeDocument/2006/relationships" r:id="rId2"/>
          </a:graphicData>
        </a:graphic>
      </p:graphicFrame>
      <p:sp>
        <p:nvSpPr>
          <p:cNvPr id="2" name="Snip Single Corner Rectangle 1"/>
          <p:cNvSpPr/>
          <p:nvPr/>
        </p:nvSpPr>
        <p:spPr>
          <a:xfrm>
            <a:off x="631370" y="1137719"/>
            <a:ext cx="4644000" cy="1692000"/>
          </a:xfrm>
          <a:prstGeom prst="snip1Rect">
            <a:avLst/>
          </a:prstGeom>
          <a:noFill/>
          <a:ln w="9525">
            <a:solidFill>
              <a:schemeClr val="accent1">
                <a:lumMod val="75000"/>
              </a:schemeClr>
            </a:solidFill>
          </a:ln>
          <a:effectLst>
            <a:glow rad="38100">
              <a:schemeClr val="accent1">
                <a:satMod val="175000"/>
                <a:alpha val="30000"/>
              </a:schemeClr>
            </a:glo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285750" indent="-285750">
              <a:buClr>
                <a:srgbClr val="418AB3">
                  <a:lumMod val="50000"/>
                </a:srgbClr>
              </a:buClr>
              <a:buSzPct val="80000"/>
              <a:buFont typeface="Arial" panose="020B0604020202020204" pitchFamily="34" charset="0"/>
              <a:buChar char="►"/>
            </a:pPr>
            <a:r>
              <a:rPr lang="sk-SK" sz="1400" smtClean="0">
                <a:solidFill>
                  <a:srgbClr val="000000"/>
                </a:solidFill>
              </a:rPr>
              <a:t>There were released consultation questionnaire including 45 questions, across 65 stakeholders from 17 countries.</a:t>
            </a:r>
          </a:p>
          <a:p>
            <a:pPr marL="285750" indent="-285750">
              <a:buClr>
                <a:srgbClr val="418AB3">
                  <a:lumMod val="50000"/>
                </a:srgbClr>
              </a:buClr>
              <a:buSzPct val="80000"/>
              <a:buFont typeface="Arial" panose="020B0604020202020204" pitchFamily="34" charset="0"/>
              <a:buChar char="►"/>
            </a:pPr>
            <a:r>
              <a:rPr lang="sk-SK" sz="1400" smtClean="0">
                <a:solidFill>
                  <a:srgbClr val="000000"/>
                </a:solidFill>
              </a:rPr>
              <a:t>The market roles of stakeholders were identified by themselves to 7 categories.</a:t>
            </a:r>
          </a:p>
          <a:p>
            <a:pPr marL="285750" indent="-285750">
              <a:buClr>
                <a:srgbClr val="418AB3">
                  <a:lumMod val="50000"/>
                </a:srgbClr>
              </a:buClr>
              <a:buSzPct val="80000"/>
              <a:buFont typeface="Arial" panose="020B0604020202020204" pitchFamily="34" charset="0"/>
              <a:buChar char="►"/>
            </a:pPr>
            <a:r>
              <a:rPr lang="sk-SK" sz="1400" smtClean="0">
                <a:solidFill>
                  <a:srgbClr val="000000"/>
                </a:solidFill>
              </a:rPr>
              <a:t>Majority of stakeholders is presented in Germany and Austria, and major role is the generation.</a:t>
            </a:r>
            <a:endParaRPr lang="sk-SK" sz="1400">
              <a:solidFill>
                <a:srgbClr val="000000"/>
              </a:solidFill>
            </a:endParaRPr>
          </a:p>
        </p:txBody>
      </p:sp>
      <p:graphicFrame>
        <p:nvGraphicFramePr>
          <p:cNvPr id="12" name="Chart 11"/>
          <p:cNvGraphicFramePr>
            <a:graphicFrameLocks/>
          </p:cNvGraphicFramePr>
          <p:nvPr>
            <p:extLst/>
          </p:nvPr>
        </p:nvGraphicFramePr>
        <p:xfrm>
          <a:off x="635656" y="2964264"/>
          <a:ext cx="5256000" cy="3492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nvPr>
        </p:nvGraphicFramePr>
        <p:xfrm>
          <a:off x="6350190" y="3322674"/>
          <a:ext cx="5256000" cy="31335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351391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8</a:t>
            </a:fld>
            <a:endParaRPr lang="cs-CZ">
              <a:solidFill>
                <a:srgbClr val="7F7E82">
                  <a:tint val="75000"/>
                </a:srgbClr>
              </a:solidFill>
            </a:endParaRPr>
          </a:p>
        </p:txBody>
      </p:sp>
      <p:sp>
        <p:nvSpPr>
          <p:cNvPr id="7" name="Title 1"/>
          <p:cNvSpPr txBox="1">
            <a:spLocks/>
          </p:cNvSpPr>
          <p:nvPr/>
        </p:nvSpPr>
        <p:spPr>
          <a:xfrm>
            <a:off x="631370" y="433157"/>
            <a:ext cx="10649480" cy="641954"/>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sk-SK" sz="2200" smtClean="0">
                <a:solidFill>
                  <a:srgbClr val="000000"/>
                </a:solidFill>
                <a:latin typeface="Calibri" panose="020F0502020204030204"/>
              </a:rPr>
              <a:t>General Statistics II</a:t>
            </a:r>
            <a:endParaRPr lang="en-US" sz="2200" dirty="0">
              <a:solidFill>
                <a:srgbClr val="000000"/>
              </a:solidFill>
              <a:latin typeface="Calibri" panose="020F0502020204030204"/>
            </a:endParaRPr>
          </a:p>
        </p:txBody>
      </p:sp>
      <p:sp>
        <p:nvSpPr>
          <p:cNvPr id="8" name="Slide Number Placeholder 3"/>
          <p:cNvSpPr txBox="1">
            <a:spLocks/>
          </p:cNvSpPr>
          <p:nvPr/>
        </p:nvSpPr>
        <p:spPr>
          <a:xfrm>
            <a:off x="8598355" y="6356068"/>
            <a:ext cx="2743200" cy="365125"/>
          </a:xfrm>
          <a:prstGeom prst="rect">
            <a:avLst/>
          </a:prstGeom>
        </p:spPr>
        <p:txBody>
          <a:bodyPr vert="horz" lIns="91440" tIns="45720" rIns="91440" bIns="45720" rtlCol="0" anchor="ctr"/>
          <a:lstStyle>
            <a:defPPr>
              <a:defRPr lang="cs-CZ"/>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solidFill>
                <a:srgbClr val="7F7E82">
                  <a:tint val="75000"/>
                </a:srgbClr>
              </a:solidFill>
            </a:endParaRPr>
          </a:p>
        </p:txBody>
      </p:sp>
      <p:cxnSp>
        <p:nvCxnSpPr>
          <p:cNvPr id="10" name="Straight Connector 9"/>
          <p:cNvCxnSpPr/>
          <p:nvPr/>
        </p:nvCxnSpPr>
        <p:spPr>
          <a:xfrm>
            <a:off x="631372" y="1012502"/>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graphicFrame>
        <p:nvGraphicFramePr>
          <p:cNvPr id="11" name="Chart 10"/>
          <p:cNvGraphicFramePr>
            <a:graphicFrameLocks/>
          </p:cNvGraphicFramePr>
          <p:nvPr>
            <p:extLst/>
          </p:nvPr>
        </p:nvGraphicFramePr>
        <p:xfrm>
          <a:off x="6352180" y="3442630"/>
          <a:ext cx="5256000" cy="3096000"/>
        </p:xfrm>
        <a:graphic>
          <a:graphicData uri="http://schemas.openxmlformats.org/drawingml/2006/chart">
            <c:chart xmlns:c="http://schemas.openxmlformats.org/drawingml/2006/chart" xmlns:r="http://schemas.openxmlformats.org/officeDocument/2006/relationships" r:id="rId2"/>
          </a:graphicData>
        </a:graphic>
      </p:graphicFrame>
      <p:sp>
        <p:nvSpPr>
          <p:cNvPr id="13" name="Snip Single Corner Rectangle 12"/>
          <p:cNvSpPr/>
          <p:nvPr/>
        </p:nvSpPr>
        <p:spPr>
          <a:xfrm>
            <a:off x="631370" y="1137718"/>
            <a:ext cx="4644000" cy="1692000"/>
          </a:xfrm>
          <a:prstGeom prst="snip1Rect">
            <a:avLst/>
          </a:prstGeom>
          <a:noFill/>
          <a:ln w="9525">
            <a:solidFill>
              <a:schemeClr val="accent1">
                <a:lumMod val="75000"/>
              </a:schemeClr>
            </a:solidFill>
          </a:ln>
          <a:effectLst>
            <a:glow rad="38100">
              <a:schemeClr val="accent1">
                <a:satMod val="175000"/>
                <a:alpha val="30000"/>
              </a:schemeClr>
            </a:glo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285750" indent="-285750">
              <a:buClr>
                <a:srgbClr val="418AB3">
                  <a:lumMod val="50000"/>
                </a:srgbClr>
              </a:buClr>
              <a:buSzPct val="80000"/>
              <a:buFont typeface="Arial" panose="020B0604020202020204" pitchFamily="34" charset="0"/>
              <a:buChar char="►"/>
            </a:pPr>
            <a:r>
              <a:rPr lang="sk-SK" sz="1400" smtClean="0">
                <a:solidFill>
                  <a:srgbClr val="000000"/>
                </a:solidFill>
              </a:rPr>
              <a:t>There were identified 3 size categories by mFRR capacity available:</a:t>
            </a:r>
          </a:p>
          <a:p>
            <a:pPr marL="742950" lvl="1" indent="-285750">
              <a:buClr>
                <a:srgbClr val="418AB3">
                  <a:lumMod val="75000"/>
                </a:srgbClr>
              </a:buClr>
              <a:buSzPct val="60000"/>
              <a:buFont typeface="Arial" panose="020B0604020202020204" pitchFamily="34" charset="0"/>
              <a:buChar char="►"/>
            </a:pPr>
            <a:r>
              <a:rPr lang="sk-SK" sz="1400" smtClean="0">
                <a:solidFill>
                  <a:srgbClr val="000000"/>
                </a:solidFill>
              </a:rPr>
              <a:t>small (less than 5 MW)</a:t>
            </a:r>
          </a:p>
          <a:p>
            <a:pPr marL="742950" lvl="1" indent="-285750">
              <a:buClr>
                <a:srgbClr val="418AB3">
                  <a:lumMod val="75000"/>
                </a:srgbClr>
              </a:buClr>
              <a:buSzPct val="60000"/>
              <a:buFont typeface="Arial" panose="020B0604020202020204" pitchFamily="34" charset="0"/>
              <a:buChar char="►"/>
            </a:pPr>
            <a:r>
              <a:rPr lang="sk-SK" sz="1400" smtClean="0">
                <a:solidFill>
                  <a:srgbClr val="000000"/>
                </a:solidFill>
              </a:rPr>
              <a:t>medium (5-100 MW)</a:t>
            </a:r>
          </a:p>
          <a:p>
            <a:pPr marL="742950" lvl="1" indent="-285750">
              <a:buClr>
                <a:srgbClr val="418AB3">
                  <a:lumMod val="75000"/>
                </a:srgbClr>
              </a:buClr>
              <a:buSzPct val="60000"/>
              <a:buFont typeface="Arial" panose="020B0604020202020204" pitchFamily="34" charset="0"/>
              <a:buChar char="►"/>
            </a:pPr>
            <a:r>
              <a:rPr lang="sk-SK" sz="1400" smtClean="0">
                <a:solidFill>
                  <a:srgbClr val="000000"/>
                </a:solidFill>
              </a:rPr>
              <a:t>large (over 100 MW)</a:t>
            </a:r>
          </a:p>
          <a:p>
            <a:pPr marL="742950" lvl="1" indent="-285750">
              <a:buClr>
                <a:srgbClr val="418AB3">
                  <a:lumMod val="75000"/>
                </a:srgbClr>
              </a:buClr>
              <a:buSzPct val="60000"/>
              <a:buFont typeface="Arial" panose="020B0604020202020204" pitchFamily="34" charset="0"/>
              <a:buChar char="►"/>
            </a:pPr>
            <a:r>
              <a:rPr lang="sk-SK" sz="1400" smtClean="0">
                <a:solidFill>
                  <a:srgbClr val="000000"/>
                </a:solidFill>
              </a:rPr>
              <a:t>25 stakeholders did not provide information</a:t>
            </a:r>
            <a:endParaRPr lang="sk-SK" sz="1400">
              <a:solidFill>
                <a:srgbClr val="000000"/>
              </a:solidFill>
            </a:endParaRPr>
          </a:p>
        </p:txBody>
      </p:sp>
      <p:graphicFrame>
        <p:nvGraphicFramePr>
          <p:cNvPr id="14" name="Chart 13"/>
          <p:cNvGraphicFramePr>
            <a:graphicFrameLocks/>
          </p:cNvGraphicFramePr>
          <p:nvPr>
            <p:extLst/>
          </p:nvPr>
        </p:nvGraphicFramePr>
        <p:xfrm>
          <a:off x="6029010" y="1137719"/>
          <a:ext cx="5579169" cy="21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p:cNvGraphicFramePr>
            <a:graphicFrameLocks/>
          </p:cNvGraphicFramePr>
          <p:nvPr>
            <p:extLst/>
          </p:nvPr>
        </p:nvGraphicFramePr>
        <p:xfrm>
          <a:off x="631370" y="3014504"/>
          <a:ext cx="5256000" cy="3492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828728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DED2080-A6AC-4D27-ABC0-DC394804A868}" type="slidenum">
              <a:rPr lang="cs-CZ" smtClean="0">
                <a:solidFill>
                  <a:srgbClr val="7F7E82">
                    <a:tint val="75000"/>
                  </a:srgbClr>
                </a:solidFill>
              </a:rPr>
              <a:pPr/>
              <a:t>9</a:t>
            </a:fld>
            <a:endParaRPr lang="cs-CZ">
              <a:solidFill>
                <a:srgbClr val="7F7E82">
                  <a:tint val="75000"/>
                </a:srgbClr>
              </a:solidFill>
            </a:endParaRPr>
          </a:p>
        </p:txBody>
      </p:sp>
      <p:sp>
        <p:nvSpPr>
          <p:cNvPr id="13" name="Espace réservé du contenu 2"/>
          <p:cNvSpPr txBox="1">
            <a:spLocks/>
          </p:cNvSpPr>
          <p:nvPr/>
        </p:nvSpPr>
        <p:spPr>
          <a:xfrm>
            <a:off x="631372" y="199856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marL="285750" indent="-285750" algn="just">
              <a:spcAft>
                <a:spcPts val="1200"/>
              </a:spcAft>
              <a:buFont typeface="Wingdings" panose="05000000000000000000" pitchFamily="2" charset="2"/>
              <a:buChar char="¦"/>
            </a:pPr>
            <a:endParaRPr lang="cs-CZ" sz="1400" dirty="0">
              <a:solidFill>
                <a:srgbClr val="000000"/>
              </a:solidFill>
              <a:latin typeface="Calibri" panose="020F0502020204030204"/>
            </a:endParaRPr>
          </a:p>
          <a:p>
            <a:pPr marL="285750" indent="-285750" algn="just">
              <a:spcAft>
                <a:spcPts val="1200"/>
              </a:spcAft>
              <a:buFont typeface="Wingdings" panose="05000000000000000000" pitchFamily="2" charset="2"/>
              <a:buChar char="¦"/>
            </a:pPr>
            <a:endParaRPr lang="fr-FR" sz="1400" b="1" dirty="0">
              <a:solidFill>
                <a:srgbClr val="000000"/>
              </a:solidFill>
              <a:latin typeface="Calibri" panose="020F0502020204030204"/>
            </a:endParaRPr>
          </a:p>
          <a:p>
            <a:pPr algn="just">
              <a:spcAft>
                <a:spcPts val="1200"/>
              </a:spcAft>
            </a:pPr>
            <a:endParaRPr lang="fr-FR" sz="1400" b="1" dirty="0">
              <a:solidFill>
                <a:srgbClr val="000000"/>
              </a:solidFill>
              <a:latin typeface="Calibri" panose="020F0502020204030204"/>
            </a:endParaRPr>
          </a:p>
        </p:txBody>
      </p:sp>
      <p:cxnSp>
        <p:nvCxnSpPr>
          <p:cNvPr id="6" name="Straight Connector 5"/>
          <p:cNvCxnSpPr/>
          <p:nvPr/>
        </p:nvCxnSpPr>
        <p:spPr>
          <a:xfrm>
            <a:off x="631372" y="1478666"/>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5" name="Rectangle 4"/>
          <p:cNvSpPr/>
          <p:nvPr/>
        </p:nvSpPr>
        <p:spPr>
          <a:xfrm>
            <a:off x="3962400" y="143924"/>
            <a:ext cx="6096000" cy="369332"/>
          </a:xfrm>
          <a:prstGeom prst="rect">
            <a:avLst/>
          </a:prstGeom>
        </p:spPr>
        <p:txBody>
          <a:bodyPr>
            <a:spAutoFit/>
          </a:bodyPr>
          <a:lstStyle/>
          <a:p>
            <a:r>
              <a:rPr lang="cs-CZ" dirty="0">
                <a:solidFill>
                  <a:srgbClr val="1F497D"/>
                </a:solidFill>
                <a:ea typeface="Calibri" panose="020F0502020204030204" pitchFamily="34" charset="0"/>
              </a:rPr>
              <a:t> </a:t>
            </a:r>
            <a:endParaRPr lang="cs-CZ" dirty="0">
              <a:solidFill>
                <a:srgbClr val="000000"/>
              </a:solidFill>
              <a:ea typeface="Calibri" panose="020F0502020204030204" pitchFamily="34" charset="0"/>
            </a:endParaRPr>
          </a:p>
        </p:txBody>
      </p:sp>
      <p:sp>
        <p:nvSpPr>
          <p:cNvPr id="9" name="Espace réservé du contenu 2"/>
          <p:cNvSpPr txBox="1">
            <a:spLocks/>
          </p:cNvSpPr>
          <p:nvPr/>
        </p:nvSpPr>
        <p:spPr>
          <a:xfrm>
            <a:off x="631372" y="1997254"/>
            <a:ext cx="10809514" cy="4958828"/>
          </a:xfrm>
          <a:prstGeom prst="rect">
            <a:avLst/>
          </a:prstGeom>
        </p:spPr>
        <p:txBody>
          <a:bodyPr>
            <a:noAutofit/>
          </a:bodyPr>
          <a:lstStyle>
            <a:lvl1pPr marL="0" indent="0" algn="l" defTabSz="755520" rtl="0" eaLnBrk="1" latinLnBrk="0" hangingPunct="1">
              <a:spcBef>
                <a:spcPts val="0"/>
              </a:spcBef>
              <a:spcAft>
                <a:spcPts val="496"/>
              </a:spcAft>
              <a:buFont typeface="Arial" pitchFamily="34" charset="0"/>
              <a:buNone/>
              <a:defRPr sz="755" kern="1200">
                <a:solidFill>
                  <a:schemeClr val="tx2"/>
                </a:solidFill>
                <a:latin typeface="EYInterstate Light" pitchFamily="2" charset="0"/>
                <a:ea typeface="+mn-ea"/>
                <a:cs typeface="+mn-cs"/>
              </a:defRPr>
            </a:lvl1pPr>
            <a:lvl2pPr marL="0" indent="0" algn="l" defTabSz="755520" rtl="0" eaLnBrk="1" latinLnBrk="0" hangingPunct="1">
              <a:spcBef>
                <a:spcPts val="0"/>
              </a:spcBef>
              <a:spcAft>
                <a:spcPts val="496"/>
              </a:spcAft>
              <a:buFont typeface="Arial" pitchFamily="34" charset="0"/>
              <a:buNone/>
              <a:defRPr sz="1037" kern="1200">
                <a:solidFill>
                  <a:schemeClr val="tx1"/>
                </a:solidFill>
                <a:latin typeface="EYInterstate" pitchFamily="2" charset="0"/>
                <a:ea typeface="+mn-ea"/>
                <a:cs typeface="+mn-cs"/>
              </a:defRPr>
            </a:lvl2pPr>
            <a:lvl3pPr marL="0" indent="0" algn="l" defTabSz="755520" rtl="0" eaLnBrk="1" latinLnBrk="0" hangingPunct="1">
              <a:spcBef>
                <a:spcPts val="0"/>
              </a:spcBef>
              <a:spcAft>
                <a:spcPts val="496"/>
              </a:spcAft>
              <a:buFont typeface="Arial" pitchFamily="34" charset="0"/>
              <a:buNone/>
              <a:defRPr sz="848" kern="1200">
                <a:solidFill>
                  <a:schemeClr val="tx1"/>
                </a:solidFill>
                <a:latin typeface="EYInterstate" pitchFamily="2" charset="0"/>
                <a:ea typeface="+mn-ea"/>
                <a:cs typeface="+mn-cs"/>
              </a:defRPr>
            </a:lvl3pPr>
            <a:lvl4pPr marL="148724"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4pPr>
            <a:lvl5pPr marL="296437" indent="-148724" algn="l" defTabSz="755520" rtl="0" eaLnBrk="1" latinLnBrk="0" hangingPunct="1">
              <a:spcBef>
                <a:spcPts val="0"/>
              </a:spcBef>
              <a:spcAft>
                <a:spcPts val="496"/>
              </a:spcAft>
              <a:buSzPct val="80000"/>
              <a:buFont typeface="Arial" pitchFamily="34" charset="0"/>
              <a:buChar char="►"/>
              <a:defRPr sz="755" kern="1200">
                <a:solidFill>
                  <a:schemeClr val="tx2"/>
                </a:solidFill>
                <a:latin typeface="EYInterstate Light" pitchFamily="2" charset="0"/>
                <a:ea typeface="+mn-ea"/>
                <a:cs typeface="+mn-cs"/>
              </a:defRPr>
            </a:lvl5pPr>
            <a:lvl6pPr marL="207767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45543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833199"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10957" indent="-188880" algn="l" defTabSz="755520" rtl="0" eaLnBrk="1" latinLnBrk="0" hangingPunct="1">
              <a:spcBef>
                <a:spcPct val="20000"/>
              </a:spcBef>
              <a:buFont typeface="Arial" pitchFamily="34" charset="0"/>
              <a:buChar char="•"/>
              <a:defRPr sz="1697" kern="1200">
                <a:solidFill>
                  <a:schemeClr val="tx1"/>
                </a:solidFill>
                <a:latin typeface="+mn-lt"/>
                <a:ea typeface="+mn-ea"/>
                <a:cs typeface="+mn-cs"/>
              </a:defRPr>
            </a:lvl9pPr>
          </a:lstStyle>
          <a:p>
            <a:pPr algn="just">
              <a:spcAft>
                <a:spcPts val="800"/>
              </a:spcAft>
            </a:pPr>
            <a:r>
              <a:rPr lang="en-US" sz="3200" dirty="0" smtClean="0">
                <a:solidFill>
                  <a:srgbClr val="000000"/>
                </a:solidFill>
                <a:latin typeface="Calibri" panose="020F0502020204030204"/>
              </a:rPr>
              <a:t>Feedback from the Consultation</a:t>
            </a:r>
          </a:p>
          <a:p>
            <a:pPr algn="just">
              <a:spcAft>
                <a:spcPts val="800"/>
              </a:spcAft>
            </a:pPr>
            <a:endParaRPr lang="en-US" sz="3200" dirty="0">
              <a:solidFill>
                <a:srgbClr val="000000"/>
              </a:solidFill>
              <a:latin typeface="Calibri" panose="020F0502020204030204"/>
            </a:endParaRPr>
          </a:p>
          <a:p>
            <a:pPr algn="just">
              <a:spcAft>
                <a:spcPts val="800"/>
              </a:spcAft>
            </a:pPr>
            <a:r>
              <a:rPr lang="en-US" sz="3200" dirty="0" smtClean="0">
                <a:solidFill>
                  <a:srgbClr val="000000"/>
                </a:solidFill>
                <a:latin typeface="Calibri" panose="020F0502020204030204"/>
              </a:rPr>
              <a:t>PRODUCT and PROCESS</a:t>
            </a:r>
          </a:p>
        </p:txBody>
      </p:sp>
    </p:spTree>
    <p:extLst>
      <p:ext uri="{BB962C8B-B14F-4D97-AF65-F5344CB8AC3E}">
        <p14:creationId xmlns:p14="http://schemas.microsoft.com/office/powerpoint/2010/main" val="39352622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hème Office">
  <a:themeElements>
    <a:clrScheme name="Palissad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erre de lai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5_Thème Office">
  <a:themeElements>
    <a:clrScheme name="Palissad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erre de lai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3_Thème Office">
  <a:themeElements>
    <a:clrScheme name="Palissad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erre de lai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1_Thème Office">
  <a:themeElements>
    <a:clrScheme name="Palissad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erre de lai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4_Thème Office">
  <a:themeElements>
    <a:clrScheme name="Palissad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erre de lai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9DDFD41AEF010449D0D055600B60DC5" ma:contentTypeVersion="1" ma:contentTypeDescription="Create a new document." ma:contentTypeScope="" ma:versionID="ef287326ae33b33fea4a2afc557ee89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04B1DD-A6F0-42FA-8A65-ECB0DBFEF198}"/>
</file>

<file path=customXml/itemProps2.xml><?xml version="1.0" encoding="utf-8"?>
<ds:datastoreItem xmlns:ds="http://schemas.openxmlformats.org/officeDocument/2006/customXml" ds:itemID="{DD6066BD-06FC-406B-866E-420A0124BAB6}"/>
</file>

<file path=customXml/itemProps3.xml><?xml version="1.0" encoding="utf-8"?>
<ds:datastoreItem xmlns:ds="http://schemas.openxmlformats.org/officeDocument/2006/customXml" ds:itemID="{691E3E8B-EDA9-4717-9A9D-29F11E77A767}"/>
</file>

<file path=docProps/app.xml><?xml version="1.0" encoding="utf-8"?>
<Properties xmlns="http://schemas.openxmlformats.org/officeDocument/2006/extended-properties" xmlns:vt="http://schemas.openxmlformats.org/officeDocument/2006/docPropsVTypes">
  <TotalTime>2990</TotalTime>
  <Words>1276</Words>
  <Application>Microsoft Office PowerPoint</Application>
  <PresentationFormat>Brugerdefineret</PresentationFormat>
  <Paragraphs>218</Paragraphs>
  <Slides>24</Slides>
  <Notes>0</Notes>
  <HiddenSlides>0</HiddenSlides>
  <MMClips>0</MMClips>
  <ScaleCrop>false</ScaleCrop>
  <HeadingPairs>
    <vt:vector size="6" baseType="variant">
      <vt:variant>
        <vt:lpstr>Tema</vt:lpstr>
      </vt:variant>
      <vt:variant>
        <vt:i4>5</vt:i4>
      </vt:variant>
      <vt:variant>
        <vt:lpstr>Integrerede OLE-servere</vt:lpstr>
      </vt:variant>
      <vt:variant>
        <vt:i4>1</vt:i4>
      </vt:variant>
      <vt:variant>
        <vt:lpstr>Diastitler</vt:lpstr>
      </vt:variant>
      <vt:variant>
        <vt:i4>24</vt:i4>
      </vt:variant>
    </vt:vector>
  </HeadingPairs>
  <TitlesOfParts>
    <vt:vector size="30" baseType="lpstr">
      <vt:lpstr>2_Thème Office</vt:lpstr>
      <vt:lpstr>5_Thème Office</vt:lpstr>
      <vt:lpstr>3_Thème Office</vt:lpstr>
      <vt:lpstr>1_Thème Office</vt:lpstr>
      <vt:lpstr>4_Thème Office</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Ernst &amp; Youn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L</dc:creator>
  <cp:lastModifiedBy>Martin Høgh Møller</cp:lastModifiedBy>
  <cp:revision>159</cp:revision>
  <cp:lastPrinted>2017-11-27T18:25:29Z</cp:lastPrinted>
  <dcterms:created xsi:type="dcterms:W3CDTF">2017-04-25T09:24:32Z</dcterms:created>
  <dcterms:modified xsi:type="dcterms:W3CDTF">2018-03-05T08:2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DDFD41AEF010449D0D055600B60DC5</vt:lpwstr>
  </property>
</Properties>
</file>